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4.xml" ContentType="application/vnd.openxmlformats-officedocument.them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heme/theme5.xml" ContentType="application/vnd.openxmlformats-officedocument.them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122.xml" ContentType="application/vnd.openxmlformats-officedocument.presentationml.tags+xml"/>
  <Override PartName="/ppt/notesSlides/notesSlide1.xml" ContentType="application/vnd.openxmlformats-officedocument.presentationml.notesSlide+xml"/>
  <Override PartName="/ppt/tags/tag123.xml" ContentType="application/vnd.openxmlformats-officedocument.presentationml.tags+xml"/>
  <Override PartName="/ppt/notesSlides/notesSlide2.xml" ContentType="application/vnd.openxmlformats-officedocument.presentationml.notesSlide+xml"/>
  <Override PartName="/ppt/tags/tag124.xml" ContentType="application/vnd.openxmlformats-officedocument.presentationml.tags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702" r:id="rId4"/>
    <p:sldMasterId id="2147483746" r:id="rId5"/>
    <p:sldMasterId id="2147483758" r:id="rId6"/>
    <p:sldMasterId id="2147483793" r:id="rId7"/>
  </p:sldMasterIdLst>
  <p:notesMasterIdLst>
    <p:notesMasterId r:id="rId24"/>
  </p:notesMasterIdLst>
  <p:sldIdLst>
    <p:sldId id="319" r:id="rId8"/>
    <p:sldId id="314" r:id="rId9"/>
    <p:sldId id="330" r:id="rId10"/>
    <p:sldId id="302" r:id="rId11"/>
    <p:sldId id="324" r:id="rId12"/>
    <p:sldId id="326" r:id="rId13"/>
    <p:sldId id="327" r:id="rId14"/>
    <p:sldId id="4480" r:id="rId15"/>
    <p:sldId id="4485" r:id="rId16"/>
    <p:sldId id="4477" r:id="rId17"/>
    <p:sldId id="4556" r:id="rId18"/>
    <p:sldId id="4551" r:id="rId19"/>
    <p:sldId id="4603" r:id="rId20"/>
    <p:sldId id="4653" r:id="rId21"/>
    <p:sldId id="4654" r:id="rId22"/>
    <p:sldId id="4655" r:id="rId23"/>
  </p:sldIdLst>
  <p:sldSz cx="12192000" cy="6858000"/>
  <p:notesSz cx="6858000" cy="9144000"/>
  <p:defaultTextStyle>
    <a:defPPr>
      <a:defRPr lang="en-US"/>
    </a:defPPr>
    <a:lvl1pPr marL="0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2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63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45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27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09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090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272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454" algn="l" defTabSz="9143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3B23A2E-0570-A9FC-1919-6F621A30EF47}" name="Hwi-Eun Ban" initials="" userId="S::hwi.ban@un.org::58537360-67df-4452-980b-5bdb8d8260d6" providerId="AD"/>
  <p188:author id="{4B02BFD5-3248-B757-27B1-A4D3F3DD6AC4}" name="Filippo Pierozzi" initials="FP" userId="S::filippo.pierozzi@un.org::6a45b57f-3b27-4e3f-872f-9d85731a184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EDB"/>
    <a:srgbClr val="0044C9"/>
    <a:srgbClr val="FFEC00"/>
    <a:srgbClr val="F4F4F4"/>
    <a:srgbClr val="ED1847"/>
    <a:srgbClr val="E3EDF6"/>
    <a:srgbClr val="C5DFEF"/>
    <a:srgbClr val="004987"/>
    <a:srgbClr val="AEA29A"/>
    <a:srgbClr val="A05F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0" d="100"/>
          <a:sy n="70" d="100"/>
        </p:scale>
        <p:origin x="512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theme" Target="theme/theme1.xml"/><Relationship Id="rId30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sabel De Sola Criado" userId="a8ae65b7-2d01-4aa0-bb5e-a9c27691ec79" providerId="ADAL" clId="{661D67B2-D7E9-424C-AD98-E94F56C62B4D}"/>
    <pc:docChg chg="custSel modSld sldOrd">
      <pc:chgData name="Isabel De Sola Criado" userId="a8ae65b7-2d01-4aa0-bb5e-a9c27691ec79" providerId="ADAL" clId="{661D67B2-D7E9-424C-AD98-E94F56C62B4D}" dt="2025-03-27T12:28:00.557" v="44"/>
      <pc:docMkLst>
        <pc:docMk/>
      </pc:docMkLst>
      <pc:sldChg chg="modSp mod">
        <pc:chgData name="Isabel De Sola Criado" userId="a8ae65b7-2d01-4aa0-bb5e-a9c27691ec79" providerId="ADAL" clId="{661D67B2-D7E9-424C-AD98-E94F56C62B4D}" dt="2025-03-19T13:00:51.585" v="23" actId="6549"/>
        <pc:sldMkLst>
          <pc:docMk/>
          <pc:sldMk cId="3119303169" sldId="319"/>
        </pc:sldMkLst>
        <pc:spChg chg="mod">
          <ac:chgData name="Isabel De Sola Criado" userId="a8ae65b7-2d01-4aa0-bb5e-a9c27691ec79" providerId="ADAL" clId="{661D67B2-D7E9-424C-AD98-E94F56C62B4D}" dt="2025-03-19T13:00:51.585" v="23" actId="6549"/>
          <ac:spMkLst>
            <pc:docMk/>
            <pc:sldMk cId="3119303169" sldId="319"/>
            <ac:spMk id="19" creationId="{36077F5F-ED86-6A31-1027-DE9E019A26EE}"/>
          </ac:spMkLst>
        </pc:spChg>
      </pc:sldChg>
      <pc:sldChg chg="modSp mod">
        <pc:chgData name="Isabel De Sola Criado" userId="a8ae65b7-2d01-4aa0-bb5e-a9c27691ec79" providerId="ADAL" clId="{661D67B2-D7E9-424C-AD98-E94F56C62B4D}" dt="2025-03-19T13:01:18.751" v="27" actId="20577"/>
        <pc:sldMkLst>
          <pc:docMk/>
          <pc:sldMk cId="1160885995" sldId="324"/>
        </pc:sldMkLst>
        <pc:spChg chg="mod">
          <ac:chgData name="Isabel De Sola Criado" userId="a8ae65b7-2d01-4aa0-bb5e-a9c27691ec79" providerId="ADAL" clId="{661D67B2-D7E9-424C-AD98-E94F56C62B4D}" dt="2025-03-19T13:01:18.751" v="27" actId="20577"/>
          <ac:spMkLst>
            <pc:docMk/>
            <pc:sldMk cId="1160885995" sldId="324"/>
            <ac:spMk id="2" creationId="{7E12E4A4-5ECE-3DD6-189F-D7F16CA775FE}"/>
          </ac:spMkLst>
        </pc:spChg>
      </pc:sldChg>
      <pc:sldChg chg="modSp mod">
        <pc:chgData name="Isabel De Sola Criado" userId="a8ae65b7-2d01-4aa0-bb5e-a9c27691ec79" providerId="ADAL" clId="{661D67B2-D7E9-424C-AD98-E94F56C62B4D}" dt="2025-03-19T13:01:23.116" v="31" actId="20577"/>
        <pc:sldMkLst>
          <pc:docMk/>
          <pc:sldMk cId="375724996" sldId="326"/>
        </pc:sldMkLst>
        <pc:spChg chg="mod">
          <ac:chgData name="Isabel De Sola Criado" userId="a8ae65b7-2d01-4aa0-bb5e-a9c27691ec79" providerId="ADAL" clId="{661D67B2-D7E9-424C-AD98-E94F56C62B4D}" dt="2025-03-19T13:01:23.116" v="31" actId="20577"/>
          <ac:spMkLst>
            <pc:docMk/>
            <pc:sldMk cId="375724996" sldId="326"/>
            <ac:spMk id="2" creationId="{925ED69A-709B-4324-FB5E-A80DBF1A9429}"/>
          </ac:spMkLst>
        </pc:spChg>
      </pc:sldChg>
      <pc:sldChg chg="modSp mod">
        <pc:chgData name="Isabel De Sola Criado" userId="a8ae65b7-2d01-4aa0-bb5e-a9c27691ec79" providerId="ADAL" clId="{661D67B2-D7E9-424C-AD98-E94F56C62B4D}" dt="2025-03-19T13:01:59.608" v="35" actId="20577"/>
        <pc:sldMkLst>
          <pc:docMk/>
          <pc:sldMk cId="2398673602" sldId="4477"/>
        </pc:sldMkLst>
        <pc:spChg chg="mod">
          <ac:chgData name="Isabel De Sola Criado" userId="a8ae65b7-2d01-4aa0-bb5e-a9c27691ec79" providerId="ADAL" clId="{661D67B2-D7E9-424C-AD98-E94F56C62B4D}" dt="2025-03-19T13:01:59.608" v="35" actId="20577"/>
          <ac:spMkLst>
            <pc:docMk/>
            <pc:sldMk cId="2398673602" sldId="4477"/>
            <ac:spMk id="3" creationId="{E481F1F9-E1A6-BDA3-9A0F-8E185D72A7F3}"/>
          </ac:spMkLst>
        </pc:spChg>
      </pc:sldChg>
      <pc:sldChg chg="ord">
        <pc:chgData name="Isabel De Sola Criado" userId="a8ae65b7-2d01-4aa0-bb5e-a9c27691ec79" providerId="ADAL" clId="{661D67B2-D7E9-424C-AD98-E94F56C62B4D}" dt="2025-03-27T12:28:00.557" v="44"/>
        <pc:sldMkLst>
          <pc:docMk/>
          <pc:sldMk cId="1386594721" sldId="4480"/>
        </pc:sldMkLst>
      </pc:sldChg>
      <pc:sldChg chg="modSp mod">
        <pc:chgData name="Isabel De Sola Criado" userId="a8ae65b7-2d01-4aa0-bb5e-a9c27691ec79" providerId="ADAL" clId="{661D67B2-D7E9-424C-AD98-E94F56C62B4D}" dt="2025-03-19T15:03:12.994" v="42" actId="20577"/>
        <pc:sldMkLst>
          <pc:docMk/>
          <pc:sldMk cId="759037530" sldId="4485"/>
        </pc:sldMkLst>
        <pc:spChg chg="mod">
          <ac:chgData name="Isabel De Sola Criado" userId="a8ae65b7-2d01-4aa0-bb5e-a9c27691ec79" providerId="ADAL" clId="{661D67B2-D7E9-424C-AD98-E94F56C62B4D}" dt="2025-03-19T15:03:12.994" v="42" actId="20577"/>
          <ac:spMkLst>
            <pc:docMk/>
            <pc:sldMk cId="759037530" sldId="4485"/>
            <ac:spMk id="2" creationId="{A9320B0E-C9FE-180D-D64B-CECCD8943409}"/>
          </ac:spMkLst>
        </pc:spChg>
      </pc:sldChg>
      <pc:sldChg chg="delSp mod">
        <pc:chgData name="Isabel De Sola Criado" userId="a8ae65b7-2d01-4aa0-bb5e-a9c27691ec79" providerId="ADAL" clId="{661D67B2-D7E9-424C-AD98-E94F56C62B4D}" dt="2025-03-19T13:02:23.621" v="38" actId="478"/>
        <pc:sldMkLst>
          <pc:docMk/>
          <pc:sldMk cId="1398091007" sldId="4551"/>
        </pc:sldMkLst>
        <pc:spChg chg="del">
          <ac:chgData name="Isabel De Sola Criado" userId="a8ae65b7-2d01-4aa0-bb5e-a9c27691ec79" providerId="ADAL" clId="{661D67B2-D7E9-424C-AD98-E94F56C62B4D}" dt="2025-03-19T13:02:23.621" v="38" actId="478"/>
          <ac:spMkLst>
            <pc:docMk/>
            <pc:sldMk cId="1398091007" sldId="4551"/>
            <ac:spMk id="196" creationId="{BBD71C77-1FFA-C5CE-AED4-E62A67D68176}"/>
          </ac:spMkLst>
        </pc:spChg>
      </pc:sldChg>
      <pc:sldChg chg="delSp modSp mod">
        <pc:chgData name="Isabel De Sola Criado" userId="a8ae65b7-2d01-4aa0-bb5e-a9c27691ec79" providerId="ADAL" clId="{661D67B2-D7E9-424C-AD98-E94F56C62B4D}" dt="2025-03-19T13:02:14.735" v="37" actId="478"/>
        <pc:sldMkLst>
          <pc:docMk/>
          <pc:sldMk cId="2798517213" sldId="4556"/>
        </pc:sldMkLst>
        <pc:spChg chg="del mod">
          <ac:chgData name="Isabel De Sola Criado" userId="a8ae65b7-2d01-4aa0-bb5e-a9c27691ec79" providerId="ADAL" clId="{661D67B2-D7E9-424C-AD98-E94F56C62B4D}" dt="2025-03-19T13:02:14.735" v="37" actId="478"/>
          <ac:spMkLst>
            <pc:docMk/>
            <pc:sldMk cId="2798517213" sldId="4556"/>
            <ac:spMk id="2" creationId="{DCE91C84-0E1D-6B87-FD41-F8AD7DD1BE1F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8859569305429183E-3"/>
          <c:y val="0.1627318718381113"/>
          <c:w val="0.98422808613891422"/>
          <c:h val="0.6745362563237774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2"/>
            </a:solidFill>
            <a:ln w="28575" cmpd="sng" algn="ctr">
              <a:solidFill>
                <a:schemeClr val="bg2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4.215851602023608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700" spc="19">
                      <a:solidFill>
                        <a:srgbClr val="FFFFFF"/>
                      </a:solidFill>
                      <a:latin typeface="+mn-lt"/>
                      <a:ea typeface="Roboto Black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381-474B-ABF3-7D6F6782936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1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381-474B-ABF3-7D6F67829369}"/>
            </c:ext>
          </c:extLst>
        </c:ser>
        <c:ser>
          <c:idx val="1"/>
          <c:order val="1"/>
          <c:spPr>
            <a:solidFill>
              <a:schemeClr val="tx2"/>
            </a:solidFill>
            <a:ln w="28575" cmpd="sng" algn="ctr">
              <a:solidFill>
                <a:schemeClr val="bg2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4.215851602023608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700" spc="19">
                      <a:solidFill>
                        <a:srgbClr val="FFFFFF"/>
                      </a:solidFill>
                      <a:latin typeface="+mn-lt"/>
                      <a:ea typeface="Roboto Black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7381-474B-ABF3-7D6F6782936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</c:f>
              <c:numCache>
                <c:formatCode>General</c:formatCode>
                <c:ptCount val="1"/>
                <c:pt idx="0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381-474B-ABF3-7D6F67829369}"/>
            </c:ext>
          </c:extLst>
        </c:ser>
        <c:ser>
          <c:idx val="2"/>
          <c:order val="2"/>
          <c:spPr>
            <a:solidFill>
              <a:schemeClr val="tx2"/>
            </a:solidFill>
            <a:ln w="28575" cmpd="sng" algn="ctr">
              <a:solidFill>
                <a:schemeClr val="bg2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4.215851602023608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700" spc="19">
                      <a:solidFill>
                        <a:srgbClr val="FFFFFF"/>
                      </a:solidFill>
                      <a:latin typeface="+mn-lt"/>
                      <a:ea typeface="Roboto Black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7381-474B-ABF3-7D6F6782936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</c:f>
              <c:numCache>
                <c:formatCode>General</c:formatCode>
                <c:ptCount val="1"/>
                <c:pt idx="0">
                  <c:v>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381-474B-ABF3-7D6F67829369}"/>
            </c:ext>
          </c:extLst>
        </c:ser>
        <c:ser>
          <c:idx val="3"/>
          <c:order val="3"/>
          <c:spPr>
            <a:solidFill>
              <a:schemeClr val="tx2"/>
            </a:solidFill>
            <a:ln w="28575" cmpd="sng" algn="ctr">
              <a:solidFill>
                <a:schemeClr val="bg2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4.215851602023608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700" spc="19">
                      <a:solidFill>
                        <a:srgbClr val="FFFFFF"/>
                      </a:solidFill>
                      <a:latin typeface="+mn-lt"/>
                      <a:ea typeface="Roboto Black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7381-474B-ABF3-7D6F6782936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</c:f>
              <c:numCache>
                <c:formatCode>General</c:formatCode>
                <c:ptCount val="1"/>
                <c:pt idx="0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7381-474B-ABF3-7D6F67829369}"/>
            </c:ext>
          </c:extLst>
        </c:ser>
        <c:ser>
          <c:idx val="4"/>
          <c:order val="4"/>
          <c:spPr>
            <a:solidFill>
              <a:schemeClr val="tx2"/>
            </a:solidFill>
            <a:ln w="28575" cmpd="sng" algn="ctr">
              <a:solidFill>
                <a:schemeClr val="bg2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4.215851602023608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700" spc="19">
                      <a:solidFill>
                        <a:srgbClr val="FFFFFF"/>
                      </a:solidFill>
                      <a:latin typeface="+mn-lt"/>
                      <a:ea typeface="Roboto Black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7381-474B-ABF3-7D6F6782936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</c:f>
              <c:numCache>
                <c:formatCode>General</c:formatCode>
                <c:ptCount val="1"/>
                <c:pt idx="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7381-474B-ABF3-7D6F67829369}"/>
            </c:ext>
          </c:extLst>
        </c:ser>
        <c:ser>
          <c:idx val="5"/>
          <c:order val="5"/>
          <c:spPr>
            <a:solidFill>
              <a:schemeClr val="tx2"/>
            </a:solidFill>
            <a:ln w="28575" cmpd="sng" algn="ctr">
              <a:solidFill>
                <a:schemeClr val="bg2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4.215851602023608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700" spc="19">
                      <a:solidFill>
                        <a:srgbClr val="FFFFFF"/>
                      </a:solidFill>
                      <a:latin typeface="+mn-lt"/>
                      <a:ea typeface="Roboto Black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7381-474B-ABF3-7D6F6782936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</c:f>
              <c:numCache>
                <c:formatCode>General</c:formatCode>
                <c:ptCount val="1"/>
                <c:pt idx="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7381-474B-ABF3-7D6F67829369}"/>
            </c:ext>
          </c:extLst>
        </c:ser>
        <c:ser>
          <c:idx val="6"/>
          <c:order val="6"/>
          <c:spPr>
            <a:solidFill>
              <a:schemeClr val="tx2"/>
            </a:solidFill>
            <a:ln w="28575" cmpd="sng" algn="ctr">
              <a:solidFill>
                <a:schemeClr val="bg2"/>
              </a:solidFill>
              <a:prstDash val="solid"/>
            </a:ln>
          </c:spPr>
          <c:invertIfNegative val="0"/>
          <c:val>
            <c:numRef>
              <c:f>Sheet1!$A$7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7381-474B-ABF3-7D6F67829369}"/>
            </c:ext>
          </c:extLst>
        </c:ser>
        <c:ser>
          <c:idx val="7"/>
          <c:order val="7"/>
          <c:spPr>
            <a:solidFill>
              <a:srgbClr val="3F3F3F"/>
            </a:solidFill>
            <a:ln w="28575" cmpd="sng" algn="ctr">
              <a:solidFill>
                <a:schemeClr val="bg2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4.2158516020236085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700" spc="19">
                      <a:solidFill>
                        <a:srgbClr val="FFFFFF"/>
                      </a:solidFill>
                      <a:latin typeface="+mn-lt"/>
                      <a:ea typeface="Roboto Black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7381-474B-ABF3-7D6F6782936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8</c:f>
              <c:numCache>
                <c:formatCode>General</c:formatCode>
                <c:ptCount val="1"/>
                <c:pt idx="0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7381-474B-ABF3-7D6F678293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13636704"/>
        <c:axId val="1"/>
      </c:barChart>
      <c:catAx>
        <c:axId val="201363670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93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201363670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0005770340450086E-2"/>
          <c:y val="0.1257328990228013"/>
          <c:w val="0.9399884593190998"/>
          <c:h val="0.7485342019543973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2"/>
            </a:solidFill>
            <a:ln w="28575" cmpd="sng" algn="ctr">
              <a:solidFill>
                <a:schemeClr val="bg2"/>
              </a:solidFill>
              <a:prstDash val="solid"/>
            </a:ln>
          </c:spPr>
          <c:invertIfNegative val="0"/>
          <c:dPt>
            <c:idx val="4"/>
            <c:invertIfNegative val="0"/>
            <c:bubble3D val="0"/>
            <c:spPr>
              <a:solidFill>
                <a:schemeClr val="tx2"/>
              </a:solidFill>
              <a:ln w="28575" cmpd="sng" algn="ctr">
                <a:solidFill>
                  <a:schemeClr val="bg2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811F-41D4-BD11-7B84AC4867C2}"/>
              </c:ext>
            </c:extLst>
          </c:dPt>
          <c:dLbls>
            <c:dLbl>
              <c:idx val="0"/>
              <c:layout>
                <c:manualLayout>
                  <c:x val="-5.7703404500865547E-4"/>
                  <c:y val="-3.257328990228013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700" spc="19">
                      <a:solidFill>
                        <a:srgbClr val="FFFFFF"/>
                      </a:solidFill>
                      <a:latin typeface="+mn-lt"/>
                      <a:ea typeface="Roboto Black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11F-41D4-BD11-7B84AC4867C2}"/>
                </c:ext>
              </c:extLst>
            </c:dLbl>
            <c:dLbl>
              <c:idx val="1"/>
              <c:layout>
                <c:manualLayout>
                  <c:x val="-5.7703404500865547E-4"/>
                  <c:y val="-3.257328990228013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700" spc="19">
                      <a:solidFill>
                        <a:srgbClr val="FFFFFF"/>
                      </a:solidFill>
                      <a:latin typeface="+mn-lt"/>
                      <a:ea typeface="Roboto Black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11F-41D4-BD11-7B84AC4867C2}"/>
                </c:ext>
              </c:extLst>
            </c:dLbl>
            <c:dLbl>
              <c:idx val="3"/>
              <c:layout>
                <c:manualLayout>
                  <c:x val="0"/>
                  <c:y val="-3.257328990228013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700" spc="19">
                      <a:solidFill>
                        <a:srgbClr val="FFFFFF"/>
                      </a:solidFill>
                      <a:latin typeface="+mn-lt"/>
                      <a:ea typeface="Roboto Black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11F-41D4-BD11-7B84AC4867C2}"/>
                </c:ext>
              </c:extLst>
            </c:dLbl>
            <c:dLbl>
              <c:idx val="4"/>
              <c:layout>
                <c:manualLayout>
                  <c:x val="0.29428736295441432"/>
                  <c:y val="-3.257328990228013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700" spc="19">
                      <a:solidFill>
                        <a:schemeClr val="tx2">
                          <a:lumMod val="50000"/>
                        </a:schemeClr>
                      </a:solidFill>
                      <a:latin typeface="+mn-lt"/>
                      <a:ea typeface="Roboto Black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11F-41D4-BD11-7B84AC4867C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49</c:v>
                </c:pt>
                <c:pt idx="1">
                  <c:v>44</c:v>
                </c:pt>
                <c:pt idx="2">
                  <c:v>1</c:v>
                </c:pt>
                <c:pt idx="3">
                  <c:v>25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11F-41D4-BD11-7B84AC4867C2}"/>
            </c:ext>
          </c:extLst>
        </c:ser>
        <c:ser>
          <c:idx val="1"/>
          <c:order val="1"/>
          <c:spPr>
            <a:solidFill>
              <a:schemeClr val="tx2"/>
            </a:solidFill>
            <a:ln w="28575" cmpd="sng" algn="ctr">
              <a:solidFill>
                <a:schemeClr val="bg2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3.257328990228013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700" spc="19">
                      <a:solidFill>
                        <a:srgbClr val="FFFFFF"/>
                      </a:solidFill>
                      <a:latin typeface="+mn-lt"/>
                      <a:ea typeface="Roboto Black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811F-41D4-BD11-7B84AC4867C2}"/>
                </c:ext>
              </c:extLst>
            </c:dLbl>
            <c:dLbl>
              <c:idx val="1"/>
              <c:layout>
                <c:manualLayout>
                  <c:x val="0"/>
                  <c:y val="-3.257328990228013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700" spc="19">
                      <a:solidFill>
                        <a:srgbClr val="FFFFFF"/>
                      </a:solidFill>
                      <a:latin typeface="+mn-lt"/>
                      <a:ea typeface="Roboto Black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811F-41D4-BD11-7B84AC4867C2}"/>
                </c:ext>
              </c:extLst>
            </c:dLbl>
            <c:dLbl>
              <c:idx val="2"/>
              <c:layout>
                <c:manualLayout>
                  <c:x val="0"/>
                  <c:y val="-3.257328990228013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700" spc="19">
                      <a:solidFill>
                        <a:srgbClr val="FFFFFF"/>
                      </a:solidFill>
                      <a:latin typeface="+mn-lt"/>
                      <a:ea typeface="Roboto Black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811F-41D4-BD11-7B84AC4867C2}"/>
                </c:ext>
              </c:extLst>
            </c:dLbl>
            <c:dLbl>
              <c:idx val="3"/>
              <c:layout>
                <c:manualLayout>
                  <c:x val="-5.7703404500865547E-4"/>
                  <c:y val="-3.2573289902280132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700" spc="19">
                      <a:solidFill>
                        <a:srgbClr val="FFFFFF"/>
                      </a:solidFill>
                      <a:latin typeface="+mn-lt"/>
                      <a:ea typeface="Roboto Black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811F-41D4-BD11-7B84AC4867C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0">
                  <c:v>5</c:v>
                </c:pt>
                <c:pt idx="1">
                  <c:v>11</c:v>
                </c:pt>
                <c:pt idx="2">
                  <c:v>22</c:v>
                </c:pt>
                <c:pt idx="3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811F-41D4-BD11-7B84AC4867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881506320"/>
        <c:axId val="1"/>
      </c:barChart>
      <c:catAx>
        <c:axId val="88150632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2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5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8815063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1DFF8CB-A1C5-4BA0-87FE-BACA85255F0E}" type="doc">
      <dgm:prSet loTypeId="urn:microsoft.com/office/officeart/2011/layout/HexagonRadial" loCatId="cycle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fr-CH"/>
        </a:p>
      </dgm:t>
    </dgm:pt>
    <dgm:pt modelId="{20D67E78-CA72-4E34-948E-B0D4A603D1B2}">
      <dgm:prSet phldrT="[Text]"/>
      <dgm:spPr/>
      <dgm:t>
        <a:bodyPr/>
        <a:lstStyle/>
        <a:p>
          <a:r>
            <a:rPr lang="en-US" dirty="0"/>
            <a:t>Principles </a:t>
          </a:r>
        </a:p>
      </dgm:t>
    </dgm:pt>
    <dgm:pt modelId="{EA79B8FB-DFD4-40AD-AE91-D14AF5DB876D}" type="parTrans" cxnId="{C00A217D-A6F8-4FD5-88B9-DED7E28B513E}">
      <dgm:prSet/>
      <dgm:spPr/>
      <dgm:t>
        <a:bodyPr/>
        <a:lstStyle/>
        <a:p>
          <a:endParaRPr lang="fr-CH"/>
        </a:p>
      </dgm:t>
    </dgm:pt>
    <dgm:pt modelId="{7A299D39-2ED4-4FBA-B11C-E94AF926FF08}" type="sibTrans" cxnId="{C00A217D-A6F8-4FD5-88B9-DED7E28B513E}">
      <dgm:prSet/>
      <dgm:spPr/>
      <dgm:t>
        <a:bodyPr/>
        <a:lstStyle/>
        <a:p>
          <a:endParaRPr lang="fr-CH"/>
        </a:p>
      </dgm:t>
    </dgm:pt>
    <dgm:pt modelId="{DF1F7A14-D534-4CC9-960C-99DD227BF445}">
      <dgm:prSet phldrT="[Text]"/>
      <dgm:spPr/>
      <dgm:t>
        <a:bodyPr/>
        <a:lstStyle/>
        <a:p>
          <a:r>
            <a:rPr lang="en-US" dirty="0"/>
            <a:t>1</a:t>
          </a:r>
        </a:p>
        <a:p>
          <a:r>
            <a:rPr lang="fr-CH" dirty="0"/>
            <a:t>Close digital </a:t>
          </a:r>
          <a:r>
            <a:rPr lang="fr-CH" dirty="0" err="1"/>
            <a:t>divides</a:t>
          </a:r>
          <a:r>
            <a:rPr lang="fr-CH" dirty="0"/>
            <a:t> </a:t>
          </a:r>
        </a:p>
      </dgm:t>
    </dgm:pt>
    <dgm:pt modelId="{4D9DA567-2814-4290-817E-6612AAD341D8}" type="parTrans" cxnId="{BB7827BF-51EF-47D7-8F08-5B6D8C0B3867}">
      <dgm:prSet/>
      <dgm:spPr/>
      <dgm:t>
        <a:bodyPr/>
        <a:lstStyle/>
        <a:p>
          <a:endParaRPr lang="fr-CH"/>
        </a:p>
      </dgm:t>
    </dgm:pt>
    <dgm:pt modelId="{6A45DF63-0D4B-49FD-AB1F-F2DC1EE5BA14}" type="sibTrans" cxnId="{BB7827BF-51EF-47D7-8F08-5B6D8C0B3867}">
      <dgm:prSet/>
      <dgm:spPr/>
      <dgm:t>
        <a:bodyPr/>
        <a:lstStyle/>
        <a:p>
          <a:endParaRPr lang="fr-CH"/>
        </a:p>
      </dgm:t>
    </dgm:pt>
    <dgm:pt modelId="{B0D6C968-EA87-462F-B566-28E931B7A41C}">
      <dgm:prSet phldrT="[Text]"/>
      <dgm:spPr/>
      <dgm:t>
        <a:bodyPr/>
        <a:lstStyle/>
        <a:p>
          <a:r>
            <a:rPr lang="en-US" dirty="0"/>
            <a:t>2</a:t>
          </a:r>
        </a:p>
        <a:p>
          <a:r>
            <a:rPr lang="en-US" dirty="0"/>
            <a:t>Expand inclusion digital economy</a:t>
          </a:r>
        </a:p>
      </dgm:t>
    </dgm:pt>
    <dgm:pt modelId="{9755E7AD-308F-48C3-B5E7-F269C21D63B4}" type="parTrans" cxnId="{75A7FA21-B318-4106-A360-E4B972666FAF}">
      <dgm:prSet/>
      <dgm:spPr/>
      <dgm:t>
        <a:bodyPr/>
        <a:lstStyle/>
        <a:p>
          <a:endParaRPr lang="fr-CH"/>
        </a:p>
      </dgm:t>
    </dgm:pt>
    <dgm:pt modelId="{AC845C63-5787-47D6-8B22-C36EC5C8A29A}" type="sibTrans" cxnId="{75A7FA21-B318-4106-A360-E4B972666FAF}">
      <dgm:prSet/>
      <dgm:spPr/>
      <dgm:t>
        <a:bodyPr/>
        <a:lstStyle/>
        <a:p>
          <a:endParaRPr lang="fr-CH"/>
        </a:p>
      </dgm:t>
    </dgm:pt>
    <dgm:pt modelId="{A9731150-7DEF-4680-85EC-565B74255CFB}">
      <dgm:prSet phldrT="[Text]"/>
      <dgm:spPr/>
      <dgm:t>
        <a:bodyPr/>
        <a:lstStyle/>
        <a:p>
          <a:r>
            <a:rPr lang="en-US" dirty="0"/>
            <a:t>3</a:t>
          </a:r>
        </a:p>
        <a:p>
          <a:r>
            <a:rPr lang="fr-CH" dirty="0"/>
            <a:t>Foster </a:t>
          </a:r>
          <a:r>
            <a:rPr lang="fr-CH" dirty="0" err="1"/>
            <a:t>safe</a:t>
          </a:r>
          <a:r>
            <a:rPr lang="fr-CH" dirty="0"/>
            <a:t> digital </a:t>
          </a:r>
          <a:r>
            <a:rPr lang="fr-CH" dirty="0" err="1"/>
            <a:t>space</a:t>
          </a:r>
          <a:r>
            <a:rPr lang="fr-CH" dirty="0"/>
            <a:t> &amp; </a:t>
          </a:r>
          <a:r>
            <a:rPr lang="fr-CH" dirty="0" err="1"/>
            <a:t>human</a:t>
          </a:r>
          <a:r>
            <a:rPr lang="fr-CH" dirty="0"/>
            <a:t> </a:t>
          </a:r>
          <a:r>
            <a:rPr lang="fr-CH" dirty="0" err="1"/>
            <a:t>rights</a:t>
          </a:r>
          <a:endParaRPr lang="fr-CH" dirty="0"/>
        </a:p>
      </dgm:t>
    </dgm:pt>
    <dgm:pt modelId="{395BD02E-A875-4007-8FD5-C3C0D3E436E4}" type="parTrans" cxnId="{98FC18BD-0E94-4AA2-9D58-C6BBF3F30C6C}">
      <dgm:prSet/>
      <dgm:spPr/>
      <dgm:t>
        <a:bodyPr/>
        <a:lstStyle/>
        <a:p>
          <a:endParaRPr lang="fr-CH"/>
        </a:p>
      </dgm:t>
    </dgm:pt>
    <dgm:pt modelId="{B2ED30D8-B259-479B-80E4-F8D0F958BCBC}" type="sibTrans" cxnId="{98FC18BD-0E94-4AA2-9D58-C6BBF3F30C6C}">
      <dgm:prSet/>
      <dgm:spPr/>
      <dgm:t>
        <a:bodyPr/>
        <a:lstStyle/>
        <a:p>
          <a:endParaRPr lang="fr-CH"/>
        </a:p>
      </dgm:t>
    </dgm:pt>
    <dgm:pt modelId="{F4067563-4288-4662-B89D-79DB33586B9A}">
      <dgm:prSet phldrT="[Text]"/>
      <dgm:spPr/>
      <dgm:t>
        <a:bodyPr/>
        <a:lstStyle/>
        <a:p>
          <a:r>
            <a:rPr lang="en-US" dirty="0"/>
            <a:t>4</a:t>
          </a:r>
        </a:p>
        <a:p>
          <a:r>
            <a:rPr lang="en-US" dirty="0"/>
            <a:t>Advance data governance</a:t>
          </a:r>
        </a:p>
      </dgm:t>
    </dgm:pt>
    <dgm:pt modelId="{98E02F73-66A7-4B45-ABF6-1C9500D802D1}" type="parTrans" cxnId="{CA0E8788-2EE0-4A4B-ACC8-386F1BBBEDB4}">
      <dgm:prSet/>
      <dgm:spPr/>
      <dgm:t>
        <a:bodyPr/>
        <a:lstStyle/>
        <a:p>
          <a:endParaRPr lang="fr-CH"/>
        </a:p>
      </dgm:t>
    </dgm:pt>
    <dgm:pt modelId="{E234E541-4F9C-4E80-AF1D-5CF9D2F0362D}" type="sibTrans" cxnId="{CA0E8788-2EE0-4A4B-ACC8-386F1BBBEDB4}">
      <dgm:prSet/>
      <dgm:spPr/>
      <dgm:t>
        <a:bodyPr/>
        <a:lstStyle/>
        <a:p>
          <a:endParaRPr lang="fr-CH"/>
        </a:p>
      </dgm:t>
    </dgm:pt>
    <dgm:pt modelId="{D3FBB653-5122-46F5-AF5E-DF361C75D13F}">
      <dgm:prSet phldrT="[Text]"/>
      <dgm:spPr/>
      <dgm:t>
        <a:bodyPr/>
        <a:lstStyle/>
        <a:p>
          <a:r>
            <a:rPr lang="en-US" dirty="0"/>
            <a:t>5</a:t>
          </a:r>
        </a:p>
        <a:p>
          <a:r>
            <a:rPr lang="en-US" dirty="0"/>
            <a:t>Enhance AI governance</a:t>
          </a:r>
          <a:endParaRPr lang="fr-CH" dirty="0"/>
        </a:p>
      </dgm:t>
    </dgm:pt>
    <dgm:pt modelId="{DD1BB69F-75F0-4AB8-B6E9-7D6748659F48}" type="parTrans" cxnId="{D8D75922-4920-4340-98DB-BEBF6D11ADE1}">
      <dgm:prSet/>
      <dgm:spPr/>
      <dgm:t>
        <a:bodyPr/>
        <a:lstStyle/>
        <a:p>
          <a:endParaRPr lang="fr-CH"/>
        </a:p>
      </dgm:t>
    </dgm:pt>
    <dgm:pt modelId="{27BB72C9-B388-481F-A8F9-351137F46F5D}" type="sibTrans" cxnId="{D8D75922-4920-4340-98DB-BEBF6D11ADE1}">
      <dgm:prSet/>
      <dgm:spPr/>
      <dgm:t>
        <a:bodyPr/>
        <a:lstStyle/>
        <a:p>
          <a:endParaRPr lang="fr-CH"/>
        </a:p>
      </dgm:t>
    </dgm:pt>
    <dgm:pt modelId="{57871B9B-C734-4A55-AD9A-E2EAF193258A}" type="pres">
      <dgm:prSet presAssocID="{61DFF8CB-A1C5-4BA0-87FE-BACA85255F0E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</dgm:pt>
    <dgm:pt modelId="{0D29972E-18BF-45D5-8C80-1C704AF71695}" type="pres">
      <dgm:prSet presAssocID="{20D67E78-CA72-4E34-948E-B0D4A603D1B2}" presName="Parent" presStyleLbl="node0" presStyleIdx="0" presStyleCnt="1">
        <dgm:presLayoutVars>
          <dgm:chMax val="6"/>
          <dgm:chPref val="6"/>
        </dgm:presLayoutVars>
      </dgm:prSet>
      <dgm:spPr/>
    </dgm:pt>
    <dgm:pt modelId="{921CDBF1-1BF0-4E90-A83C-F2D74EF0D119}" type="pres">
      <dgm:prSet presAssocID="{DF1F7A14-D534-4CC9-960C-99DD227BF445}" presName="Accent1" presStyleCnt="0"/>
      <dgm:spPr/>
    </dgm:pt>
    <dgm:pt modelId="{179E4625-6105-43CA-910C-74F9DAF968A0}" type="pres">
      <dgm:prSet presAssocID="{DF1F7A14-D534-4CC9-960C-99DD227BF445}" presName="Accent" presStyleLbl="bgShp" presStyleIdx="0" presStyleCnt="5"/>
      <dgm:spPr/>
    </dgm:pt>
    <dgm:pt modelId="{F492BD6D-735C-49E6-9E77-80221617669F}" type="pres">
      <dgm:prSet presAssocID="{DF1F7A14-D534-4CC9-960C-99DD227BF445}" presName="Child1" presStyleLbl="node1" presStyleIdx="0" presStyleCnt="5">
        <dgm:presLayoutVars>
          <dgm:chMax val="0"/>
          <dgm:chPref val="0"/>
          <dgm:bulletEnabled val="1"/>
        </dgm:presLayoutVars>
      </dgm:prSet>
      <dgm:spPr/>
    </dgm:pt>
    <dgm:pt modelId="{0A32B527-7ECE-44B6-89BB-D46DC7EA709E}" type="pres">
      <dgm:prSet presAssocID="{B0D6C968-EA87-462F-B566-28E931B7A41C}" presName="Accent2" presStyleCnt="0"/>
      <dgm:spPr/>
    </dgm:pt>
    <dgm:pt modelId="{17853A57-4AC5-45D9-AA97-65E4BFF63D60}" type="pres">
      <dgm:prSet presAssocID="{B0D6C968-EA87-462F-B566-28E931B7A41C}" presName="Accent" presStyleLbl="bgShp" presStyleIdx="1" presStyleCnt="5"/>
      <dgm:spPr/>
    </dgm:pt>
    <dgm:pt modelId="{8873AA77-A67F-4A2C-BC20-4D77C627CF65}" type="pres">
      <dgm:prSet presAssocID="{B0D6C968-EA87-462F-B566-28E931B7A41C}" presName="Child2" presStyleLbl="node1" presStyleIdx="1" presStyleCnt="5" custLinFactNeighborX="33122" custLinFactNeighborY="60492">
        <dgm:presLayoutVars>
          <dgm:chMax val="0"/>
          <dgm:chPref val="0"/>
          <dgm:bulletEnabled val="1"/>
        </dgm:presLayoutVars>
      </dgm:prSet>
      <dgm:spPr/>
    </dgm:pt>
    <dgm:pt modelId="{729354A9-712D-4A8F-8821-FF4F909C7113}" type="pres">
      <dgm:prSet presAssocID="{A9731150-7DEF-4680-85EC-565B74255CFB}" presName="Accent3" presStyleCnt="0"/>
      <dgm:spPr/>
    </dgm:pt>
    <dgm:pt modelId="{4C36B97C-451D-4D35-AD86-B9F5BF46B929}" type="pres">
      <dgm:prSet presAssocID="{A9731150-7DEF-4680-85EC-565B74255CFB}" presName="Accent" presStyleLbl="bgShp" presStyleIdx="2" presStyleCnt="5"/>
      <dgm:spPr/>
    </dgm:pt>
    <dgm:pt modelId="{CB638678-22A7-4871-A8CD-202B45B5F5FD}" type="pres">
      <dgm:prSet presAssocID="{A9731150-7DEF-4680-85EC-565B74255CFB}" presName="Child3" presStyleLbl="node1" presStyleIdx="2" presStyleCnt="5" custLinFactNeighborX="-15095" custLinFactNeighborY="61185">
        <dgm:presLayoutVars>
          <dgm:chMax val="0"/>
          <dgm:chPref val="0"/>
          <dgm:bulletEnabled val="1"/>
        </dgm:presLayoutVars>
      </dgm:prSet>
      <dgm:spPr/>
    </dgm:pt>
    <dgm:pt modelId="{9B2FFC78-4065-4A48-81E8-E98A92B182C5}" type="pres">
      <dgm:prSet presAssocID="{F4067563-4288-4662-B89D-79DB33586B9A}" presName="Accent4" presStyleCnt="0"/>
      <dgm:spPr/>
    </dgm:pt>
    <dgm:pt modelId="{F9BAB2DC-D5F9-49BD-8D06-19454A7CBBEB}" type="pres">
      <dgm:prSet presAssocID="{F4067563-4288-4662-B89D-79DB33586B9A}" presName="Accent" presStyleLbl="bgShp" presStyleIdx="3" presStyleCnt="5"/>
      <dgm:spPr/>
    </dgm:pt>
    <dgm:pt modelId="{41A8A60E-9BB2-4AE4-97B6-89E797A08ADD}" type="pres">
      <dgm:prSet presAssocID="{F4067563-4288-4662-B89D-79DB33586B9A}" presName="Child4" presStyleLbl="node1" presStyleIdx="3" presStyleCnt="5" custLinFactNeighborX="-68429" custLinFactNeighborY="-391">
        <dgm:presLayoutVars>
          <dgm:chMax val="0"/>
          <dgm:chPref val="0"/>
          <dgm:bulletEnabled val="1"/>
        </dgm:presLayoutVars>
      </dgm:prSet>
      <dgm:spPr/>
    </dgm:pt>
    <dgm:pt modelId="{A80EF537-35AB-4D2A-88A2-BF47F6846063}" type="pres">
      <dgm:prSet presAssocID="{D3FBB653-5122-46F5-AF5E-DF361C75D13F}" presName="Accent5" presStyleCnt="0"/>
      <dgm:spPr/>
    </dgm:pt>
    <dgm:pt modelId="{ED990F78-996B-4FB1-8767-6A409405D14B}" type="pres">
      <dgm:prSet presAssocID="{D3FBB653-5122-46F5-AF5E-DF361C75D13F}" presName="Accent" presStyleLbl="bgShp" presStyleIdx="4" presStyleCnt="5"/>
      <dgm:spPr/>
    </dgm:pt>
    <dgm:pt modelId="{C4EA594E-314C-4829-A060-7BC552435308}" type="pres">
      <dgm:prSet presAssocID="{D3FBB653-5122-46F5-AF5E-DF361C75D13F}" presName="Child5" presStyleLbl="node1" presStyleIdx="4" presStyleCnt="5" custLinFactNeighborX="-32202" custLinFactNeighborY="-60492">
        <dgm:presLayoutVars>
          <dgm:chMax val="0"/>
          <dgm:chPref val="0"/>
          <dgm:bulletEnabled val="1"/>
        </dgm:presLayoutVars>
      </dgm:prSet>
      <dgm:spPr/>
    </dgm:pt>
  </dgm:ptLst>
  <dgm:cxnLst>
    <dgm:cxn modelId="{6021B513-EE5C-4C31-84E1-5A68D7D382F5}" type="presOf" srcId="{DF1F7A14-D534-4CC9-960C-99DD227BF445}" destId="{F492BD6D-735C-49E6-9E77-80221617669F}" srcOrd="0" destOrd="0" presId="urn:microsoft.com/office/officeart/2011/layout/HexagonRadial"/>
    <dgm:cxn modelId="{75A7FA21-B318-4106-A360-E4B972666FAF}" srcId="{20D67E78-CA72-4E34-948E-B0D4A603D1B2}" destId="{B0D6C968-EA87-462F-B566-28E931B7A41C}" srcOrd="1" destOrd="0" parTransId="{9755E7AD-308F-48C3-B5E7-F269C21D63B4}" sibTransId="{AC845C63-5787-47D6-8B22-C36EC5C8A29A}"/>
    <dgm:cxn modelId="{D8D75922-4920-4340-98DB-BEBF6D11ADE1}" srcId="{20D67E78-CA72-4E34-948E-B0D4A603D1B2}" destId="{D3FBB653-5122-46F5-AF5E-DF361C75D13F}" srcOrd="4" destOrd="0" parTransId="{DD1BB69F-75F0-4AB8-B6E9-7D6748659F48}" sibTransId="{27BB72C9-B388-481F-A8F9-351137F46F5D}"/>
    <dgm:cxn modelId="{B612BE23-2432-44C5-A642-C12AF4EFF8A8}" type="presOf" srcId="{61DFF8CB-A1C5-4BA0-87FE-BACA85255F0E}" destId="{57871B9B-C734-4A55-AD9A-E2EAF193258A}" srcOrd="0" destOrd="0" presId="urn:microsoft.com/office/officeart/2011/layout/HexagonRadial"/>
    <dgm:cxn modelId="{DE915250-DE09-4650-A3AB-1B1AC2D82F7D}" type="presOf" srcId="{B0D6C968-EA87-462F-B566-28E931B7A41C}" destId="{8873AA77-A67F-4A2C-BC20-4D77C627CF65}" srcOrd="0" destOrd="0" presId="urn:microsoft.com/office/officeart/2011/layout/HexagonRadial"/>
    <dgm:cxn modelId="{E55EDE7C-1E3A-4E7C-8036-35203B0C965C}" type="presOf" srcId="{20D67E78-CA72-4E34-948E-B0D4A603D1B2}" destId="{0D29972E-18BF-45D5-8C80-1C704AF71695}" srcOrd="0" destOrd="0" presId="urn:microsoft.com/office/officeart/2011/layout/HexagonRadial"/>
    <dgm:cxn modelId="{C00A217D-A6F8-4FD5-88B9-DED7E28B513E}" srcId="{61DFF8CB-A1C5-4BA0-87FE-BACA85255F0E}" destId="{20D67E78-CA72-4E34-948E-B0D4A603D1B2}" srcOrd="0" destOrd="0" parTransId="{EA79B8FB-DFD4-40AD-AE91-D14AF5DB876D}" sibTransId="{7A299D39-2ED4-4FBA-B11C-E94AF926FF08}"/>
    <dgm:cxn modelId="{EDC3537E-F0A1-4B5A-9995-6FBA7A7411B6}" type="presOf" srcId="{F4067563-4288-4662-B89D-79DB33586B9A}" destId="{41A8A60E-9BB2-4AE4-97B6-89E797A08ADD}" srcOrd="0" destOrd="0" presId="urn:microsoft.com/office/officeart/2011/layout/HexagonRadial"/>
    <dgm:cxn modelId="{55981788-1866-4286-B210-ED6816A62FA2}" type="presOf" srcId="{D3FBB653-5122-46F5-AF5E-DF361C75D13F}" destId="{C4EA594E-314C-4829-A060-7BC552435308}" srcOrd="0" destOrd="0" presId="urn:microsoft.com/office/officeart/2011/layout/HexagonRadial"/>
    <dgm:cxn modelId="{CA0E8788-2EE0-4A4B-ACC8-386F1BBBEDB4}" srcId="{20D67E78-CA72-4E34-948E-B0D4A603D1B2}" destId="{F4067563-4288-4662-B89D-79DB33586B9A}" srcOrd="3" destOrd="0" parTransId="{98E02F73-66A7-4B45-ABF6-1C9500D802D1}" sibTransId="{E234E541-4F9C-4E80-AF1D-5CF9D2F0362D}"/>
    <dgm:cxn modelId="{98FC18BD-0E94-4AA2-9D58-C6BBF3F30C6C}" srcId="{20D67E78-CA72-4E34-948E-B0D4A603D1B2}" destId="{A9731150-7DEF-4680-85EC-565B74255CFB}" srcOrd="2" destOrd="0" parTransId="{395BD02E-A875-4007-8FD5-C3C0D3E436E4}" sibTransId="{B2ED30D8-B259-479B-80E4-F8D0F958BCBC}"/>
    <dgm:cxn modelId="{BB7827BF-51EF-47D7-8F08-5B6D8C0B3867}" srcId="{20D67E78-CA72-4E34-948E-B0D4A603D1B2}" destId="{DF1F7A14-D534-4CC9-960C-99DD227BF445}" srcOrd="0" destOrd="0" parTransId="{4D9DA567-2814-4290-817E-6612AAD341D8}" sibTransId="{6A45DF63-0D4B-49FD-AB1F-F2DC1EE5BA14}"/>
    <dgm:cxn modelId="{584C5CD7-D445-4B7C-A91B-C003897BCCAF}" type="presOf" srcId="{A9731150-7DEF-4680-85EC-565B74255CFB}" destId="{CB638678-22A7-4871-A8CD-202B45B5F5FD}" srcOrd="0" destOrd="0" presId="urn:microsoft.com/office/officeart/2011/layout/HexagonRadial"/>
    <dgm:cxn modelId="{798CA6CF-79C2-4ED2-8A70-00B6984BC60D}" type="presParOf" srcId="{57871B9B-C734-4A55-AD9A-E2EAF193258A}" destId="{0D29972E-18BF-45D5-8C80-1C704AF71695}" srcOrd="0" destOrd="0" presId="urn:microsoft.com/office/officeart/2011/layout/HexagonRadial"/>
    <dgm:cxn modelId="{741D1C99-FE65-4BAB-B646-235AF347B841}" type="presParOf" srcId="{57871B9B-C734-4A55-AD9A-E2EAF193258A}" destId="{921CDBF1-1BF0-4E90-A83C-F2D74EF0D119}" srcOrd="1" destOrd="0" presId="urn:microsoft.com/office/officeart/2011/layout/HexagonRadial"/>
    <dgm:cxn modelId="{07432B05-6B3E-43A1-9369-E343E98A69DF}" type="presParOf" srcId="{921CDBF1-1BF0-4E90-A83C-F2D74EF0D119}" destId="{179E4625-6105-43CA-910C-74F9DAF968A0}" srcOrd="0" destOrd="0" presId="urn:microsoft.com/office/officeart/2011/layout/HexagonRadial"/>
    <dgm:cxn modelId="{EEADE5F5-FB5F-454A-96CB-F096691C1B10}" type="presParOf" srcId="{57871B9B-C734-4A55-AD9A-E2EAF193258A}" destId="{F492BD6D-735C-49E6-9E77-80221617669F}" srcOrd="2" destOrd="0" presId="urn:microsoft.com/office/officeart/2011/layout/HexagonRadial"/>
    <dgm:cxn modelId="{F39135DE-06D4-4F80-BA34-16F3EF77C355}" type="presParOf" srcId="{57871B9B-C734-4A55-AD9A-E2EAF193258A}" destId="{0A32B527-7ECE-44B6-89BB-D46DC7EA709E}" srcOrd="3" destOrd="0" presId="urn:microsoft.com/office/officeart/2011/layout/HexagonRadial"/>
    <dgm:cxn modelId="{1DB75BEA-507F-4A4A-A948-8AC3FF26160E}" type="presParOf" srcId="{0A32B527-7ECE-44B6-89BB-D46DC7EA709E}" destId="{17853A57-4AC5-45D9-AA97-65E4BFF63D60}" srcOrd="0" destOrd="0" presId="urn:microsoft.com/office/officeart/2011/layout/HexagonRadial"/>
    <dgm:cxn modelId="{118F5847-23CA-42A5-B30F-1A3F525D64A3}" type="presParOf" srcId="{57871B9B-C734-4A55-AD9A-E2EAF193258A}" destId="{8873AA77-A67F-4A2C-BC20-4D77C627CF65}" srcOrd="4" destOrd="0" presId="urn:microsoft.com/office/officeart/2011/layout/HexagonRadial"/>
    <dgm:cxn modelId="{E04E9DB0-9C48-474B-AE2C-7DAED281C696}" type="presParOf" srcId="{57871B9B-C734-4A55-AD9A-E2EAF193258A}" destId="{729354A9-712D-4A8F-8821-FF4F909C7113}" srcOrd="5" destOrd="0" presId="urn:microsoft.com/office/officeart/2011/layout/HexagonRadial"/>
    <dgm:cxn modelId="{95EC173C-51D6-4339-BCEE-BCA321286CE9}" type="presParOf" srcId="{729354A9-712D-4A8F-8821-FF4F909C7113}" destId="{4C36B97C-451D-4D35-AD86-B9F5BF46B929}" srcOrd="0" destOrd="0" presId="urn:microsoft.com/office/officeart/2011/layout/HexagonRadial"/>
    <dgm:cxn modelId="{E4CCC799-7543-4CF3-AE00-AC332F063E5D}" type="presParOf" srcId="{57871B9B-C734-4A55-AD9A-E2EAF193258A}" destId="{CB638678-22A7-4871-A8CD-202B45B5F5FD}" srcOrd="6" destOrd="0" presId="urn:microsoft.com/office/officeart/2011/layout/HexagonRadial"/>
    <dgm:cxn modelId="{C4C1C27C-0A59-4E08-A65A-1BADF3630512}" type="presParOf" srcId="{57871B9B-C734-4A55-AD9A-E2EAF193258A}" destId="{9B2FFC78-4065-4A48-81E8-E98A92B182C5}" srcOrd="7" destOrd="0" presId="urn:microsoft.com/office/officeart/2011/layout/HexagonRadial"/>
    <dgm:cxn modelId="{597DEAC1-1ECF-4249-B18D-38CFF40A9057}" type="presParOf" srcId="{9B2FFC78-4065-4A48-81E8-E98A92B182C5}" destId="{F9BAB2DC-D5F9-49BD-8D06-19454A7CBBEB}" srcOrd="0" destOrd="0" presId="urn:microsoft.com/office/officeart/2011/layout/HexagonRadial"/>
    <dgm:cxn modelId="{F7E5F849-6FE7-4617-AF79-C6658065230C}" type="presParOf" srcId="{57871B9B-C734-4A55-AD9A-E2EAF193258A}" destId="{41A8A60E-9BB2-4AE4-97B6-89E797A08ADD}" srcOrd="8" destOrd="0" presId="urn:microsoft.com/office/officeart/2011/layout/HexagonRadial"/>
    <dgm:cxn modelId="{09409C88-623A-4893-8EE7-05771FBABA13}" type="presParOf" srcId="{57871B9B-C734-4A55-AD9A-E2EAF193258A}" destId="{A80EF537-35AB-4D2A-88A2-BF47F6846063}" srcOrd="9" destOrd="0" presId="urn:microsoft.com/office/officeart/2011/layout/HexagonRadial"/>
    <dgm:cxn modelId="{DD351CC5-C802-4AD1-A4EB-8114F1ECF9F9}" type="presParOf" srcId="{A80EF537-35AB-4D2A-88A2-BF47F6846063}" destId="{ED990F78-996B-4FB1-8767-6A409405D14B}" srcOrd="0" destOrd="0" presId="urn:microsoft.com/office/officeart/2011/layout/HexagonRadial"/>
    <dgm:cxn modelId="{E33B5EB7-7AD2-4E00-BC45-CC2CAD310C00}" type="presParOf" srcId="{57871B9B-C734-4A55-AD9A-E2EAF193258A}" destId="{C4EA594E-314C-4829-A060-7BC552435308}" srcOrd="10" destOrd="0" presId="urn:microsoft.com/office/officeart/2011/layout/HexagonRadial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D29972E-18BF-45D5-8C80-1C704AF71695}">
      <dsp:nvSpPr>
        <dsp:cNvPr id="0" name=""/>
        <dsp:cNvSpPr/>
      </dsp:nvSpPr>
      <dsp:spPr>
        <a:xfrm>
          <a:off x="1769152" y="1352506"/>
          <a:ext cx="1719095" cy="1487086"/>
        </a:xfrm>
        <a:prstGeom prst="hexagon">
          <a:avLst>
            <a:gd name="adj" fmla="val 28570"/>
            <a:gd name="vf" fmla="val 11547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130" tIns="24130" rIns="24130" bIns="2413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 dirty="0"/>
            <a:t>Principles </a:t>
          </a:r>
        </a:p>
      </dsp:txBody>
      <dsp:txXfrm>
        <a:off x="2054030" y="1598937"/>
        <a:ext cx="1149339" cy="994224"/>
      </dsp:txXfrm>
    </dsp:sp>
    <dsp:sp modelId="{17853A57-4AC5-45D9-AA97-65E4BFF63D60}">
      <dsp:nvSpPr>
        <dsp:cNvPr id="0" name=""/>
        <dsp:cNvSpPr/>
      </dsp:nvSpPr>
      <dsp:spPr>
        <a:xfrm>
          <a:off x="2845636" y="641036"/>
          <a:ext cx="648609" cy="558862"/>
        </a:xfrm>
        <a:prstGeom prst="hexagon">
          <a:avLst>
            <a:gd name="adj" fmla="val 28900"/>
            <a:gd name="vf" fmla="val 11547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492BD6D-735C-49E6-9E77-80221617669F}">
      <dsp:nvSpPr>
        <dsp:cNvPr id="0" name=""/>
        <dsp:cNvSpPr/>
      </dsp:nvSpPr>
      <dsp:spPr>
        <a:xfrm>
          <a:off x="1927505" y="0"/>
          <a:ext cx="1408786" cy="1218765"/>
        </a:xfrm>
        <a:prstGeom prst="hexagon">
          <a:avLst>
            <a:gd name="adj" fmla="val 28570"/>
            <a:gd name="vf" fmla="val 11547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1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H" sz="1000" kern="1200" dirty="0"/>
            <a:t>Close digital </a:t>
          </a:r>
          <a:r>
            <a:rPr lang="fr-CH" sz="1000" kern="1200" dirty="0" err="1"/>
            <a:t>divides</a:t>
          </a:r>
          <a:r>
            <a:rPr lang="fr-CH" sz="1000" kern="1200" dirty="0"/>
            <a:t> </a:t>
          </a:r>
        </a:p>
      </dsp:txBody>
      <dsp:txXfrm>
        <a:off x="2160971" y="201975"/>
        <a:ext cx="941854" cy="814815"/>
      </dsp:txXfrm>
    </dsp:sp>
    <dsp:sp modelId="{4C36B97C-451D-4D35-AD86-B9F5BF46B929}">
      <dsp:nvSpPr>
        <dsp:cNvPr id="0" name=""/>
        <dsp:cNvSpPr/>
      </dsp:nvSpPr>
      <dsp:spPr>
        <a:xfrm>
          <a:off x="3602614" y="1685812"/>
          <a:ext cx="648609" cy="558862"/>
        </a:xfrm>
        <a:prstGeom prst="hexagon">
          <a:avLst>
            <a:gd name="adj" fmla="val 28900"/>
            <a:gd name="vf" fmla="val 11547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873AA77-A67F-4A2C-BC20-4D77C627CF65}">
      <dsp:nvSpPr>
        <dsp:cNvPr id="0" name=""/>
        <dsp:cNvSpPr/>
      </dsp:nvSpPr>
      <dsp:spPr>
        <a:xfrm>
          <a:off x="3686144" y="1486878"/>
          <a:ext cx="1408786" cy="1218765"/>
        </a:xfrm>
        <a:prstGeom prst="hexagon">
          <a:avLst>
            <a:gd name="adj" fmla="val 28570"/>
            <a:gd name="vf" fmla="val 11547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2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Expand inclusion digital economy</a:t>
          </a:r>
        </a:p>
      </dsp:txBody>
      <dsp:txXfrm>
        <a:off x="3919610" y="1688853"/>
        <a:ext cx="941854" cy="814815"/>
      </dsp:txXfrm>
    </dsp:sp>
    <dsp:sp modelId="{F9BAB2DC-D5F9-49BD-8D06-19454A7CBBEB}">
      <dsp:nvSpPr>
        <dsp:cNvPr id="0" name=""/>
        <dsp:cNvSpPr/>
      </dsp:nvSpPr>
      <dsp:spPr>
        <a:xfrm>
          <a:off x="3076768" y="2865168"/>
          <a:ext cx="648609" cy="558862"/>
        </a:xfrm>
        <a:prstGeom prst="hexagon">
          <a:avLst>
            <a:gd name="adj" fmla="val 28900"/>
            <a:gd name="vf" fmla="val 11547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B638678-22A7-4871-A8CD-202B45B5F5FD}">
      <dsp:nvSpPr>
        <dsp:cNvPr id="0" name=""/>
        <dsp:cNvSpPr/>
      </dsp:nvSpPr>
      <dsp:spPr>
        <a:xfrm>
          <a:off x="3006870" y="2968995"/>
          <a:ext cx="1408786" cy="1218765"/>
        </a:xfrm>
        <a:prstGeom prst="hexagon">
          <a:avLst>
            <a:gd name="adj" fmla="val 28570"/>
            <a:gd name="vf" fmla="val 11547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3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CH" sz="1000" kern="1200" dirty="0"/>
            <a:t>Foster </a:t>
          </a:r>
          <a:r>
            <a:rPr lang="fr-CH" sz="1000" kern="1200" dirty="0" err="1"/>
            <a:t>safe</a:t>
          </a:r>
          <a:r>
            <a:rPr lang="fr-CH" sz="1000" kern="1200" dirty="0"/>
            <a:t> digital </a:t>
          </a:r>
          <a:r>
            <a:rPr lang="fr-CH" sz="1000" kern="1200" dirty="0" err="1"/>
            <a:t>space</a:t>
          </a:r>
          <a:r>
            <a:rPr lang="fr-CH" sz="1000" kern="1200" dirty="0"/>
            <a:t> &amp; </a:t>
          </a:r>
          <a:r>
            <a:rPr lang="fr-CH" sz="1000" kern="1200" dirty="0" err="1"/>
            <a:t>human</a:t>
          </a:r>
          <a:r>
            <a:rPr lang="fr-CH" sz="1000" kern="1200" dirty="0"/>
            <a:t> </a:t>
          </a:r>
          <a:r>
            <a:rPr lang="fr-CH" sz="1000" kern="1200" dirty="0" err="1"/>
            <a:t>rights</a:t>
          </a:r>
          <a:endParaRPr lang="fr-CH" sz="1000" kern="1200" dirty="0"/>
        </a:p>
      </dsp:txBody>
      <dsp:txXfrm>
        <a:off x="3240336" y="3170970"/>
        <a:ext cx="941854" cy="814815"/>
      </dsp:txXfrm>
    </dsp:sp>
    <dsp:sp modelId="{ED990F78-996B-4FB1-8767-6A409405D14B}">
      <dsp:nvSpPr>
        <dsp:cNvPr id="0" name=""/>
        <dsp:cNvSpPr/>
      </dsp:nvSpPr>
      <dsp:spPr>
        <a:xfrm>
          <a:off x="1772351" y="2987589"/>
          <a:ext cx="648609" cy="558862"/>
        </a:xfrm>
        <a:prstGeom prst="hexagon">
          <a:avLst>
            <a:gd name="adj" fmla="val 28900"/>
            <a:gd name="vf" fmla="val 11547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1A8A60E-9BB2-4AE4-97B6-89E797A08ADD}">
      <dsp:nvSpPr>
        <dsp:cNvPr id="0" name=""/>
        <dsp:cNvSpPr/>
      </dsp:nvSpPr>
      <dsp:spPr>
        <a:xfrm>
          <a:off x="963487" y="2968989"/>
          <a:ext cx="1408786" cy="1218765"/>
        </a:xfrm>
        <a:prstGeom prst="hexagon">
          <a:avLst>
            <a:gd name="adj" fmla="val 28570"/>
            <a:gd name="vf" fmla="val 11547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4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Advance data governance</a:t>
          </a:r>
        </a:p>
      </dsp:txBody>
      <dsp:txXfrm>
        <a:off x="1196953" y="3170964"/>
        <a:ext cx="941854" cy="814815"/>
      </dsp:txXfrm>
    </dsp:sp>
    <dsp:sp modelId="{C4EA594E-314C-4829-A060-7BC552435308}">
      <dsp:nvSpPr>
        <dsp:cNvPr id="0" name=""/>
        <dsp:cNvSpPr/>
      </dsp:nvSpPr>
      <dsp:spPr>
        <a:xfrm>
          <a:off x="175829" y="1486876"/>
          <a:ext cx="1408786" cy="1218765"/>
        </a:xfrm>
        <a:prstGeom prst="hexagon">
          <a:avLst>
            <a:gd name="adj" fmla="val 28570"/>
            <a:gd name="vf" fmla="val 11547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5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Enhance AI governance</a:t>
          </a:r>
          <a:endParaRPr lang="fr-CH" sz="1000" kern="1200" dirty="0"/>
        </a:p>
      </dsp:txBody>
      <dsp:txXfrm>
        <a:off x="409295" y="1688851"/>
        <a:ext cx="941854" cy="81481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1/layout/HexagonRadial">
  <dgm:title val="Hexagon Radial"/>
  <dgm:desc val="Use to show a sequential process that relates to a central idea or theme. Limited to six Level 2 shapes. Works best with small amounts of text. Unused text does not appear, but remains available if you switch layouts."/>
  <dgm:catLst>
    <dgm:cat type="cycle" pri="8500"/>
    <dgm:cat type="officeonline" pri="9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  <dgm:pt modelId="15">
          <dgm:prSet phldr="1"/>
        </dgm:pt>
        <dgm:pt modelId="16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  <dgm:cxn modelId="80" srcId="10" destId="14" srcOrd="0" destOrd="0"/>
        <dgm:cxn modelId="90" srcId="10" destId="15" srcOrd="0" destOrd="0"/>
        <dgm:cxn modelId="100" srcId="10" destId="16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  <dgm:pt modelId="15">
          <dgm:prSet phldr="1"/>
        </dgm:pt>
        <dgm:pt modelId="16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  <dgm:cxn modelId="80" srcId="10" destId="14" srcOrd="0" destOrd="0"/>
        <dgm:cxn modelId="90" srcId="10" destId="15" srcOrd="0" destOrd="0"/>
        <dgm:cxn modelId="100" srcId="10" destId="16" srcOrd="0" destOrd="0"/>
      </dgm:cxnLst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st="1 1" cnt="1 0" func="cnt" op="equ" val="0">
            <dgm:alg type="composite">
              <dgm:param type="ar" val="1.156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5" axis="ch ch" ptType="node node" st="1 1" cnt="1 0" func="cnt" op="lte" val="1">
            <dgm:alg type="composite">
              <dgm:param type="ar" val="1.36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l" for="ch" forName="Accent1" refType="w" fact="0.1685"/>
              <dgm:constr type="t" for="ch" forName="Accent1" refType="h" fact="0.2946"/>
              <dgm:constr type="w" for="ch" forName="Accent1" refType="w" fact="0.462"/>
              <dgm:constr type="h" for="ch" forName="Accent1" refType="h" fact="0.5472"/>
              <dgm:constr type="l" for="ch" forName="Parent" refType="w" fact="0"/>
              <dgm:constr type="t" for="ch" forName="Parent" refType="h" fact="0.2885"/>
              <dgm:constr type="w" for="ch" forName="Parent" refType="w" fact="0.6013"/>
              <dgm:constr type="h" for="ch" forName="Parent" refType="h" fact="0.7115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5831"/>
            </dgm:constrLst>
          </dgm:if>
          <dgm:if name="Name6" axis="ch ch" ptType="node node" st="1 1" cnt="1 0" func="cnt" op="equ" val="2">
            <dgm:alg type="composite">
              <dgm:param type="ar" val="1.0619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l" for="ch" forName="Accent2" refType="w" fact="0.6413"/>
              <dgm:constr type="t" for="ch" forName="Accent2" refType="h" fact="0.3477"/>
              <dgm:constr type="w" for="ch" forName="Accent2" refType="w" fact="0.2269"/>
              <dgm:constr type="h" for="ch" forName="Accent2" refType="h" fact="0.2076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Parent" refType="w" fact="0"/>
              <dgm:constr type="t" for="ch" forName="Parent" refType="h" fact="0.2239"/>
              <dgm:constr type="w" for="ch" forName="Parent" refType="w" fact="0.6013"/>
              <dgm:constr type="h" for="ch" forName="Parent" refType="h" fact="0.5523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4527"/>
              <dgm:constr type="l" for="ch" forName="Child2" refType="w" fact="0.5073"/>
              <dgm:constr type="t" for="ch" forName="Child2" refType="h" fact="0.5473"/>
              <dgm:constr type="w" for="ch" forName="Child2" refType="w" fact="0.4927"/>
              <dgm:constr type="h" for="ch" forName="Child2" refType="h" fact="0.4527"/>
            </dgm:constrLst>
          </dgm:if>
          <dgm:if name="Name7" axis="ch ch" ptType="node node" st="1 1" cnt="1 0" func="cnt" op="equ" val="3">
            <dgm:alg type="composite">
              <dgm:param type="ar" val="0.8305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3" refType="w" fact="0.4573"/>
              <dgm:constr type="t" for="ch" forName="Accent3" refType="h" fact="0.6145"/>
              <dgm:constr type="w" for="ch" forName="Accent3" refType="w" fact="0.2269"/>
              <dgm:constr type="h" for="ch" forName="Accent3" refType="h" fact="0.1623"/>
              <dgm:constr type="l" for="ch" forName="Accent2" refType="w" fact="0.6413"/>
              <dgm:constr type="t" for="ch" forName="Accent2" refType="h" fact="0.2719"/>
              <dgm:constr type="w" for="ch" forName="Accent2" refType="w" fact="0.2269"/>
              <dgm:constr type="h" for="ch" forName="Accent2" refType="h" fact="0.162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3" refType="w" fact="0.0554"/>
              <dgm:constr type="t" for="ch" forName="Child3" refType="h" fact="0.646"/>
              <dgm:constr type="w" for="ch" forName="Child3" refType="w" fact="0.4927"/>
              <dgm:constr type="h" for="ch" forName="Child3" refType="h" fact="0.354"/>
              <dgm:constr type="l" for="ch" forName="Parent" refType="w" fact="0"/>
              <dgm:constr type="t" for="ch" forName="Parent" refType="h" fact="0.1751"/>
              <dgm:constr type="w" for="ch" forName="Parent" refType="w" fact="0.6013"/>
              <dgm:constr type="h" for="ch" forName="Parent" refType="h" fact="0.4319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354"/>
              <dgm:constr type="l" for="ch" forName="Child2" refType="w" fact="0.5073"/>
              <dgm:constr type="t" for="ch" forName="Child2" refType="h" fact="0.428"/>
              <dgm:constr type="w" for="ch" forName="Child2" refType="w" fact="0.4927"/>
              <dgm:constr type="h" for="ch" forName="Child2" refType="h" fact="0.354"/>
            </dgm:constrLst>
          </dgm:if>
          <dgm:if name="Name8" axis="ch ch" ptType="node node" st="1 1" cnt="1 0" func="cnt" op="equ" val="4">
            <dgm:alg type="composite">
              <dgm:param type="ar" val="0.682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4" refType="w" fact="0.4573"/>
              <dgm:constr type="t" for="ch" forName="Accent4" refType="h" fact="0.6834"/>
              <dgm:constr type="w" for="ch" forName="Accent4" refType="w" fact="0.2269"/>
              <dgm:constr type="h" for="ch" forName="Accent4" refType="h" fact="0.1333"/>
              <dgm:constr type="l" for="ch" forName="Accent3" refType="w" fact="0.6413"/>
              <dgm:constr type="t" for="ch" forName="Accent3" refType="h" fact="0.4021"/>
              <dgm:constr type="w" for="ch" forName="Accent3" refType="w" fact="0.2269"/>
              <dgm:constr type="h" for="ch" forName="Accent3" refType="h" fact="0.1333"/>
              <dgm:constr type="l" for="ch" forName="Accent2" refType="w" fact="0.3765"/>
              <dgm:constr type="t" for="ch" forName="Accent2" refType="h" fact="0.1529"/>
              <dgm:constr type="w" for="ch" forName="Accent2" refType="w" fact="0.2269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0554"/>
              <dgm:constr type="t" for="ch" forName="Child4" refType="h" fact="0.7093"/>
              <dgm:constr type="w" for="ch" forName="Child4" refType="w" fact="0.4927"/>
              <dgm:constr type="h" for="ch" forName="Child4" refType="h" fact="0.2907"/>
              <dgm:constr type="l" for="ch" forName="Parent" refType="w" fact="0"/>
              <dgm:constr type="t" for="ch" forName="Parent" refType="h" fact="0.3226"/>
              <dgm:constr type="w" for="ch" forName="Parent" refType="w" fact="0.6013"/>
              <dgm:constr type="h" for="ch" forName="Parent" refType="h" fact="0.3547"/>
              <dgm:constr type="l" for="ch" forName="Child2" refType="w" fact="0.5073"/>
              <dgm:constr type="t" for="ch" forName="Child2" refType="h" fact="0.1788"/>
              <dgm:constr type="w" for="ch" forName="Child2" refType="w" fact="0.4927"/>
              <dgm:constr type="h" for="ch" forName="Child2" refType="h" fact="0.2907"/>
              <dgm:constr type="l" for="ch" forName="Child3" refType="w" fact="0.5073"/>
              <dgm:constr type="t" for="ch" forName="Child3" refType="h" fact="0.5303"/>
              <dgm:constr type="w" for="ch" forName="Child3" refType="w" fact="0.4927"/>
              <dgm:constr type="h" for="ch" forName="Child3" refType="h" fact="0.2907"/>
              <dgm:constr type="l" for="ch" forName="Child1" refType="w" fact="0.0554"/>
              <dgm:constr type="t" for="ch" forName="Child1" refType="h" fact="0"/>
              <dgm:constr type="w" for="ch" forName="Child1" refType="w" fact="0.4927"/>
              <dgm:constr type="h" for="ch" forName="Child1" refType="h" fact="0.2907"/>
            </dgm:constrLst>
          </dgm:if>
          <dgm:if name="Name9" axis="ch ch" ptType="node node" st="1 1" cnt="1 0" func="cnt" op="equ" val="5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5" refType="w" fact="0.2858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l" for="ch" forName="Accent4" refType="w" fact="0.612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l" for="ch" forName="Accent3" refType="w" fact="0.743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l" for="ch" forName="Accent2" refType="w" fact="0.5542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3246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l" for="ch" forName="Parent" refType="w" fact="0.28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l" for="ch" forName="Child2" refType="w" fact="0.6477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l" for="ch" forName="Child3" refType="w" fact="0.6477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l" for="ch" forName="Child5" refType="w" fact="0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l" for="ch" forName="Child1" refType="w" fact="0.3246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if>
          <dgm:else name="Name10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6" refType="primFontSz" refFor="des" refForName="Parent" op="lte"/>
              <dgm:constr type="primFontSz" for="des" forName="Child7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ptType="node" op="equ" val="65"/>
              <dgm:constr type="l" for="ch" forName="Accent6" refType="w" fact="0.0934"/>
              <dgm:constr type="t" for="ch" forName="Accent6" refType="h" fact="0.4635"/>
              <dgm:constr type="w" for="ch" forName="Accent6" refType="w" fact="0.1622"/>
              <dgm:constr type="h" for="ch" forName="Accent6" refType="h" fact="0.1333"/>
              <dgm:constr type="l" for="ch" forName="Accent5" refType="w" fact="0.2858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l" for="ch" forName="Accent4" refType="w" fact="0.612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l" for="ch" forName="Accent3" refType="w" fact="0.743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l" for="ch" forName="Accent2" refType="w" fact="0.5542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3246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l" for="ch" forName="Parent" refType="w" fact="0.28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l" for="ch" forName="Child2" refType="w" fact="0.6477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l" for="ch" forName="Child3" refType="w" fact="0.6477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l" for="ch" forName="Child5" refType="w" fact="0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l" for="ch" forName="Child6" refType="w" fact="0"/>
              <dgm:constr type="t" for="ch" forName="Child6" refType="h" fact="0.1784"/>
              <dgm:constr type="w" for="ch" forName="Child6" refType="w" fact="0.3523"/>
              <dgm:constr type="h" for="ch" forName="Child6" refType="h" fact="0.2907"/>
              <dgm:constr type="l" for="ch" forName="Child1" refType="w" fact="0.3246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else>
        </dgm:choose>
      </dgm:if>
      <dgm:else name="Name11">
        <dgm:choose name="Name12">
          <dgm:if name="Name13" axis="ch ch" ptType="node node" st="1 1" cnt="1 0" func="cnt" op="equ" val="0">
            <dgm:alg type="composite">
              <dgm:param type="ar" val="1.156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14" axis="ch ch" ptType="node node" st="1 1" cnt="1 0" func="cnt" op="lte" val="1">
            <dgm:alg type="composite">
              <dgm:param type="ar" val="1.36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r" for="ch" forName="Accent1" refType="w" fact="0.8315"/>
              <dgm:constr type="t" for="ch" forName="Accent1" refType="h" fact="0.2946"/>
              <dgm:constr type="w" for="ch" forName="Accent1" refType="w" fact="0.462"/>
              <dgm:constr type="h" for="ch" forName="Accent1" refType="h" fact="0.5472"/>
              <dgm:constr type="r" for="ch" forName="Parent" refType="w"/>
              <dgm:constr type="t" for="ch" forName="Parent" refType="h" fact="0.2885"/>
              <dgm:constr type="w" for="ch" forName="Parent" refType="w" fact="0.6013"/>
              <dgm:constr type="h" for="ch" forName="Parent" refType="h" fact="0.7115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5831"/>
            </dgm:constrLst>
          </dgm:if>
          <dgm:if name="Name15" axis="ch ch" ptType="node node" st="1 1" cnt="1 0" func="cnt" op="equ" val="2">
            <dgm:alg type="composite">
              <dgm:param type="ar" val="1.0619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r" for="ch" forName="Accent2" refType="w" fact="0.3587"/>
              <dgm:constr type="t" for="ch" forName="Accent2" refType="h" fact="0.3477"/>
              <dgm:constr type="w" for="ch" forName="Accent2" refType="w" fact="0.2269"/>
              <dgm:constr type="h" for="ch" forName="Accent2" refType="h" fact="0.2076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Parent" refType="w"/>
              <dgm:constr type="t" for="ch" forName="Parent" refType="h" fact="0.2239"/>
              <dgm:constr type="w" for="ch" forName="Parent" refType="w" fact="0.6013"/>
              <dgm:constr type="h" for="ch" forName="Parent" refType="h" fact="0.5523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4527"/>
              <dgm:constr type="r" for="ch" forName="Child2" refType="w" fact="0.5073"/>
              <dgm:constr type="t" for="ch" forName="Child2" refType="h" fact="0.5473"/>
              <dgm:constr type="w" for="ch" forName="Child2" refType="w" fact="0.4927"/>
              <dgm:constr type="h" for="ch" forName="Child2" refType="h" fact="0.4527"/>
            </dgm:constrLst>
          </dgm:if>
          <dgm:if name="Name16" axis="ch ch" ptType="node node" st="1 1" cnt="1 0" func="cnt" op="equ" val="3">
            <dgm:alg type="composite">
              <dgm:param type="ar" val="0.8305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Accent3" refType="w" fact="0.5427"/>
              <dgm:constr type="t" for="ch" forName="Accent3" refType="h" fact="0.6145"/>
              <dgm:constr type="w" for="ch" forName="Accent3" refType="w" fact="0.2269"/>
              <dgm:constr type="h" for="ch" forName="Accent3" refType="h" fact="0.1623"/>
              <dgm:constr type="r" for="ch" forName="Accent2" refType="w" fact="0.3587"/>
              <dgm:constr type="t" for="ch" forName="Accent2" refType="h" fact="0.2719"/>
              <dgm:constr type="w" for="ch" forName="Accent2" refType="w" fact="0.2269"/>
              <dgm:constr type="h" for="ch" forName="Accent2" refType="h" fact="0.162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3" refType="w" fact="0.9446"/>
              <dgm:constr type="t" for="ch" forName="Child3" refType="h" fact="0.646"/>
              <dgm:constr type="w" for="ch" forName="Child3" refType="w" fact="0.4927"/>
              <dgm:constr type="h" for="ch" forName="Child3" refType="h" fact="0.354"/>
              <dgm:constr type="r" for="ch" forName="Parent" refType="w"/>
              <dgm:constr type="t" for="ch" forName="Parent" refType="h" fact="0.1751"/>
              <dgm:constr type="w" for="ch" forName="Parent" refType="w" fact="0.6013"/>
              <dgm:constr type="h" for="ch" forName="Parent" refType="h" fact="0.4319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354"/>
              <dgm:constr type="r" for="ch" forName="Child2" refType="w" fact="0.4927"/>
              <dgm:constr type="t" for="ch" forName="Child2" refType="h" fact="0.428"/>
              <dgm:constr type="w" for="ch" forName="Child2" refType="w" fact="0.4927"/>
              <dgm:constr type="h" for="ch" forName="Child2" refType="h" fact="0.354"/>
            </dgm:constrLst>
          </dgm:if>
          <dgm:if name="Name17" axis="ch ch" ptType="node node" st="1 1" cnt="1 0" func="cnt" op="equ" val="4">
            <dgm:alg type="composite">
              <dgm:param type="ar" val="0.682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Accent4" refType="w" fact="0.5427"/>
              <dgm:constr type="t" for="ch" forName="Accent4" refType="h" fact="0.6834"/>
              <dgm:constr type="w" for="ch" forName="Accent4" refType="w" fact="0.2269"/>
              <dgm:constr type="h" for="ch" forName="Accent4" refType="h" fact="0.1333"/>
              <dgm:constr type="r" for="ch" forName="Accent3" refType="w" fact="0.3587"/>
              <dgm:constr type="t" for="ch" forName="Accent3" refType="h" fact="0.4021"/>
              <dgm:constr type="w" for="ch" forName="Accent3" refType="w" fact="0.2269"/>
              <dgm:constr type="h" for="ch" forName="Accent3" refType="h" fact="0.1333"/>
              <dgm:constr type="r" for="ch" forName="Accent2" refType="w" fact="0.6235"/>
              <dgm:constr type="t" for="ch" forName="Accent2" refType="h" fact="0.1529"/>
              <dgm:constr type="w" for="ch" forName="Accent2" refType="w" fact="0.2269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9446"/>
              <dgm:constr type="t" for="ch" forName="Child4" refType="h" fact="0.7093"/>
              <dgm:constr type="w" for="ch" forName="Child4" refType="w" fact="0.4927"/>
              <dgm:constr type="h" for="ch" forName="Child4" refType="h" fact="0.2907"/>
              <dgm:constr type="r" for="ch" forName="Parent" refType="w"/>
              <dgm:constr type="t" for="ch" forName="Parent" refType="h" fact="0.3226"/>
              <dgm:constr type="w" for="ch" forName="Parent" refType="w" fact="0.6013"/>
              <dgm:constr type="h" for="ch" forName="Parent" refType="h" fact="0.3547"/>
              <dgm:constr type="r" for="ch" forName="Child2" refType="w" fact="0.4927"/>
              <dgm:constr type="t" for="ch" forName="Child2" refType="h" fact="0.1788"/>
              <dgm:constr type="w" for="ch" forName="Child2" refType="w" fact="0.4927"/>
              <dgm:constr type="h" for="ch" forName="Child2" refType="h" fact="0.2907"/>
              <dgm:constr type="r" for="ch" forName="Child3" refType="w" fact="0.4927"/>
              <dgm:constr type="t" for="ch" forName="Child3" refType="h" fact="0.5303"/>
              <dgm:constr type="w" for="ch" forName="Child3" refType="w" fact="0.4927"/>
              <dgm:constr type="h" for="ch" forName="Child3" refType="h" fact="0.2907"/>
              <dgm:constr type="r" for="ch" forName="Child1" refType="w" fact="0.9446"/>
              <dgm:constr type="t" for="ch" forName="Child1" refType="h" fact="0"/>
              <dgm:constr type="w" for="ch" forName="Child1" refType="w" fact="0.4927"/>
              <dgm:constr type="h" for="ch" forName="Child1" refType="h" fact="0.2907"/>
            </dgm:constrLst>
          </dgm:if>
          <dgm:if name="Name18" axis="ch ch" ptType="node node" st="1 1" cnt="1 0" func="cnt" op="equ" val="5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r" for="ch" forName="Accent5" refType="w" fact="0.7142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r" for="ch" forName="Accent4" refType="w" fact="0.388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r" for="ch" forName="Accent3" refType="w" fact="0.256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r" for="ch" forName="Accent2" refType="w" fact="0.4458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6754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r" for="ch" forName="Parent" refType="w" fact="0.71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r" for="ch" forName="Child2" refType="w" fact="0.3523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r" for="ch" forName="Child3" refType="w" fact="0.3523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r" for="ch" forName="Child5" refType="w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r" for="ch" forName="Child1" refType="w" fact="0.6754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if>
          <dgm:else name="Name19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6" refType="primFontSz" refFor="des" refForName="Parent" op="lte"/>
              <dgm:constr type="primFontSz" for="des" forName="Child7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ptType="node" op="equ" val="65"/>
              <dgm:constr type="r" for="ch" forName="Accent6" refType="w" fact="0.9066"/>
              <dgm:constr type="t" for="ch" forName="Accent6" refType="h" fact="0.4635"/>
              <dgm:constr type="w" for="ch" forName="Accent6" refType="w" fact="0.1622"/>
              <dgm:constr type="h" for="ch" forName="Accent6" refType="h" fact="0.1333"/>
              <dgm:constr type="r" for="ch" forName="Accent5" refType="w" fact="0.7142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r" for="ch" forName="Accent4" refType="w" fact="0.388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r" for="ch" forName="Accent3" refType="w" fact="0.256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r" for="ch" forName="Accent2" refType="w" fact="0.4458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6754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r" for="ch" forName="Parent" refType="w" fact="0.71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r" for="ch" forName="Child2" refType="w" fact="0.3523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r" for="ch" forName="Child3" refType="w" fact="0.3523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r" for="ch" forName="Child5" refType="w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r" for="ch" forName="Child6" refType="w"/>
              <dgm:constr type="t" for="ch" forName="Child6" refType="h" fact="0.1784"/>
              <dgm:constr type="w" for="ch" forName="Child6" refType="w" fact="0.3523"/>
              <dgm:constr type="h" for="ch" forName="Child6" refType="h" fact="0.2907"/>
              <dgm:constr type="r" for="ch" forName="Child1" refType="w" fact="0.6754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else>
        </dgm:choose>
      </dgm:else>
    </dgm:choose>
    <dgm:forEach name="wrapper" axis="self" ptType="parTrans">
      <dgm:forEach name="accentRepeat" axis="self">
        <dgm:layoutNode name="Accent" styleLbl="bgShp">
          <dgm:alg type="sp"/>
          <dgm:shape xmlns:r="http://schemas.openxmlformats.org/officeDocument/2006/relationships" type="hexagon" r:blip="" zOrderOff="-2">
            <dgm:adjLst>
              <dgm:adj idx="1" val="0.289"/>
              <dgm:adj idx="2" val="1.1547"/>
            </dgm:adjLst>
          </dgm:shape>
          <dgm:presOf/>
        </dgm:layoutNode>
      </dgm:forEach>
    </dgm:forEach>
    <dgm:forEach name="Name20" axis="ch" ptType="node" cnt="1">
      <dgm:layoutNode name="Parent" styleLbl="node0">
        <dgm:varLst>
          <dgm:chMax val="6"/>
          <dgm:chPref val="6"/>
        </dgm:varLst>
        <dgm:alg type="tx"/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self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1" axis="ch ch" ptType="node node" st="1 1" cnt="1 1">
      <dgm:layoutNode name="Accent1">
        <dgm:alg type="sp"/>
        <dgm:shape xmlns:r="http://schemas.openxmlformats.org/officeDocument/2006/relationships" r:blip="" zOrderOff="-2">
          <dgm:adjLst/>
        </dgm:shape>
        <dgm:presOf/>
        <dgm:constrLst/>
        <dgm:forEach name="Name22" ref="accentRepeat"/>
      </dgm:layoutNode>
      <dgm:layoutNode name="Child1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3" axis="ch ch" ptType="node node" st="1 2" cnt="1 1">
      <dgm:layoutNode name="Accent2">
        <dgm:alg type="sp"/>
        <dgm:shape xmlns:r="http://schemas.openxmlformats.org/officeDocument/2006/relationships" r:blip="" zOrderOff="-2">
          <dgm:adjLst/>
        </dgm:shape>
        <dgm:presOf/>
        <dgm:constrLst/>
        <dgm:forEach name="Name24" ref="accentRepeat"/>
      </dgm:layoutNode>
      <dgm:layoutNode name="Child2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5" axis="ch ch" ptType="node node" st="1 3" cnt="1 1">
      <dgm:layoutNode name="Accent3">
        <dgm:alg type="sp"/>
        <dgm:shape xmlns:r="http://schemas.openxmlformats.org/officeDocument/2006/relationships" r:blip="" zOrderOff="-2">
          <dgm:adjLst/>
        </dgm:shape>
        <dgm:presOf/>
        <dgm:constrLst/>
        <dgm:forEach name="Name26" ref="accentRepeat"/>
      </dgm:layoutNode>
      <dgm:layoutNode name="Child3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7" axis="ch ch" ptType="node node" st="1 4" cnt="1 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28" ref="accentRepeat"/>
      </dgm:layoutNode>
      <dgm:layoutNode name="Child4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9" axis="ch ch" ptType="node node" st="1 5" cnt="1 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30" ref="accentRepeat"/>
      </dgm:layoutNode>
      <dgm:layoutNode name="Child5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31" axis="ch ch" ptType="node node" st="1 6" cnt="1 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32" ref="accentRepeat"/>
      </dgm:layoutNode>
      <dgm:layoutNode name="Child6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F087425-4573-A347-908A-20E8A7C14701}" type="datetimeFigureOut">
              <a:rPr lang="en-US" smtClean="0"/>
              <a:t>3/27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685EB8-5DC6-2A4B-AF80-413921E5F1D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53400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82" algn="l" defTabSz="9143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63" algn="l" defTabSz="9143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45" algn="l" defTabSz="9143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27" algn="l" defTabSz="9143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09" algn="l" defTabSz="9143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90" algn="l" defTabSz="9143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272" algn="l" defTabSz="9143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454" algn="l" defTabSz="9143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/>
              <a:t>Purpose - common understanding (guiding beacon, global voice)</a:t>
            </a:r>
          </a:p>
          <a:p>
            <a:r>
              <a:rPr lang="en-CA"/>
              <a:t>-to inform: risk communication / signalling, boost public awareness</a:t>
            </a:r>
          </a:p>
          <a:p>
            <a:r>
              <a:rPr lang="en-CA"/>
              <a:t>-to empower: evidence-based, impartial analysis to correct information asymmetries, level playing field for govts, enable proactive national strategies for harnessing opportunities</a:t>
            </a:r>
          </a:p>
          <a:p>
            <a:r>
              <a:rPr lang="en-CA"/>
              <a:t>-to align: agree (minimal consensus) on shared risks (and uncertainties / known unknowns) amidst accelerating AI development at the frontier across range of applications, the when / priorities (early warning) and where (policy gaps) of intervening</a:t>
            </a:r>
          </a:p>
          <a:p>
            <a:endParaRPr lang="en-CA"/>
          </a:p>
          <a:p>
            <a:r>
              <a:rPr lang="en-CA"/>
              <a:t>Actions – </a:t>
            </a:r>
          </a:p>
          <a:p>
            <a:r>
              <a:rPr lang="en-CA"/>
              <a:t>-develop risk assessment frameworks</a:t>
            </a:r>
          </a:p>
          <a:p>
            <a:r>
              <a:rPr lang="en-CA"/>
              <a:t>-projections via multi-disciplinary working groups (per domain), continuous risk monitoring development / application via horizon scans (incident / vulnerability database, rigorous scientific evidence literature reviews, perceptions gauges, policies analysis) for continuously updated spectrum of AI risks</a:t>
            </a:r>
          </a:p>
          <a:p>
            <a:r>
              <a:rPr lang="en-CA"/>
              <a:t>-continuous engagement, orchestration of academic networks</a:t>
            </a:r>
          </a:p>
          <a:p>
            <a:endParaRPr lang="en-CA"/>
          </a:p>
          <a:p>
            <a:endParaRPr lang="en-CA"/>
          </a:p>
          <a:p>
            <a:r>
              <a:rPr lang="en-CA"/>
              <a:t>Equity – focus on opportunities / empowerment, nuances of socio-economic contexts (resonates with global diversity)</a:t>
            </a:r>
          </a:p>
          <a:p>
            <a:endParaRPr lang="en-CA"/>
          </a:p>
          <a:p>
            <a:r>
              <a:rPr lang="en-CA"/>
              <a:t>Effectiveness</a:t>
            </a:r>
          </a:p>
          <a:p>
            <a:r>
              <a:rPr lang="en-CA"/>
              <a:t>-UN (authoritative, independent, no regulatory capture) as trusted location to create common knowledge, collating knowledge that is distributed across siloes in multiple countries / companies; work with ICRAI</a:t>
            </a:r>
          </a:p>
          <a:p>
            <a:r>
              <a:rPr lang="en-CA"/>
              <a:t>-UN perspective – evaluating risks from a global perspective</a:t>
            </a:r>
          </a:p>
          <a:p>
            <a:endParaRPr lang="en-CA"/>
          </a:p>
          <a:p>
            <a:r>
              <a:rPr lang="en-CA"/>
              <a:t>Efficiency – work with OECD, GPAI, </a:t>
            </a:r>
            <a:r>
              <a:rPr lang="en-CA" err="1"/>
              <a:t>CoE</a:t>
            </a:r>
            <a:r>
              <a:rPr lang="en-CA"/>
              <a:t>, COMEST, UNESCO Policy Observatory, National initiatives, Network of Academic Partners. Global public good – pre-negotiated burden-sharing</a:t>
            </a:r>
          </a:p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DB9B74-40DF-48D6-A2EB-896FDA35F847}" type="slidenum">
              <a:rPr lang="en-GB" smtClean="0"/>
              <a:pPr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75034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/>
              <a:t>Purpose - common understanding (guiding beacon, global voice)</a:t>
            </a:r>
          </a:p>
          <a:p>
            <a:r>
              <a:rPr lang="en-CA"/>
              <a:t>-to inform: risk communication / signalling, boost public awareness</a:t>
            </a:r>
          </a:p>
          <a:p>
            <a:r>
              <a:rPr lang="en-CA"/>
              <a:t>-to empower: evidence-based, impartial analysis to correct information asymmetries, level playing field for govts, enable proactive national strategies for harnessing opportunities</a:t>
            </a:r>
          </a:p>
          <a:p>
            <a:r>
              <a:rPr lang="en-CA"/>
              <a:t>-to align: agree (minimal consensus) on shared risks (and uncertainties / known unknowns) amidst accelerating AI development at the frontier across range of applications, the when / priorities (early warning) and where (policy gaps) of intervening</a:t>
            </a:r>
          </a:p>
          <a:p>
            <a:endParaRPr lang="en-CA"/>
          </a:p>
          <a:p>
            <a:r>
              <a:rPr lang="en-CA"/>
              <a:t>Actions – </a:t>
            </a:r>
          </a:p>
          <a:p>
            <a:r>
              <a:rPr lang="en-CA"/>
              <a:t>-develop risk assessment frameworks</a:t>
            </a:r>
          </a:p>
          <a:p>
            <a:r>
              <a:rPr lang="en-CA"/>
              <a:t>-projections via multi-disciplinary working groups (per domain), continuous risk monitoring development / application via horizon scans (incident / vulnerability database, rigorous scientific evidence literature reviews, perceptions gauges, policies analysis) for continuously updated spectrum of AI risks</a:t>
            </a:r>
          </a:p>
          <a:p>
            <a:r>
              <a:rPr lang="en-CA"/>
              <a:t>-continuous engagement, orchestration of academic networks</a:t>
            </a:r>
          </a:p>
          <a:p>
            <a:endParaRPr lang="en-CA"/>
          </a:p>
          <a:p>
            <a:endParaRPr lang="en-CA"/>
          </a:p>
          <a:p>
            <a:r>
              <a:rPr lang="en-CA"/>
              <a:t>Equity – focus on opportunities / empowerment, nuances of socio-economic contexts (resonates with global diversity)</a:t>
            </a:r>
          </a:p>
          <a:p>
            <a:endParaRPr lang="en-CA"/>
          </a:p>
          <a:p>
            <a:r>
              <a:rPr lang="en-CA"/>
              <a:t>Effectiveness</a:t>
            </a:r>
          </a:p>
          <a:p>
            <a:r>
              <a:rPr lang="en-CA"/>
              <a:t>-UN (authoritative, independent, no regulatory capture) as trusted location to create common knowledge, collating knowledge that is distributed across siloes in multiple countries / companies; work with ICRAI</a:t>
            </a:r>
          </a:p>
          <a:p>
            <a:r>
              <a:rPr lang="en-CA"/>
              <a:t>-UN perspective – evaluating risks from a global perspective</a:t>
            </a:r>
          </a:p>
          <a:p>
            <a:endParaRPr lang="en-CA"/>
          </a:p>
          <a:p>
            <a:r>
              <a:rPr lang="en-CA"/>
              <a:t>Efficiency – work with OECD, GPAI, </a:t>
            </a:r>
            <a:r>
              <a:rPr lang="en-CA" err="1"/>
              <a:t>CoE</a:t>
            </a:r>
            <a:r>
              <a:rPr lang="en-CA"/>
              <a:t>, COMEST, UNESCO Policy Observatory, National initiatives, Network of Academic Partners. Global public good – pre-negotiated burden-sharing</a:t>
            </a:r>
          </a:p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DB9B74-40DF-48D6-A2EB-896FDA35F847}" type="slidenum">
              <a:rPr lang="en-GB" smtClean="0"/>
              <a:pPr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19321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/>
              <a:t>Purpose - common understanding (guiding beacon, global voice)</a:t>
            </a:r>
          </a:p>
          <a:p>
            <a:r>
              <a:rPr lang="en-CA"/>
              <a:t>-to inform: risk communication / signalling, boost public awareness</a:t>
            </a:r>
          </a:p>
          <a:p>
            <a:r>
              <a:rPr lang="en-CA"/>
              <a:t>-to empower: evidence-based, impartial analysis to correct information asymmetries, level playing field for govts, enable proactive national strategies for harnessing opportunities</a:t>
            </a:r>
          </a:p>
          <a:p>
            <a:r>
              <a:rPr lang="en-CA"/>
              <a:t>-to align: agree (minimal consensus) on shared risks (and uncertainties / known unknowns) amidst accelerating AI development at the frontier across range of applications, the when / priorities (early warning) and where (policy gaps) of intervening</a:t>
            </a:r>
          </a:p>
          <a:p>
            <a:endParaRPr lang="en-CA"/>
          </a:p>
          <a:p>
            <a:r>
              <a:rPr lang="en-CA"/>
              <a:t>Actions – </a:t>
            </a:r>
          </a:p>
          <a:p>
            <a:r>
              <a:rPr lang="en-CA"/>
              <a:t>-develop risk assessment frameworks</a:t>
            </a:r>
          </a:p>
          <a:p>
            <a:r>
              <a:rPr lang="en-CA"/>
              <a:t>-projections via multi-disciplinary working groups (per domain), continuous risk monitoring development / application via horizon scans (incident / vulnerability database, rigorous scientific evidence literature reviews, perceptions gauges, policies analysis) for continuously updated spectrum of AI risks</a:t>
            </a:r>
          </a:p>
          <a:p>
            <a:r>
              <a:rPr lang="en-CA"/>
              <a:t>-continuous engagement, orchestration of academic networks</a:t>
            </a:r>
          </a:p>
          <a:p>
            <a:endParaRPr lang="en-CA"/>
          </a:p>
          <a:p>
            <a:endParaRPr lang="en-CA"/>
          </a:p>
          <a:p>
            <a:r>
              <a:rPr lang="en-CA"/>
              <a:t>Equity – focus on opportunities / empowerment, nuances of socio-economic contexts (resonates with global diversity)</a:t>
            </a:r>
          </a:p>
          <a:p>
            <a:endParaRPr lang="en-CA"/>
          </a:p>
          <a:p>
            <a:r>
              <a:rPr lang="en-CA"/>
              <a:t>Effectiveness</a:t>
            </a:r>
          </a:p>
          <a:p>
            <a:r>
              <a:rPr lang="en-CA"/>
              <a:t>-UN (authoritative, independent, no regulatory capture) as trusted location to create common knowledge, collating knowledge that is distributed across siloes in multiple countries / companies; work with ICRAI</a:t>
            </a:r>
          </a:p>
          <a:p>
            <a:r>
              <a:rPr lang="en-CA"/>
              <a:t>-UN perspective – evaluating risks from a global perspective</a:t>
            </a:r>
          </a:p>
          <a:p>
            <a:endParaRPr lang="en-CA"/>
          </a:p>
          <a:p>
            <a:r>
              <a:rPr lang="en-CA"/>
              <a:t>Efficiency – work with OECD, GPAI, </a:t>
            </a:r>
            <a:r>
              <a:rPr lang="en-CA" err="1"/>
              <a:t>CoE</a:t>
            </a:r>
            <a:r>
              <a:rPr lang="en-CA"/>
              <a:t>, COMEST, UNESCO Policy Observatory, National initiatives, Network of Academic Partners. Global public good – pre-negotiated burden-sharing</a:t>
            </a:r>
          </a:p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DB9B74-40DF-48D6-A2EB-896FDA35F847}" type="slidenum">
              <a:rPr lang="en-GB" smtClean="0"/>
              <a:pPr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78828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1.bin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7.sv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2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7.sv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3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7.sv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4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7.sv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5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5.png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6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7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8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9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0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7.sv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1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7.sv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2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3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4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5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png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6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7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7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5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7.svg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16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9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7.svg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16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30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7.svg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6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31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7.svg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16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32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7.svg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image" Target="../media/image16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33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7.svg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16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34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7.svg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16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3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9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7.svg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image" Target="../media/image16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36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7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8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39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9.svg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image" Target="../media/image18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40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9.svg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image" Target="../media/image18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41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9.svg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image" Target="../media/image18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42.bin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8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4" Type="http://schemas.openxmlformats.org/officeDocument/2006/relationships/image" Target="../media/image20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9.xml"/><Relationship Id="rId4" Type="http://schemas.openxmlformats.org/officeDocument/2006/relationships/image" Target="../media/image20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0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0.xml"/><Relationship Id="rId4" Type="http://schemas.openxmlformats.org/officeDocument/2006/relationships/image" Target="../media/image20.emf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46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3.svg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4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0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5.png"/><Relationship Id="rId4" Type="http://schemas.openxmlformats.org/officeDocument/2006/relationships/image" Target="../media/image1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15F71EA-32B6-EA61-DA5C-3DED0A91CC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973220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5F71EA-32B6-EA61-DA5C-3DED0A91CC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9A3254CC-B2A7-F7EA-CC6F-F805C100A71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8892" y="3550323"/>
            <a:ext cx="4264096" cy="2164676"/>
          </a:xfrm>
        </p:spPr>
        <p:txBody>
          <a:bodyPr/>
          <a:lstStyle>
            <a:lvl1pPr marL="0" indent="0" algn="l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title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9871985-4E89-3092-A1BF-2B88F96147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9057" y="1150024"/>
            <a:ext cx="4283075" cy="2164676"/>
          </a:xfrm>
        </p:spPr>
        <p:txBody>
          <a:bodyPr vert="horz" anchor="b"/>
          <a:lstStyle/>
          <a:p>
            <a:r>
              <a:rPr lang="en-US"/>
              <a:t>Cover slide option 1: click to edit title</a:t>
            </a: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AD9051A5-79F1-D44C-4370-D119382D81F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081588" y="1"/>
            <a:ext cx="6538912" cy="571500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add a pictu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C39C63C-9C06-E38A-523B-1304BAE5CB6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Office for Digital and Emerging Technologi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21A9957-F798-BDF8-35F8-50EA1DB92D8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5EDD575-C673-CF4D-BF44-B5D5410D0CFA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1E8BE1E-A914-29CD-EA8C-FB2F0EAAF16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571500" y="342900"/>
            <a:ext cx="1836231" cy="390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00626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376AEE6-3048-394B-8BA5-7CA1A8121790}"/>
              </a:ext>
            </a:extLst>
          </p:cNvPr>
          <p:cNvSpPr/>
          <p:nvPr userDrawn="1"/>
        </p:nvSpPr>
        <p:spPr>
          <a:xfrm>
            <a:off x="568289" y="-1"/>
            <a:ext cx="11052211" cy="634481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4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5993B0E-2204-8345-A8AE-6FFF197101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37425" y="571500"/>
            <a:ext cx="3382963" cy="2171700"/>
          </a:xfrm>
        </p:spPr>
        <p:txBody>
          <a:bodyPr anchor="b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4" name="Picture 3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6160DD74-9C20-9D7A-2E84-18C217AFF90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11552" y="342900"/>
            <a:ext cx="1836233" cy="390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8092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7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33147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41B788-79B6-6DB4-0FCE-0DBC675E29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6A74A3-B8F5-16F5-CE9D-B71CB0871D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D364CF-52E1-F393-A56A-A807706CC5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7D0164-B2C2-4326-A73C-FD2B9F7F15E6}" type="datetimeFigureOut">
              <a:rPr lang="fr-CH" smtClean="0"/>
              <a:t>27.03.2025</a:t>
            </a:fld>
            <a:endParaRPr lang="fr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5E5B90-79D1-CC47-16E9-35B9A5F7E8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62E5AD-779A-9FFF-5AA5-EDD0A876A3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175C1B-2FCC-4C0C-B574-099E56B6AAE8}" type="slidenum">
              <a:rPr lang="fr-CH" smtClean="0"/>
              <a:t>‹#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28442108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466FFA-3910-7F7D-A8AF-A7D6184B5C1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0008615-B673-1A3D-6F32-C2CAB35C69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fr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6C7E27-92F4-227E-8155-0519963F1E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7D0164-B2C2-4326-A73C-FD2B9F7F15E6}" type="datetimeFigureOut">
              <a:rPr lang="fr-CH" smtClean="0"/>
              <a:t>27.03.2025</a:t>
            </a:fld>
            <a:endParaRPr lang="fr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C1961D-D5BE-FA56-5D77-FB8B4E2375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0DE6D5-9C7C-FB8C-49E2-781B831E8B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175C1B-2FCC-4C0C-B574-099E56B6AAE8}" type="slidenum">
              <a:rPr lang="fr-CH" smtClean="0"/>
              <a:t>‹#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6950683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41B788-79B6-6DB4-0FCE-0DBC675E29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6A74A3-B8F5-16F5-CE9D-B71CB0871D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D364CF-52E1-F393-A56A-A807706CC5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7D0164-B2C2-4326-A73C-FD2B9F7F15E6}" type="datetimeFigureOut">
              <a:rPr lang="fr-CH" smtClean="0"/>
              <a:t>27.03.2025</a:t>
            </a:fld>
            <a:endParaRPr lang="fr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5E5B90-79D1-CC47-16E9-35B9A5F7E8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62E5AD-779A-9FFF-5AA5-EDD0A876A3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175C1B-2FCC-4C0C-B574-099E56B6AAE8}" type="slidenum">
              <a:rPr lang="fr-CH" smtClean="0"/>
              <a:t>‹#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21236278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AEBB81-8322-9C06-E7D1-B51A084F92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8084FD-2BA9-5598-F81A-2ABF886325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AEE772-3836-F6C6-C7E8-1BF4F445A6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7D0164-B2C2-4326-A73C-FD2B9F7F15E6}" type="datetimeFigureOut">
              <a:rPr lang="fr-CH" smtClean="0"/>
              <a:t>27.03.2025</a:t>
            </a:fld>
            <a:endParaRPr lang="fr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430C5D-474C-3508-E3D9-D9C8242F33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13AF29-59F9-C548-88A7-6AE6BDE264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175C1B-2FCC-4C0C-B574-099E56B6AAE8}" type="slidenum">
              <a:rPr lang="fr-CH" smtClean="0"/>
              <a:t>‹#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34105144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3E4F15-AF96-C741-7990-26224C56A5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904B0D-1B52-772E-EE3D-FE0EF1B3482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51C7713-EF30-9C93-7B01-882B4C66860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86424B4-17A9-39C0-E54F-C78E63ED01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7D0164-B2C2-4326-A73C-FD2B9F7F15E6}" type="datetimeFigureOut">
              <a:rPr lang="fr-CH" smtClean="0"/>
              <a:t>27.03.2025</a:t>
            </a:fld>
            <a:endParaRPr lang="fr-C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85DFED0-10A8-378B-189D-EB66BE6D9A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A7EBF5B-7298-C1F7-1E53-5518186636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175C1B-2FCC-4C0C-B574-099E56B6AAE8}" type="slidenum">
              <a:rPr lang="fr-CH" smtClean="0"/>
              <a:t>‹#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8900381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3ECFBF-2A23-8F55-A574-CAE7E58416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DDFF47-DBC9-BCD6-B664-CCC15AFCFE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238B789-B3F9-F7B8-B09B-2EB53558D3C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C4849A7-224F-BC80-05F1-525782ED555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27A6A2C-E7B7-2984-3BDF-3447E427A47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FDFD798-FD3A-B976-801D-1376A9C189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7D0164-B2C2-4326-A73C-FD2B9F7F15E6}" type="datetimeFigureOut">
              <a:rPr lang="fr-CH" smtClean="0"/>
              <a:t>27.03.2025</a:t>
            </a:fld>
            <a:endParaRPr lang="fr-CH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AFA0321-485F-8102-F542-4DBC30D3A7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39F29EF-D0D4-5FD4-8527-8468ED7B43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175C1B-2FCC-4C0C-B574-099E56B6AAE8}" type="slidenum">
              <a:rPr lang="fr-CH" smtClean="0"/>
              <a:t>‹#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23553920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01640E-F1A3-E3F0-7A22-41FF6104C2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0217753-50EA-838B-9B8D-01A10E7D27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7D0164-B2C2-4326-A73C-FD2B9F7F15E6}" type="datetimeFigureOut">
              <a:rPr lang="fr-CH" smtClean="0"/>
              <a:t>27.03.2025</a:t>
            </a:fld>
            <a:endParaRPr lang="fr-CH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3B34CEE-5856-53E7-F6F8-D7C05E28E9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9AA33A4-6D3A-61FD-72AB-5E07716419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175C1B-2FCC-4C0C-B574-099E56B6AAE8}" type="slidenum">
              <a:rPr lang="fr-CH" smtClean="0"/>
              <a:t>‹#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20295921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9B8EC7E-A0CE-7DC3-0D02-778C9DFAFF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7D0164-B2C2-4326-A73C-FD2B9F7F15E6}" type="datetimeFigureOut">
              <a:rPr lang="fr-CH" smtClean="0"/>
              <a:t>27.03.2025</a:t>
            </a:fld>
            <a:endParaRPr lang="fr-CH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9B06E34-36AD-46FD-94C4-F45CB5C551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47C69D-2A1F-39D6-0941-0DA4078AFA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175C1B-2FCC-4C0C-B574-099E56B6AAE8}" type="slidenum">
              <a:rPr lang="fr-CH" smtClean="0"/>
              <a:t>‹#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2068056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706D033-36E3-E0EA-F1E0-3DFD6D2133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907108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06D033-36E3-E0EA-F1E0-3DFD6D2133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9A3254CC-B2A7-F7EA-CC6F-F805C100A71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954460" y="3570493"/>
            <a:ext cx="7666039" cy="1344406"/>
          </a:xfrm>
        </p:spPr>
        <p:txBody>
          <a:bodyPr/>
          <a:lstStyle>
            <a:lvl1pPr marL="0" indent="0" algn="l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subtitle. Use this layout if you don’t have a photo for the cover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9871985-4E89-3092-A1BF-2B88F96147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54463" y="1970294"/>
            <a:ext cx="7666037" cy="1344406"/>
          </a:xfrm>
        </p:spPr>
        <p:txBody>
          <a:bodyPr vert="horz" anchor="b">
            <a:noAutofit/>
          </a:bodyPr>
          <a:lstStyle>
            <a:lvl1pPr>
              <a:defRPr sz="3600"/>
            </a:lvl1pPr>
          </a:lstStyle>
          <a:p>
            <a:r>
              <a:rPr lang="en-US"/>
              <a:t>Cover slide option 2: click to edit tit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3719E2B-0643-E389-3AF7-D8F3B9C73A61}"/>
              </a:ext>
            </a:extLst>
          </p:cNvPr>
          <p:cNvSpPr/>
          <p:nvPr userDrawn="1"/>
        </p:nvSpPr>
        <p:spPr>
          <a:xfrm>
            <a:off x="571500" y="2"/>
            <a:ext cx="11049000" cy="106154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4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EB612F-CDCE-D3EC-24C0-0B3130D1F96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EPARTMENT NAM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75AA9D-96B6-EE49-2E9C-306E5539776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5EDD575-C673-CF4D-BF44-B5D5410D0CFA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A295A8C4-714A-FAE8-FFEE-39A0604830E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11552" y="342900"/>
            <a:ext cx="1836233" cy="390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339153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107ED1-FD58-A581-E4A9-248C3D76F9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4D4A54-EAC8-6ABF-0D97-2D4315A163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33E325-46CC-444E-E68D-B87D714485C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52247E1-17EB-5562-A68C-FD128A25C3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7D0164-B2C2-4326-A73C-FD2B9F7F15E6}" type="datetimeFigureOut">
              <a:rPr lang="fr-CH" smtClean="0"/>
              <a:t>27.03.2025</a:t>
            </a:fld>
            <a:endParaRPr lang="fr-C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8154BF5-A923-551C-3A7C-57ED822FDF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E3DEC38-C0FD-8785-64CD-A04966D31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175C1B-2FCC-4C0C-B574-099E56B6AAE8}" type="slidenum">
              <a:rPr lang="fr-CH" smtClean="0"/>
              <a:t>‹#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91249347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3372E3-CAD1-7FF2-F61F-518A08DC9D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60B6677-8525-CBB5-B0FC-952D7E2C387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C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609660-CDDE-131F-3E1D-641200038BD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8DACD8-88C5-6D99-2C6C-71CA484428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7D0164-B2C2-4326-A73C-FD2B9F7F15E6}" type="datetimeFigureOut">
              <a:rPr lang="fr-CH" smtClean="0"/>
              <a:t>27.03.2025</a:t>
            </a:fld>
            <a:endParaRPr lang="fr-CH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154A950-29B7-5F42-D51F-3AD3CC0BFF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11B3071-DB38-150A-A77C-FB6F6A728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175C1B-2FCC-4C0C-B574-099E56B6AAE8}" type="slidenum">
              <a:rPr lang="fr-CH" smtClean="0"/>
              <a:t>‹#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37164272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F2AE80-5ED7-8597-4223-5655E19D5D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D196154-C60E-A64F-4689-398DD3C397F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5189F3-FAA1-1D87-DD4B-C9A7593A55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7D0164-B2C2-4326-A73C-FD2B9F7F15E6}" type="datetimeFigureOut">
              <a:rPr lang="fr-CH" smtClean="0"/>
              <a:t>27.03.2025</a:t>
            </a:fld>
            <a:endParaRPr lang="fr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5E03C2-D8D2-68D8-D8E5-230514C207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8C303C-86DB-67EE-0EB2-A83B1D91AB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175C1B-2FCC-4C0C-B574-099E56B6AAE8}" type="slidenum">
              <a:rPr lang="fr-CH" smtClean="0"/>
              <a:t>‹#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305243487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36BD4AC-B157-341B-C57D-B861D53F444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94F1C25-7939-D9D2-989C-C55DF785F7E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C9F8453-2079-0058-4EC5-A81686B117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7D0164-B2C2-4326-A73C-FD2B9F7F15E6}" type="datetimeFigureOut">
              <a:rPr lang="fr-CH" smtClean="0"/>
              <a:t>27.03.2025</a:t>
            </a:fld>
            <a:endParaRPr lang="fr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A0FD0A-0961-CCFC-A957-CB7801DED6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E7ACD0-6215-A3EB-5103-A3FB15409D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5175C1B-2FCC-4C0C-B574-099E56B6AAE8}" type="slidenum">
              <a:rPr lang="fr-CH" smtClean="0"/>
              <a:t>‹#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95087920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32EE0DC-FE48-473F-AEE4-519F218691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2968424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32EE0DC-FE48-473F-AEE4-519F218691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E6316E1-6F02-4A32-AB1D-CD60AC73673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2625" b="1" i="0" baseline="0">
              <a:latin typeface="Roboto Medium" panose="02000000000000000000" pitchFamily="2" charset="0"/>
              <a:ea typeface="Roboto Medium" panose="02000000000000000000" pitchFamily="2" charset="0"/>
              <a:cs typeface="+mj-cs"/>
              <a:sym typeface="Roboto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27358" y="3112982"/>
            <a:ext cx="6787392" cy="845344"/>
          </a:xfrm>
          <a:prstGeom prst="rect">
            <a:avLst/>
          </a:prstGeom>
        </p:spPr>
        <p:txBody>
          <a:bodyPr vert="horz" wrap="square" tIns="0" bIns="0" anchor="t" anchorCtr="0">
            <a:noAutofit/>
          </a:bodyPr>
          <a:lstStyle>
            <a:lvl1pPr algn="r">
              <a:defRPr lang="en-CA" sz="2625" b="1" kern="800" cap="none" spc="19" baseline="0">
                <a:solidFill>
                  <a:schemeClr val="bg2"/>
                </a:solidFill>
                <a:latin typeface="+mn-lt"/>
                <a:ea typeface="Roboto Medium" panose="02000000000000000000" pitchFamily="2" charset="0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48" name="Text Placeholder 47"/>
          <p:cNvSpPr>
            <a:spLocks noGrp="1"/>
          </p:cNvSpPr>
          <p:nvPr>
            <p:ph type="body" sz="quarter" idx="10" hasCustomPrompt="1"/>
          </p:nvPr>
        </p:nvSpPr>
        <p:spPr>
          <a:xfrm>
            <a:off x="5775236" y="4572000"/>
            <a:ext cx="5739513" cy="447974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r">
              <a:buNone/>
              <a:defRPr lang="en-CA" sz="1875" b="0" kern="800" cap="none" spc="19" baseline="0" dirty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j-cs"/>
              </a:defRPr>
            </a:lvl1pPr>
          </a:lstStyle>
          <a:p>
            <a:pPr lvl="0"/>
            <a:r>
              <a:rPr lang="en-CA"/>
              <a:t>Click to add Speaker / Organization / Dat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2E868F38-C82B-4CA3-98DD-5381A2DDA9E6}"/>
              </a:ext>
            </a:extLst>
          </p:cNvPr>
          <p:cNvGrpSpPr/>
          <p:nvPr userDrawn="1"/>
        </p:nvGrpSpPr>
        <p:grpSpPr>
          <a:xfrm>
            <a:off x="1740656" y="254662"/>
            <a:ext cx="344853" cy="345665"/>
            <a:chOff x="3948113" y="1543051"/>
            <a:chExt cx="5127625" cy="5140325"/>
          </a:xfrm>
          <a:solidFill>
            <a:schemeClr val="tx2">
              <a:lumMod val="50000"/>
            </a:schemeClr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8DC2422E-D31F-46CC-8F71-3E3DD22495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7200" y="2265363"/>
              <a:ext cx="1233487" cy="1125538"/>
            </a:xfrm>
            <a:custGeom>
              <a:avLst/>
              <a:gdLst>
                <a:gd name="T0" fmla="*/ 47 w 58"/>
                <a:gd name="T1" fmla="*/ 53 h 53"/>
                <a:gd name="T2" fmla="*/ 58 w 58"/>
                <a:gd name="T3" fmla="*/ 39 h 53"/>
                <a:gd name="T4" fmla="*/ 22 w 58"/>
                <a:gd name="T5" fmla="*/ 0 h 53"/>
                <a:gd name="T6" fmla="*/ 0 w 58"/>
                <a:gd name="T7" fmla="*/ 29 h 53"/>
                <a:gd name="T8" fmla="*/ 47 w 58"/>
                <a:gd name="T9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53">
                  <a:moveTo>
                    <a:pt x="47" y="53"/>
                  </a:moveTo>
                  <a:cubicBezTo>
                    <a:pt x="50" y="48"/>
                    <a:pt x="53" y="43"/>
                    <a:pt x="58" y="39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3" y="8"/>
                    <a:pt x="6" y="18"/>
                    <a:pt x="0" y="29"/>
                  </a:cubicBezTo>
                  <a:lnTo>
                    <a:pt x="47" y="53"/>
                  </a:lnTo>
                  <a:close/>
                </a:path>
              </a:pathLst>
            </a:custGeom>
            <a:grpFill/>
            <a:ln w="285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52182EB1-C149-4AFC-BBD6-9795B4B18776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8350" y="1754188"/>
              <a:ext cx="1063625" cy="1254125"/>
            </a:xfrm>
            <a:custGeom>
              <a:avLst/>
              <a:gdLst>
                <a:gd name="T0" fmla="*/ 0 w 50"/>
                <a:gd name="T1" fmla="*/ 49 h 59"/>
                <a:gd name="T2" fmla="*/ 15 w 50"/>
                <a:gd name="T3" fmla="*/ 59 h 59"/>
                <a:gd name="T4" fmla="*/ 50 w 50"/>
                <a:gd name="T5" fmla="*/ 20 h 59"/>
                <a:gd name="T6" fmla="*/ 19 w 50"/>
                <a:gd name="T7" fmla="*/ 0 h 59"/>
                <a:gd name="T8" fmla="*/ 0 w 50"/>
                <a:gd name="T9" fmla="*/ 4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59">
                  <a:moveTo>
                    <a:pt x="0" y="49"/>
                  </a:moveTo>
                  <a:cubicBezTo>
                    <a:pt x="5" y="52"/>
                    <a:pt x="10" y="55"/>
                    <a:pt x="15" y="59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1" y="12"/>
                    <a:pt x="30" y="5"/>
                    <a:pt x="19" y="0"/>
                  </a:cubicBezTo>
                  <a:lnTo>
                    <a:pt x="0" y="49"/>
                  </a:lnTo>
                  <a:close/>
                </a:path>
              </a:pathLst>
            </a:custGeom>
            <a:grpFill/>
            <a:ln w="285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AD8E31D1-1B08-4AFB-993A-AA8183AEB9F0}"/>
                </a:ext>
              </a:extLst>
            </p:cNvPr>
            <p:cNvSpPr>
              <a:spLocks/>
            </p:cNvSpPr>
            <p:nvPr/>
          </p:nvSpPr>
          <p:spPr bwMode="auto">
            <a:xfrm>
              <a:off x="7842250" y="3051176"/>
              <a:ext cx="1212850" cy="849313"/>
            </a:xfrm>
            <a:custGeom>
              <a:avLst/>
              <a:gdLst>
                <a:gd name="T0" fmla="*/ 47 w 57"/>
                <a:gd name="T1" fmla="*/ 0 h 40"/>
                <a:gd name="T2" fmla="*/ 0 w 57"/>
                <a:gd name="T3" fmla="*/ 24 h 40"/>
                <a:gd name="T4" fmla="*/ 5 w 57"/>
                <a:gd name="T5" fmla="*/ 40 h 40"/>
                <a:gd name="T6" fmla="*/ 57 w 57"/>
                <a:gd name="T7" fmla="*/ 35 h 40"/>
                <a:gd name="T8" fmla="*/ 47 w 57"/>
                <a:gd name="T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40">
                  <a:moveTo>
                    <a:pt x="47" y="0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2" y="29"/>
                    <a:pt x="4" y="34"/>
                    <a:pt x="5" y="40"/>
                  </a:cubicBezTo>
                  <a:cubicBezTo>
                    <a:pt x="57" y="35"/>
                    <a:pt x="57" y="35"/>
                    <a:pt x="57" y="35"/>
                  </a:cubicBezTo>
                  <a:cubicBezTo>
                    <a:pt x="56" y="23"/>
                    <a:pt x="52" y="11"/>
                    <a:pt x="47" y="0"/>
                  </a:cubicBezTo>
                </a:path>
              </a:pathLst>
            </a:custGeom>
            <a:grpFill/>
            <a:ln w="285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DAF06D3D-5E31-404E-9FDF-57674DD36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3800" y="2286001"/>
              <a:ext cx="1233487" cy="1125538"/>
            </a:xfrm>
            <a:custGeom>
              <a:avLst/>
              <a:gdLst>
                <a:gd name="T0" fmla="*/ 11 w 58"/>
                <a:gd name="T1" fmla="*/ 53 h 53"/>
                <a:gd name="T2" fmla="*/ 58 w 58"/>
                <a:gd name="T3" fmla="*/ 29 h 53"/>
                <a:gd name="T4" fmla="*/ 36 w 58"/>
                <a:gd name="T5" fmla="*/ 0 h 53"/>
                <a:gd name="T6" fmla="*/ 0 w 58"/>
                <a:gd name="T7" fmla="*/ 39 h 53"/>
                <a:gd name="T8" fmla="*/ 11 w 58"/>
                <a:gd name="T9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53">
                  <a:moveTo>
                    <a:pt x="11" y="53"/>
                  </a:moveTo>
                  <a:cubicBezTo>
                    <a:pt x="58" y="29"/>
                    <a:pt x="58" y="29"/>
                    <a:pt x="58" y="29"/>
                  </a:cubicBezTo>
                  <a:cubicBezTo>
                    <a:pt x="52" y="18"/>
                    <a:pt x="45" y="8"/>
                    <a:pt x="36" y="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4" y="43"/>
                    <a:pt x="8" y="48"/>
                    <a:pt x="11" y="53"/>
                  </a:cubicBezTo>
                </a:path>
              </a:pathLst>
            </a:custGeom>
            <a:grpFill/>
            <a:ln w="285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9D2CE12A-0300-4FF1-810F-248C027DC9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8113" y="3943351"/>
              <a:ext cx="1149350" cy="785813"/>
            </a:xfrm>
            <a:custGeom>
              <a:avLst/>
              <a:gdLst>
                <a:gd name="T0" fmla="*/ 52 w 54"/>
                <a:gd name="T1" fmla="*/ 8 h 37"/>
                <a:gd name="T2" fmla="*/ 52 w 54"/>
                <a:gd name="T3" fmla="*/ 5 h 37"/>
                <a:gd name="T4" fmla="*/ 0 w 54"/>
                <a:gd name="T5" fmla="*/ 0 h 37"/>
                <a:gd name="T6" fmla="*/ 0 w 54"/>
                <a:gd name="T7" fmla="*/ 8 h 37"/>
                <a:gd name="T8" fmla="*/ 3 w 54"/>
                <a:gd name="T9" fmla="*/ 37 h 37"/>
                <a:gd name="T10" fmla="*/ 54 w 54"/>
                <a:gd name="T11" fmla="*/ 23 h 37"/>
                <a:gd name="T12" fmla="*/ 52 w 54"/>
                <a:gd name="T13" fmla="*/ 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37">
                  <a:moveTo>
                    <a:pt x="52" y="8"/>
                  </a:moveTo>
                  <a:cubicBezTo>
                    <a:pt x="52" y="7"/>
                    <a:pt x="52" y="6"/>
                    <a:pt x="52" y="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"/>
                    <a:pt x="0" y="6"/>
                    <a:pt x="0" y="8"/>
                  </a:cubicBezTo>
                  <a:cubicBezTo>
                    <a:pt x="0" y="18"/>
                    <a:pt x="1" y="28"/>
                    <a:pt x="3" y="37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3" y="18"/>
                    <a:pt x="52" y="13"/>
                    <a:pt x="52" y="8"/>
                  </a:cubicBezTo>
                </a:path>
              </a:pathLst>
            </a:custGeom>
            <a:grpFill/>
            <a:ln w="285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E319DDC-D312-4095-8438-B9A9BB5BF9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1713" y="5026026"/>
              <a:ext cx="1171575" cy="1211263"/>
            </a:xfrm>
            <a:custGeom>
              <a:avLst/>
              <a:gdLst>
                <a:gd name="T0" fmla="*/ 13 w 55"/>
                <a:gd name="T1" fmla="*/ 0 h 57"/>
                <a:gd name="T2" fmla="*/ 0 w 55"/>
                <a:gd name="T3" fmla="*/ 12 h 57"/>
                <a:gd name="T4" fmla="*/ 28 w 55"/>
                <a:gd name="T5" fmla="*/ 57 h 57"/>
                <a:gd name="T6" fmla="*/ 55 w 55"/>
                <a:gd name="T7" fmla="*/ 32 h 57"/>
                <a:gd name="T8" fmla="*/ 13 w 55"/>
                <a:gd name="T9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57">
                  <a:moveTo>
                    <a:pt x="13" y="0"/>
                  </a:moveTo>
                  <a:cubicBezTo>
                    <a:pt x="9" y="5"/>
                    <a:pt x="5" y="9"/>
                    <a:pt x="0" y="12"/>
                  </a:cubicBezTo>
                  <a:cubicBezTo>
                    <a:pt x="28" y="57"/>
                    <a:pt x="28" y="57"/>
                    <a:pt x="28" y="57"/>
                  </a:cubicBezTo>
                  <a:cubicBezTo>
                    <a:pt x="38" y="50"/>
                    <a:pt x="48" y="42"/>
                    <a:pt x="55" y="32"/>
                  </a:cubicBezTo>
                  <a:lnTo>
                    <a:pt x="13" y="0"/>
                  </a:lnTo>
                  <a:close/>
                </a:path>
              </a:pathLst>
            </a:custGeom>
            <a:grpFill/>
            <a:ln w="285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E02994AB-21E0-4C0A-B5B1-D4E8094BE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7926388" y="3963988"/>
              <a:ext cx="1149350" cy="765175"/>
            </a:xfrm>
            <a:custGeom>
              <a:avLst/>
              <a:gdLst>
                <a:gd name="T0" fmla="*/ 2 w 54"/>
                <a:gd name="T1" fmla="*/ 7 h 36"/>
                <a:gd name="T2" fmla="*/ 0 w 54"/>
                <a:gd name="T3" fmla="*/ 22 h 36"/>
                <a:gd name="T4" fmla="*/ 51 w 54"/>
                <a:gd name="T5" fmla="*/ 36 h 36"/>
                <a:gd name="T6" fmla="*/ 54 w 54"/>
                <a:gd name="T7" fmla="*/ 7 h 36"/>
                <a:gd name="T8" fmla="*/ 54 w 54"/>
                <a:gd name="T9" fmla="*/ 0 h 36"/>
                <a:gd name="T10" fmla="*/ 2 w 54"/>
                <a:gd name="T11" fmla="*/ 5 h 36"/>
                <a:gd name="T12" fmla="*/ 2 w 54"/>
                <a:gd name="T13" fmla="*/ 7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36">
                  <a:moveTo>
                    <a:pt x="2" y="7"/>
                  </a:moveTo>
                  <a:cubicBezTo>
                    <a:pt x="2" y="12"/>
                    <a:pt x="1" y="17"/>
                    <a:pt x="0" y="22"/>
                  </a:cubicBezTo>
                  <a:cubicBezTo>
                    <a:pt x="51" y="36"/>
                    <a:pt x="51" y="36"/>
                    <a:pt x="51" y="36"/>
                  </a:cubicBezTo>
                  <a:cubicBezTo>
                    <a:pt x="53" y="27"/>
                    <a:pt x="54" y="17"/>
                    <a:pt x="54" y="7"/>
                  </a:cubicBezTo>
                  <a:cubicBezTo>
                    <a:pt x="54" y="5"/>
                    <a:pt x="54" y="2"/>
                    <a:pt x="54" y="0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7"/>
                  </a:cubicBezTo>
                </a:path>
              </a:pathLst>
            </a:custGeom>
            <a:grpFill/>
            <a:ln w="285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  <p:sp>
          <p:nvSpPr>
            <p:cNvPr id="17" name="Freeform 12">
              <a:extLst>
                <a:ext uri="{FF2B5EF4-FFF2-40B4-BE49-F238E27FC236}">
                  <a16:creationId xmlns:a16="http://schemas.microsoft.com/office/drawing/2014/main" id="{9A99C6E3-A725-4F3C-B5B5-183518CE1D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2788" y="5048251"/>
              <a:ext cx="1169987" cy="1211263"/>
            </a:xfrm>
            <a:custGeom>
              <a:avLst/>
              <a:gdLst>
                <a:gd name="T0" fmla="*/ 42 w 55"/>
                <a:gd name="T1" fmla="*/ 0 h 57"/>
                <a:gd name="T2" fmla="*/ 0 w 55"/>
                <a:gd name="T3" fmla="*/ 32 h 57"/>
                <a:gd name="T4" fmla="*/ 27 w 55"/>
                <a:gd name="T5" fmla="*/ 57 h 57"/>
                <a:gd name="T6" fmla="*/ 55 w 55"/>
                <a:gd name="T7" fmla="*/ 12 h 57"/>
                <a:gd name="T8" fmla="*/ 42 w 55"/>
                <a:gd name="T9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" h="57">
                  <a:moveTo>
                    <a:pt x="42" y="0"/>
                  </a:moveTo>
                  <a:cubicBezTo>
                    <a:pt x="0" y="32"/>
                    <a:pt x="0" y="32"/>
                    <a:pt x="0" y="32"/>
                  </a:cubicBezTo>
                  <a:cubicBezTo>
                    <a:pt x="8" y="42"/>
                    <a:pt x="17" y="50"/>
                    <a:pt x="27" y="57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50" y="9"/>
                    <a:pt x="46" y="5"/>
                    <a:pt x="42" y="0"/>
                  </a:cubicBezTo>
                </a:path>
              </a:pathLst>
            </a:custGeom>
            <a:grpFill/>
            <a:ln w="285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  <p:sp>
          <p:nvSpPr>
            <p:cNvPr id="18" name="Freeform 13">
              <a:extLst>
                <a:ext uri="{FF2B5EF4-FFF2-40B4-BE49-F238E27FC236}">
                  <a16:creationId xmlns:a16="http://schemas.microsoft.com/office/drawing/2014/main" id="{7FC9E7E8-A86A-47F3-B28D-1FF67258B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8750" y="3028951"/>
              <a:ext cx="1212850" cy="850900"/>
            </a:xfrm>
            <a:custGeom>
              <a:avLst/>
              <a:gdLst>
                <a:gd name="T0" fmla="*/ 52 w 57"/>
                <a:gd name="T1" fmla="*/ 40 h 40"/>
                <a:gd name="T2" fmla="*/ 57 w 57"/>
                <a:gd name="T3" fmla="*/ 24 h 40"/>
                <a:gd name="T4" fmla="*/ 10 w 57"/>
                <a:gd name="T5" fmla="*/ 0 h 40"/>
                <a:gd name="T6" fmla="*/ 0 w 57"/>
                <a:gd name="T7" fmla="*/ 36 h 40"/>
                <a:gd name="T8" fmla="*/ 52 w 57"/>
                <a:gd name="T9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40">
                  <a:moveTo>
                    <a:pt x="52" y="40"/>
                  </a:moveTo>
                  <a:cubicBezTo>
                    <a:pt x="53" y="35"/>
                    <a:pt x="55" y="29"/>
                    <a:pt x="57" y="24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5" y="11"/>
                    <a:pt x="1" y="23"/>
                    <a:pt x="0" y="36"/>
                  </a:cubicBezTo>
                  <a:lnTo>
                    <a:pt x="52" y="40"/>
                  </a:lnTo>
                  <a:close/>
                </a:path>
              </a:pathLst>
            </a:custGeom>
            <a:grpFill/>
            <a:ln w="285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  <p:sp>
          <p:nvSpPr>
            <p:cNvPr id="19" name="Freeform 14">
              <a:extLst>
                <a:ext uri="{FF2B5EF4-FFF2-40B4-BE49-F238E27FC236}">
                  <a16:creationId xmlns:a16="http://schemas.microsoft.com/office/drawing/2014/main" id="{5DAD1E47-AC89-4ACC-8C53-65A5611422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83400" y="5387976"/>
              <a:ext cx="936625" cy="1231900"/>
            </a:xfrm>
            <a:custGeom>
              <a:avLst/>
              <a:gdLst>
                <a:gd name="T0" fmla="*/ 44 w 44"/>
                <a:gd name="T1" fmla="*/ 44 h 58"/>
                <a:gd name="T2" fmla="*/ 16 w 44"/>
                <a:gd name="T3" fmla="*/ 0 h 58"/>
                <a:gd name="T4" fmla="*/ 0 w 44"/>
                <a:gd name="T5" fmla="*/ 6 h 58"/>
                <a:gd name="T6" fmla="*/ 10 w 44"/>
                <a:gd name="T7" fmla="*/ 58 h 58"/>
                <a:gd name="T8" fmla="*/ 44 w 44"/>
                <a:gd name="T9" fmla="*/ 44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58">
                  <a:moveTo>
                    <a:pt x="44" y="44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1" y="2"/>
                    <a:pt x="6" y="5"/>
                    <a:pt x="0" y="6"/>
                  </a:cubicBezTo>
                  <a:cubicBezTo>
                    <a:pt x="10" y="58"/>
                    <a:pt x="10" y="58"/>
                    <a:pt x="10" y="58"/>
                  </a:cubicBezTo>
                  <a:cubicBezTo>
                    <a:pt x="22" y="55"/>
                    <a:pt x="33" y="51"/>
                    <a:pt x="44" y="44"/>
                  </a:cubicBezTo>
                </a:path>
              </a:pathLst>
            </a:custGeom>
            <a:grpFill/>
            <a:ln w="285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  <p:sp>
          <p:nvSpPr>
            <p:cNvPr id="20" name="Freeform 15">
              <a:extLst>
                <a:ext uri="{FF2B5EF4-FFF2-40B4-BE49-F238E27FC236}">
                  <a16:creationId xmlns:a16="http://schemas.microsoft.com/office/drawing/2014/main" id="{C3E4D0FB-7126-4194-99C2-C1ACB9C8842E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5888" y="4579938"/>
              <a:ext cx="1233487" cy="998538"/>
            </a:xfrm>
            <a:custGeom>
              <a:avLst/>
              <a:gdLst>
                <a:gd name="T0" fmla="*/ 7 w 58"/>
                <a:gd name="T1" fmla="*/ 0 h 47"/>
                <a:gd name="T2" fmla="*/ 0 w 58"/>
                <a:gd name="T3" fmla="*/ 15 h 47"/>
                <a:gd name="T4" fmla="*/ 42 w 58"/>
                <a:gd name="T5" fmla="*/ 47 h 47"/>
                <a:gd name="T6" fmla="*/ 58 w 58"/>
                <a:gd name="T7" fmla="*/ 15 h 47"/>
                <a:gd name="T8" fmla="*/ 7 w 58"/>
                <a:gd name="T9" fmla="*/ 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47">
                  <a:moveTo>
                    <a:pt x="7" y="0"/>
                  </a:moveTo>
                  <a:cubicBezTo>
                    <a:pt x="5" y="5"/>
                    <a:pt x="3" y="11"/>
                    <a:pt x="0" y="15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9" y="37"/>
                    <a:pt x="54" y="26"/>
                    <a:pt x="58" y="15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 w="285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  <p:sp>
          <p:nvSpPr>
            <p:cNvPr id="21" name="Freeform 16">
              <a:extLst>
                <a:ext uri="{FF2B5EF4-FFF2-40B4-BE49-F238E27FC236}">
                  <a16:creationId xmlns:a16="http://schemas.microsoft.com/office/drawing/2014/main" id="{9DAB2140-4299-451F-B51E-12A968C4D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8863" y="5557838"/>
              <a:ext cx="787400" cy="1125538"/>
            </a:xfrm>
            <a:custGeom>
              <a:avLst/>
              <a:gdLst>
                <a:gd name="T0" fmla="*/ 27 w 37"/>
                <a:gd name="T1" fmla="*/ 0 h 53"/>
                <a:gd name="T2" fmla="*/ 18 w 37"/>
                <a:gd name="T3" fmla="*/ 0 h 53"/>
                <a:gd name="T4" fmla="*/ 10 w 37"/>
                <a:gd name="T5" fmla="*/ 0 h 53"/>
                <a:gd name="T6" fmla="*/ 0 w 37"/>
                <a:gd name="T7" fmla="*/ 52 h 53"/>
                <a:gd name="T8" fmla="*/ 18 w 37"/>
                <a:gd name="T9" fmla="*/ 53 h 53"/>
                <a:gd name="T10" fmla="*/ 37 w 37"/>
                <a:gd name="T11" fmla="*/ 51 h 53"/>
                <a:gd name="T12" fmla="*/ 27 w 37"/>
                <a:gd name="T13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53">
                  <a:moveTo>
                    <a:pt x="27" y="0"/>
                  </a:moveTo>
                  <a:cubicBezTo>
                    <a:pt x="24" y="0"/>
                    <a:pt x="21" y="0"/>
                    <a:pt x="18" y="0"/>
                  </a:cubicBezTo>
                  <a:cubicBezTo>
                    <a:pt x="15" y="0"/>
                    <a:pt x="12" y="0"/>
                    <a:pt x="10" y="0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6" y="53"/>
                    <a:pt x="12" y="53"/>
                    <a:pt x="18" y="53"/>
                  </a:cubicBezTo>
                  <a:cubicBezTo>
                    <a:pt x="24" y="53"/>
                    <a:pt x="31" y="53"/>
                    <a:pt x="37" y="51"/>
                  </a:cubicBezTo>
                  <a:lnTo>
                    <a:pt x="27" y="0"/>
                  </a:lnTo>
                  <a:close/>
                </a:path>
              </a:pathLst>
            </a:custGeom>
            <a:grpFill/>
            <a:ln w="285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  <p:sp>
          <p:nvSpPr>
            <p:cNvPr id="22" name="Freeform 17">
              <a:extLst>
                <a:ext uri="{FF2B5EF4-FFF2-40B4-BE49-F238E27FC236}">
                  <a16:creationId xmlns:a16="http://schemas.microsoft.com/office/drawing/2014/main" id="{0213CF70-62CE-46E4-B91B-9A173F30BEF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7175" y="1543051"/>
              <a:ext cx="766762" cy="1189038"/>
            </a:xfrm>
            <a:custGeom>
              <a:avLst/>
              <a:gdLst>
                <a:gd name="T0" fmla="*/ 0 w 36"/>
                <a:gd name="T1" fmla="*/ 53 h 56"/>
                <a:gd name="T2" fmla="*/ 17 w 36"/>
                <a:gd name="T3" fmla="*/ 56 h 56"/>
                <a:gd name="T4" fmla="*/ 36 w 36"/>
                <a:gd name="T5" fmla="*/ 7 h 56"/>
                <a:gd name="T6" fmla="*/ 0 w 36"/>
                <a:gd name="T7" fmla="*/ 0 h 56"/>
                <a:gd name="T8" fmla="*/ 0 w 36"/>
                <a:gd name="T9" fmla="*/ 53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56">
                  <a:moveTo>
                    <a:pt x="0" y="53"/>
                  </a:moveTo>
                  <a:cubicBezTo>
                    <a:pt x="6" y="54"/>
                    <a:pt x="11" y="55"/>
                    <a:pt x="17" y="56"/>
                  </a:cubicBezTo>
                  <a:cubicBezTo>
                    <a:pt x="36" y="7"/>
                    <a:pt x="36" y="7"/>
                    <a:pt x="36" y="7"/>
                  </a:cubicBezTo>
                  <a:cubicBezTo>
                    <a:pt x="24" y="3"/>
                    <a:pt x="12" y="1"/>
                    <a:pt x="0" y="0"/>
                  </a:cubicBezTo>
                  <a:lnTo>
                    <a:pt x="0" y="53"/>
                  </a:lnTo>
                  <a:close/>
                </a:path>
              </a:pathLst>
            </a:custGeom>
            <a:grpFill/>
            <a:ln w="285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  <p:sp>
          <p:nvSpPr>
            <p:cNvPr id="23" name="Freeform 18">
              <a:extLst>
                <a:ext uri="{FF2B5EF4-FFF2-40B4-BE49-F238E27FC236}">
                  <a16:creationId xmlns:a16="http://schemas.microsoft.com/office/drawing/2014/main" id="{6FACDBFC-D98B-436B-AE5F-34422BB80A5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5100" y="5387976"/>
              <a:ext cx="936625" cy="1231900"/>
            </a:xfrm>
            <a:custGeom>
              <a:avLst/>
              <a:gdLst>
                <a:gd name="T0" fmla="*/ 44 w 44"/>
                <a:gd name="T1" fmla="*/ 7 h 58"/>
                <a:gd name="T2" fmla="*/ 27 w 44"/>
                <a:gd name="T3" fmla="*/ 0 h 58"/>
                <a:gd name="T4" fmla="*/ 0 w 44"/>
                <a:gd name="T5" fmla="*/ 45 h 58"/>
                <a:gd name="T6" fmla="*/ 34 w 44"/>
                <a:gd name="T7" fmla="*/ 58 h 58"/>
                <a:gd name="T8" fmla="*/ 44 w 44"/>
                <a:gd name="T9" fmla="*/ 7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58">
                  <a:moveTo>
                    <a:pt x="44" y="7"/>
                  </a:moveTo>
                  <a:cubicBezTo>
                    <a:pt x="38" y="5"/>
                    <a:pt x="33" y="3"/>
                    <a:pt x="27" y="0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10" y="51"/>
                    <a:pt x="22" y="56"/>
                    <a:pt x="34" y="58"/>
                  </a:cubicBezTo>
                  <a:lnTo>
                    <a:pt x="44" y="7"/>
                  </a:lnTo>
                  <a:close/>
                </a:path>
              </a:pathLst>
            </a:custGeom>
            <a:grpFill/>
            <a:ln w="285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  <p:sp>
          <p:nvSpPr>
            <p:cNvPr id="24" name="Freeform 19">
              <a:extLst>
                <a:ext uri="{FF2B5EF4-FFF2-40B4-BE49-F238E27FC236}">
                  <a16:creationId xmlns:a16="http://schemas.microsoft.com/office/drawing/2014/main" id="{AF4DAF94-6CAF-4E02-842B-5EB7061DC2A0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0550" y="1543051"/>
              <a:ext cx="766762" cy="1189038"/>
            </a:xfrm>
            <a:custGeom>
              <a:avLst/>
              <a:gdLst>
                <a:gd name="T0" fmla="*/ 19 w 36"/>
                <a:gd name="T1" fmla="*/ 56 h 56"/>
                <a:gd name="T2" fmla="*/ 36 w 36"/>
                <a:gd name="T3" fmla="*/ 53 h 56"/>
                <a:gd name="T4" fmla="*/ 36 w 36"/>
                <a:gd name="T5" fmla="*/ 0 h 56"/>
                <a:gd name="T6" fmla="*/ 0 w 36"/>
                <a:gd name="T7" fmla="*/ 7 h 56"/>
                <a:gd name="T8" fmla="*/ 19 w 36"/>
                <a:gd name="T9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56">
                  <a:moveTo>
                    <a:pt x="19" y="56"/>
                  </a:moveTo>
                  <a:cubicBezTo>
                    <a:pt x="25" y="54"/>
                    <a:pt x="30" y="53"/>
                    <a:pt x="36" y="53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24" y="1"/>
                    <a:pt x="11" y="3"/>
                    <a:pt x="0" y="7"/>
                  </a:cubicBezTo>
                  <a:lnTo>
                    <a:pt x="19" y="56"/>
                  </a:lnTo>
                  <a:close/>
                </a:path>
              </a:pathLst>
            </a:custGeom>
            <a:grpFill/>
            <a:ln w="285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  <p:sp>
          <p:nvSpPr>
            <p:cNvPr id="25" name="Freeform 20">
              <a:extLst>
                <a:ext uri="{FF2B5EF4-FFF2-40B4-BE49-F238E27FC236}">
                  <a16:creationId xmlns:a16="http://schemas.microsoft.com/office/drawing/2014/main" id="{DA03D494-745D-4DA5-B294-1CCAC8D048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4475" y="4579938"/>
              <a:ext cx="1255712" cy="1020763"/>
            </a:xfrm>
            <a:custGeom>
              <a:avLst/>
              <a:gdLst>
                <a:gd name="T0" fmla="*/ 59 w 59"/>
                <a:gd name="T1" fmla="*/ 16 h 48"/>
                <a:gd name="T2" fmla="*/ 51 w 59"/>
                <a:gd name="T3" fmla="*/ 0 h 48"/>
                <a:gd name="T4" fmla="*/ 0 w 59"/>
                <a:gd name="T5" fmla="*/ 15 h 48"/>
                <a:gd name="T6" fmla="*/ 17 w 59"/>
                <a:gd name="T7" fmla="*/ 48 h 48"/>
                <a:gd name="T8" fmla="*/ 59 w 59"/>
                <a:gd name="T9" fmla="*/ 16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48">
                  <a:moveTo>
                    <a:pt x="59" y="16"/>
                  </a:moveTo>
                  <a:cubicBezTo>
                    <a:pt x="56" y="11"/>
                    <a:pt x="53" y="6"/>
                    <a:pt x="51" y="0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4" y="27"/>
                    <a:pt x="10" y="38"/>
                    <a:pt x="17" y="48"/>
                  </a:cubicBezTo>
                  <a:lnTo>
                    <a:pt x="59" y="16"/>
                  </a:lnTo>
                  <a:close/>
                </a:path>
              </a:pathLst>
            </a:custGeom>
            <a:grpFill/>
            <a:ln w="285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  <p:sp>
          <p:nvSpPr>
            <p:cNvPr id="26" name="Freeform 21">
              <a:extLst>
                <a:ext uri="{FF2B5EF4-FFF2-40B4-BE49-F238E27FC236}">
                  <a16:creationId xmlns:a16="http://schemas.microsoft.com/office/drawing/2014/main" id="{7C285BB5-C15F-4FC7-8F74-CAF71A8037D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2513" y="1754188"/>
              <a:ext cx="1063625" cy="1233488"/>
            </a:xfrm>
            <a:custGeom>
              <a:avLst/>
              <a:gdLst>
                <a:gd name="T0" fmla="*/ 35 w 50"/>
                <a:gd name="T1" fmla="*/ 58 h 58"/>
                <a:gd name="T2" fmla="*/ 50 w 50"/>
                <a:gd name="T3" fmla="*/ 49 h 58"/>
                <a:gd name="T4" fmla="*/ 31 w 50"/>
                <a:gd name="T5" fmla="*/ 0 h 58"/>
                <a:gd name="T6" fmla="*/ 0 w 50"/>
                <a:gd name="T7" fmla="*/ 19 h 58"/>
                <a:gd name="T8" fmla="*/ 35 w 50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58">
                  <a:moveTo>
                    <a:pt x="35" y="58"/>
                  </a:moveTo>
                  <a:cubicBezTo>
                    <a:pt x="40" y="54"/>
                    <a:pt x="45" y="51"/>
                    <a:pt x="50" y="49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20" y="5"/>
                    <a:pt x="9" y="11"/>
                    <a:pt x="0" y="19"/>
                  </a:cubicBezTo>
                  <a:lnTo>
                    <a:pt x="35" y="58"/>
                  </a:lnTo>
                  <a:close/>
                </a:path>
              </a:pathLst>
            </a:custGeom>
            <a:grpFill/>
            <a:ln w="285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88"/>
            </a:p>
          </p:txBody>
        </p:sp>
      </p:grp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9AE21F5-4C42-45E2-907C-AC38E35C6B40}"/>
              </a:ext>
            </a:extLst>
          </p:cNvPr>
          <p:cNvCxnSpPr/>
          <p:nvPr userDrawn="1"/>
        </p:nvCxnSpPr>
        <p:spPr>
          <a:xfrm>
            <a:off x="1562495" y="263296"/>
            <a:ext cx="0" cy="347158"/>
          </a:xfrm>
          <a:prstGeom prst="line">
            <a:avLst/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A09FAC4A-60B4-4E5D-862E-FA3D7680E1C1}"/>
              </a:ext>
            </a:extLst>
          </p:cNvPr>
          <p:cNvSpPr txBox="1"/>
          <p:nvPr userDrawn="1"/>
        </p:nvSpPr>
        <p:spPr>
          <a:xfrm>
            <a:off x="2051215" y="241762"/>
            <a:ext cx="56699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844"/>
              </a:lnSpc>
            </a:pPr>
            <a:r>
              <a:rPr lang="en-US" sz="844" spc="9">
                <a:solidFill>
                  <a:schemeClr val="tx2">
                    <a:lumMod val="50000"/>
                  </a:schemeClr>
                </a:solidFill>
                <a:latin typeface="Oswald SemiBold" pitchFamily="2" charset="0"/>
              </a:rPr>
              <a:t>DECADE</a:t>
            </a:r>
            <a:br>
              <a:rPr lang="en-US" sz="844" spc="9">
                <a:solidFill>
                  <a:schemeClr val="tx2">
                    <a:lumMod val="50000"/>
                  </a:schemeClr>
                </a:solidFill>
                <a:latin typeface="Oswald SemiBold" pitchFamily="2" charset="0"/>
              </a:rPr>
            </a:br>
            <a:r>
              <a:rPr lang="en-US" sz="844" spc="9">
                <a:solidFill>
                  <a:schemeClr val="tx2">
                    <a:lumMod val="50000"/>
                  </a:schemeClr>
                </a:solidFill>
                <a:latin typeface="Oswald SemiBold" pitchFamily="2" charset="0"/>
              </a:rPr>
              <a:t>OF</a:t>
            </a:r>
            <a:br>
              <a:rPr lang="en-US" sz="844" spc="9">
                <a:solidFill>
                  <a:schemeClr val="tx2">
                    <a:lumMod val="50000"/>
                  </a:schemeClr>
                </a:solidFill>
                <a:latin typeface="Oswald SemiBold" pitchFamily="2" charset="0"/>
              </a:rPr>
            </a:br>
            <a:r>
              <a:rPr lang="en-US" sz="844" spc="9">
                <a:solidFill>
                  <a:schemeClr val="tx2">
                    <a:lumMod val="50000"/>
                  </a:schemeClr>
                </a:solidFill>
                <a:latin typeface="Oswald SemiBold" pitchFamily="2" charset="0"/>
              </a:rPr>
              <a:t>ACTION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151A8CFC-C97C-4803-B208-5B5E52CB9DA9}"/>
              </a:ext>
            </a:extLst>
          </p:cNvPr>
          <p:cNvGrpSpPr/>
          <p:nvPr userDrawn="1"/>
        </p:nvGrpSpPr>
        <p:grpSpPr>
          <a:xfrm>
            <a:off x="2252624" y="389296"/>
            <a:ext cx="199395" cy="66805"/>
            <a:chOff x="2165967" y="6917391"/>
            <a:chExt cx="182216" cy="61057"/>
          </a:xfrm>
          <a:solidFill>
            <a:schemeClr val="tx2">
              <a:lumMod val="50000"/>
            </a:schemeClr>
          </a:solidFill>
        </p:grpSpPr>
        <p:sp>
          <p:nvSpPr>
            <p:cNvPr id="30" name="L-Shape 29">
              <a:extLst>
                <a:ext uri="{FF2B5EF4-FFF2-40B4-BE49-F238E27FC236}">
                  <a16:creationId xmlns:a16="http://schemas.microsoft.com/office/drawing/2014/main" id="{6F155351-BA65-4E07-AE39-8C3DBEE0AB90}"/>
                </a:ext>
              </a:extLst>
            </p:cNvPr>
            <p:cNvSpPr/>
            <p:nvPr/>
          </p:nvSpPr>
          <p:spPr>
            <a:xfrm rot="13500000">
              <a:off x="2165967" y="6917391"/>
              <a:ext cx="61057" cy="61057"/>
            </a:xfrm>
            <a:prstGeom prst="corner">
              <a:avLst>
                <a:gd name="adj1" fmla="val 42282"/>
                <a:gd name="adj2" fmla="val 42218"/>
              </a:avLst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88"/>
            </a:p>
          </p:txBody>
        </p:sp>
        <p:sp>
          <p:nvSpPr>
            <p:cNvPr id="31" name="L-Shape 30">
              <a:extLst>
                <a:ext uri="{FF2B5EF4-FFF2-40B4-BE49-F238E27FC236}">
                  <a16:creationId xmlns:a16="http://schemas.microsoft.com/office/drawing/2014/main" id="{027ED7B2-861F-46DC-BB17-445DE5440E1A}"/>
                </a:ext>
              </a:extLst>
            </p:cNvPr>
            <p:cNvSpPr/>
            <p:nvPr/>
          </p:nvSpPr>
          <p:spPr>
            <a:xfrm rot="13500000">
              <a:off x="2226546" y="6917391"/>
              <a:ext cx="61057" cy="61057"/>
            </a:xfrm>
            <a:prstGeom prst="corner">
              <a:avLst>
                <a:gd name="adj1" fmla="val 42282"/>
                <a:gd name="adj2" fmla="val 42218"/>
              </a:avLst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88"/>
            </a:p>
          </p:txBody>
        </p:sp>
        <p:sp>
          <p:nvSpPr>
            <p:cNvPr id="32" name="L-Shape 31">
              <a:extLst>
                <a:ext uri="{FF2B5EF4-FFF2-40B4-BE49-F238E27FC236}">
                  <a16:creationId xmlns:a16="http://schemas.microsoft.com/office/drawing/2014/main" id="{9FC72552-8F15-4629-A8EC-15DEAD0D3BFC}"/>
                </a:ext>
              </a:extLst>
            </p:cNvPr>
            <p:cNvSpPr/>
            <p:nvPr/>
          </p:nvSpPr>
          <p:spPr>
            <a:xfrm rot="13500000">
              <a:off x="2287126" y="6917391"/>
              <a:ext cx="61057" cy="61057"/>
            </a:xfrm>
            <a:prstGeom prst="corner">
              <a:avLst>
                <a:gd name="adj1" fmla="val 42282"/>
                <a:gd name="adj2" fmla="val 42218"/>
              </a:avLst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88"/>
            </a:p>
          </p:txBody>
        </p:sp>
      </p:grpSp>
      <p:sp>
        <p:nvSpPr>
          <p:cNvPr id="33" name="Graphic 4">
            <a:extLst>
              <a:ext uri="{FF2B5EF4-FFF2-40B4-BE49-F238E27FC236}">
                <a16:creationId xmlns:a16="http://schemas.microsoft.com/office/drawing/2014/main" id="{73E7A39F-9161-4DAB-BB22-7CCB2197D7F3}"/>
              </a:ext>
            </a:extLst>
          </p:cNvPr>
          <p:cNvSpPr/>
          <p:nvPr userDrawn="1"/>
        </p:nvSpPr>
        <p:spPr>
          <a:xfrm>
            <a:off x="235364" y="257785"/>
            <a:ext cx="1130954" cy="345665"/>
          </a:xfrm>
          <a:custGeom>
            <a:avLst/>
            <a:gdLst>
              <a:gd name="connsiteX0" fmla="*/ 415194 w 1422394"/>
              <a:gd name="connsiteY0" fmla="*/ 395571 h 434793"/>
              <a:gd name="connsiteX1" fmla="*/ 415877 w 1422394"/>
              <a:gd name="connsiteY1" fmla="*/ 395913 h 434793"/>
              <a:gd name="connsiteX2" fmla="*/ 382523 w 1422394"/>
              <a:gd name="connsiteY2" fmla="*/ 415634 h 434793"/>
              <a:gd name="connsiteX3" fmla="*/ 356186 w 1422394"/>
              <a:gd name="connsiteY3" fmla="*/ 417528 h 434793"/>
              <a:gd name="connsiteX4" fmla="*/ 318919 w 1422394"/>
              <a:gd name="connsiteY4" fmla="*/ 402994 h 434793"/>
              <a:gd name="connsiteX5" fmla="*/ 298639 w 1422394"/>
              <a:gd name="connsiteY5" fmla="*/ 389329 h 434793"/>
              <a:gd name="connsiteX6" fmla="*/ 273358 w 1422394"/>
              <a:gd name="connsiteY6" fmla="*/ 384577 h 434793"/>
              <a:gd name="connsiteX7" fmla="*/ 272924 w 1422394"/>
              <a:gd name="connsiteY7" fmla="*/ 387683 h 434793"/>
              <a:gd name="connsiteX8" fmla="*/ 307086 w 1422394"/>
              <a:gd name="connsiteY8" fmla="*/ 408894 h 434793"/>
              <a:gd name="connsiteX9" fmla="*/ 327180 w 1422394"/>
              <a:gd name="connsiteY9" fmla="*/ 426597 h 434793"/>
              <a:gd name="connsiteX10" fmla="*/ 317552 w 1422394"/>
              <a:gd name="connsiteY10" fmla="*/ 434858 h 434793"/>
              <a:gd name="connsiteX11" fmla="*/ 306993 w 1422394"/>
              <a:gd name="connsiteY11" fmla="*/ 423398 h 434793"/>
              <a:gd name="connsiteX12" fmla="*/ 262986 w 1422394"/>
              <a:gd name="connsiteY12" fmla="*/ 389235 h 434793"/>
              <a:gd name="connsiteX13" fmla="*/ 260843 w 1422394"/>
              <a:gd name="connsiteY13" fmla="*/ 388428 h 434793"/>
              <a:gd name="connsiteX14" fmla="*/ 258669 w 1422394"/>
              <a:gd name="connsiteY14" fmla="*/ 389235 h 434793"/>
              <a:gd name="connsiteX15" fmla="*/ 214661 w 1422394"/>
              <a:gd name="connsiteY15" fmla="*/ 423398 h 434793"/>
              <a:gd name="connsiteX16" fmla="*/ 204133 w 1422394"/>
              <a:gd name="connsiteY16" fmla="*/ 434858 h 434793"/>
              <a:gd name="connsiteX17" fmla="*/ 194475 w 1422394"/>
              <a:gd name="connsiteY17" fmla="*/ 426597 h 434793"/>
              <a:gd name="connsiteX18" fmla="*/ 214599 w 1422394"/>
              <a:gd name="connsiteY18" fmla="*/ 408894 h 434793"/>
              <a:gd name="connsiteX19" fmla="*/ 248762 w 1422394"/>
              <a:gd name="connsiteY19" fmla="*/ 387683 h 434793"/>
              <a:gd name="connsiteX20" fmla="*/ 248358 w 1422394"/>
              <a:gd name="connsiteY20" fmla="*/ 384577 h 434793"/>
              <a:gd name="connsiteX21" fmla="*/ 223078 w 1422394"/>
              <a:gd name="connsiteY21" fmla="*/ 389329 h 434793"/>
              <a:gd name="connsiteX22" fmla="*/ 202767 w 1422394"/>
              <a:gd name="connsiteY22" fmla="*/ 402994 h 434793"/>
              <a:gd name="connsiteX23" fmla="*/ 165499 w 1422394"/>
              <a:gd name="connsiteY23" fmla="*/ 417528 h 434793"/>
              <a:gd name="connsiteX24" fmla="*/ 139163 w 1422394"/>
              <a:gd name="connsiteY24" fmla="*/ 415634 h 434793"/>
              <a:gd name="connsiteX25" fmla="*/ 105777 w 1422394"/>
              <a:gd name="connsiteY25" fmla="*/ 395882 h 434793"/>
              <a:gd name="connsiteX26" fmla="*/ 106522 w 1422394"/>
              <a:gd name="connsiteY26" fmla="*/ 395571 h 434793"/>
              <a:gd name="connsiteX27" fmla="*/ 108603 w 1422394"/>
              <a:gd name="connsiteY27" fmla="*/ 396596 h 434793"/>
              <a:gd name="connsiteX28" fmla="*/ 152859 w 1422394"/>
              <a:gd name="connsiteY28" fmla="*/ 401751 h 434793"/>
              <a:gd name="connsiteX29" fmla="*/ 182704 w 1422394"/>
              <a:gd name="connsiteY29" fmla="*/ 391409 h 434793"/>
              <a:gd name="connsiteX30" fmla="*/ 203698 w 1422394"/>
              <a:gd name="connsiteY30" fmla="*/ 382807 h 434793"/>
              <a:gd name="connsiteX31" fmla="*/ 259973 w 1422394"/>
              <a:gd name="connsiteY31" fmla="*/ 381564 h 434793"/>
              <a:gd name="connsiteX32" fmla="*/ 260936 w 1422394"/>
              <a:gd name="connsiteY32" fmla="*/ 381720 h 434793"/>
              <a:gd name="connsiteX33" fmla="*/ 261899 w 1422394"/>
              <a:gd name="connsiteY33" fmla="*/ 381564 h 434793"/>
              <a:gd name="connsiteX34" fmla="*/ 318173 w 1422394"/>
              <a:gd name="connsiteY34" fmla="*/ 382807 h 434793"/>
              <a:gd name="connsiteX35" fmla="*/ 339167 w 1422394"/>
              <a:gd name="connsiteY35" fmla="*/ 391409 h 434793"/>
              <a:gd name="connsiteX36" fmla="*/ 368982 w 1422394"/>
              <a:gd name="connsiteY36" fmla="*/ 401751 h 434793"/>
              <a:gd name="connsiteX37" fmla="*/ 413082 w 1422394"/>
              <a:gd name="connsiteY37" fmla="*/ 396503 h 434793"/>
              <a:gd name="connsiteX38" fmla="*/ 459760 w 1422394"/>
              <a:gd name="connsiteY38" fmla="*/ 355197 h 434793"/>
              <a:gd name="connsiteX39" fmla="*/ 439760 w 1422394"/>
              <a:gd name="connsiteY39" fmla="*/ 365757 h 434793"/>
              <a:gd name="connsiteX40" fmla="*/ 408268 w 1422394"/>
              <a:gd name="connsiteY40" fmla="*/ 370384 h 434793"/>
              <a:gd name="connsiteX41" fmla="*/ 367243 w 1422394"/>
              <a:gd name="connsiteY41" fmla="*/ 373924 h 434793"/>
              <a:gd name="connsiteX42" fmla="*/ 367025 w 1422394"/>
              <a:gd name="connsiteY42" fmla="*/ 373924 h 434793"/>
              <a:gd name="connsiteX43" fmla="*/ 366031 w 1422394"/>
              <a:gd name="connsiteY43" fmla="*/ 373428 h 434793"/>
              <a:gd name="connsiteX44" fmla="*/ 366249 w 1422394"/>
              <a:gd name="connsiteY44" fmla="*/ 373272 h 434793"/>
              <a:gd name="connsiteX45" fmla="*/ 393020 w 1422394"/>
              <a:gd name="connsiteY45" fmla="*/ 347402 h 434793"/>
              <a:gd name="connsiteX46" fmla="*/ 406436 w 1422394"/>
              <a:gd name="connsiteY46" fmla="*/ 320445 h 434793"/>
              <a:gd name="connsiteX47" fmla="*/ 406436 w 1422394"/>
              <a:gd name="connsiteY47" fmla="*/ 319731 h 434793"/>
              <a:gd name="connsiteX48" fmla="*/ 385970 w 1422394"/>
              <a:gd name="connsiteY48" fmla="*/ 337184 h 434793"/>
              <a:gd name="connsiteX49" fmla="*/ 363671 w 1422394"/>
              <a:gd name="connsiteY49" fmla="*/ 358924 h 434793"/>
              <a:gd name="connsiteX50" fmla="*/ 328608 w 1422394"/>
              <a:gd name="connsiteY50" fmla="*/ 376813 h 434793"/>
              <a:gd name="connsiteX51" fmla="*/ 328142 w 1422394"/>
              <a:gd name="connsiteY51" fmla="*/ 377030 h 434793"/>
              <a:gd name="connsiteX52" fmla="*/ 327832 w 1422394"/>
              <a:gd name="connsiteY52" fmla="*/ 377589 h 434793"/>
              <a:gd name="connsiteX53" fmla="*/ 327832 w 1422394"/>
              <a:gd name="connsiteY53" fmla="*/ 377589 h 434793"/>
              <a:gd name="connsiteX54" fmla="*/ 328111 w 1422394"/>
              <a:gd name="connsiteY54" fmla="*/ 377589 h 434793"/>
              <a:gd name="connsiteX55" fmla="*/ 353826 w 1422394"/>
              <a:gd name="connsiteY55" fmla="*/ 383583 h 434793"/>
              <a:gd name="connsiteX56" fmla="*/ 386964 w 1422394"/>
              <a:gd name="connsiteY56" fmla="*/ 389794 h 434793"/>
              <a:gd name="connsiteX57" fmla="*/ 460754 w 1422394"/>
              <a:gd name="connsiteY57" fmla="*/ 355259 h 434793"/>
              <a:gd name="connsiteX58" fmla="*/ 460754 w 1422394"/>
              <a:gd name="connsiteY58" fmla="*/ 355259 h 434793"/>
              <a:gd name="connsiteX59" fmla="*/ 459760 w 1422394"/>
              <a:gd name="connsiteY59" fmla="*/ 355104 h 434793"/>
              <a:gd name="connsiteX60" fmla="*/ 501438 w 1422394"/>
              <a:gd name="connsiteY60" fmla="*/ 291221 h 434793"/>
              <a:gd name="connsiteX61" fmla="*/ 477556 w 1422394"/>
              <a:gd name="connsiteY61" fmla="*/ 312091 h 434793"/>
              <a:gd name="connsiteX62" fmla="*/ 453021 w 1422394"/>
              <a:gd name="connsiteY62" fmla="*/ 325445 h 434793"/>
              <a:gd name="connsiteX63" fmla="*/ 422896 w 1422394"/>
              <a:gd name="connsiteY63" fmla="*/ 343147 h 434793"/>
              <a:gd name="connsiteX64" fmla="*/ 421157 w 1422394"/>
              <a:gd name="connsiteY64" fmla="*/ 344483 h 434793"/>
              <a:gd name="connsiteX65" fmla="*/ 420846 w 1422394"/>
              <a:gd name="connsiteY65" fmla="*/ 343893 h 434793"/>
              <a:gd name="connsiteX66" fmla="*/ 439480 w 1422394"/>
              <a:gd name="connsiteY66" fmla="*/ 298954 h 434793"/>
              <a:gd name="connsiteX67" fmla="*/ 444574 w 1422394"/>
              <a:gd name="connsiteY67" fmla="*/ 266903 h 434793"/>
              <a:gd name="connsiteX68" fmla="*/ 444356 w 1422394"/>
              <a:gd name="connsiteY68" fmla="*/ 266096 h 434793"/>
              <a:gd name="connsiteX69" fmla="*/ 444356 w 1422394"/>
              <a:gd name="connsiteY69" fmla="*/ 266096 h 434793"/>
              <a:gd name="connsiteX70" fmla="*/ 421654 w 1422394"/>
              <a:gd name="connsiteY70" fmla="*/ 307339 h 434793"/>
              <a:gd name="connsiteX71" fmla="*/ 413269 w 1422394"/>
              <a:gd name="connsiteY71" fmla="*/ 331470 h 434793"/>
              <a:gd name="connsiteX72" fmla="*/ 395815 w 1422394"/>
              <a:gd name="connsiteY72" fmla="*/ 360788 h 434793"/>
              <a:gd name="connsiteX73" fmla="*/ 395069 w 1422394"/>
              <a:gd name="connsiteY73" fmla="*/ 361595 h 434793"/>
              <a:gd name="connsiteX74" fmla="*/ 395069 w 1422394"/>
              <a:gd name="connsiteY74" fmla="*/ 362092 h 434793"/>
              <a:gd name="connsiteX75" fmla="*/ 395069 w 1422394"/>
              <a:gd name="connsiteY75" fmla="*/ 362092 h 434793"/>
              <a:gd name="connsiteX76" fmla="*/ 397833 w 1422394"/>
              <a:gd name="connsiteY76" fmla="*/ 361626 h 434793"/>
              <a:gd name="connsiteX77" fmla="*/ 425784 w 1422394"/>
              <a:gd name="connsiteY77" fmla="*/ 355912 h 434793"/>
              <a:gd name="connsiteX78" fmla="*/ 467276 w 1422394"/>
              <a:gd name="connsiteY78" fmla="*/ 338147 h 434793"/>
              <a:gd name="connsiteX79" fmla="*/ 497618 w 1422394"/>
              <a:gd name="connsiteY79" fmla="*/ 302681 h 434793"/>
              <a:gd name="connsiteX80" fmla="*/ 502246 w 1422394"/>
              <a:gd name="connsiteY80" fmla="*/ 291128 h 434793"/>
              <a:gd name="connsiteX81" fmla="*/ 501438 w 1422394"/>
              <a:gd name="connsiteY81" fmla="*/ 291221 h 434793"/>
              <a:gd name="connsiteX82" fmla="*/ 519669 w 1422394"/>
              <a:gd name="connsiteY82" fmla="*/ 219480 h 434793"/>
              <a:gd name="connsiteX83" fmla="*/ 497929 w 1422394"/>
              <a:gd name="connsiteY83" fmla="*/ 253642 h 434793"/>
              <a:gd name="connsiteX84" fmla="*/ 466251 w 1422394"/>
              <a:gd name="connsiteY84" fmla="*/ 289668 h 434793"/>
              <a:gd name="connsiteX85" fmla="*/ 465692 w 1422394"/>
              <a:gd name="connsiteY85" fmla="*/ 289264 h 434793"/>
              <a:gd name="connsiteX86" fmla="*/ 468798 w 1422394"/>
              <a:gd name="connsiteY86" fmla="*/ 248890 h 434793"/>
              <a:gd name="connsiteX87" fmla="*/ 460723 w 1422394"/>
              <a:gd name="connsiteY87" fmla="*/ 210970 h 434793"/>
              <a:gd name="connsiteX88" fmla="*/ 460164 w 1422394"/>
              <a:gd name="connsiteY88" fmla="*/ 210349 h 434793"/>
              <a:gd name="connsiteX89" fmla="*/ 459667 w 1422394"/>
              <a:gd name="connsiteY89" fmla="*/ 211685 h 434793"/>
              <a:gd name="connsiteX90" fmla="*/ 453766 w 1422394"/>
              <a:gd name="connsiteY90" fmla="*/ 239449 h 434793"/>
              <a:gd name="connsiteX91" fmla="*/ 454388 w 1422394"/>
              <a:gd name="connsiteY91" fmla="*/ 277307 h 434793"/>
              <a:gd name="connsiteX92" fmla="*/ 446127 w 1422394"/>
              <a:gd name="connsiteY92" fmla="*/ 316625 h 434793"/>
              <a:gd name="connsiteX93" fmla="*/ 446127 w 1422394"/>
              <a:gd name="connsiteY93" fmla="*/ 316811 h 434793"/>
              <a:gd name="connsiteX94" fmla="*/ 446344 w 1422394"/>
              <a:gd name="connsiteY94" fmla="*/ 317774 h 434793"/>
              <a:gd name="connsiteX95" fmla="*/ 446344 w 1422394"/>
              <a:gd name="connsiteY95" fmla="*/ 317774 h 434793"/>
              <a:gd name="connsiteX96" fmla="*/ 474916 w 1422394"/>
              <a:gd name="connsiteY96" fmla="*/ 299917 h 434793"/>
              <a:gd name="connsiteX97" fmla="*/ 505072 w 1422394"/>
              <a:gd name="connsiteY97" fmla="*/ 271127 h 434793"/>
              <a:gd name="connsiteX98" fmla="*/ 520600 w 1422394"/>
              <a:gd name="connsiteY98" fmla="*/ 221002 h 434793"/>
              <a:gd name="connsiteX99" fmla="*/ 520600 w 1422394"/>
              <a:gd name="connsiteY99" fmla="*/ 219200 h 434793"/>
              <a:gd name="connsiteX100" fmla="*/ 519669 w 1422394"/>
              <a:gd name="connsiteY100" fmla="*/ 219480 h 434793"/>
              <a:gd name="connsiteX101" fmla="*/ 489482 w 1422394"/>
              <a:gd name="connsiteY101" fmla="*/ 227213 h 434793"/>
              <a:gd name="connsiteX102" fmla="*/ 489264 w 1422394"/>
              <a:gd name="connsiteY102" fmla="*/ 227461 h 434793"/>
              <a:gd name="connsiteX103" fmla="*/ 488829 w 1422394"/>
              <a:gd name="connsiteY103" fmla="*/ 227120 h 434793"/>
              <a:gd name="connsiteX104" fmla="*/ 489078 w 1422394"/>
              <a:gd name="connsiteY104" fmla="*/ 215598 h 434793"/>
              <a:gd name="connsiteX105" fmla="*/ 472897 w 1422394"/>
              <a:gd name="connsiteY105" fmla="*/ 179914 h 434793"/>
              <a:gd name="connsiteX106" fmla="*/ 460040 w 1422394"/>
              <a:gd name="connsiteY106" fmla="*/ 157056 h 434793"/>
              <a:gd name="connsiteX107" fmla="*/ 459326 w 1422394"/>
              <a:gd name="connsiteY107" fmla="*/ 156745 h 434793"/>
              <a:gd name="connsiteX108" fmla="*/ 459760 w 1422394"/>
              <a:gd name="connsiteY108" fmla="*/ 164447 h 434793"/>
              <a:gd name="connsiteX109" fmla="*/ 474202 w 1422394"/>
              <a:gd name="connsiteY109" fmla="*/ 220660 h 434793"/>
              <a:gd name="connsiteX110" fmla="*/ 479233 w 1422394"/>
              <a:gd name="connsiteY110" fmla="*/ 256220 h 434793"/>
              <a:gd name="connsiteX111" fmla="*/ 479512 w 1422394"/>
              <a:gd name="connsiteY111" fmla="*/ 257711 h 434793"/>
              <a:gd name="connsiteX112" fmla="*/ 479512 w 1422394"/>
              <a:gd name="connsiteY112" fmla="*/ 257711 h 434793"/>
              <a:gd name="connsiteX113" fmla="*/ 497432 w 1422394"/>
              <a:gd name="connsiteY113" fmla="*/ 236406 h 434793"/>
              <a:gd name="connsiteX114" fmla="*/ 517433 w 1422394"/>
              <a:gd name="connsiteY114" fmla="*/ 152273 h 434793"/>
              <a:gd name="connsiteX115" fmla="*/ 515228 w 1422394"/>
              <a:gd name="connsiteY115" fmla="*/ 146714 h 434793"/>
              <a:gd name="connsiteX116" fmla="*/ 514606 w 1422394"/>
              <a:gd name="connsiteY116" fmla="*/ 147428 h 434793"/>
              <a:gd name="connsiteX117" fmla="*/ 492494 w 1422394"/>
              <a:gd name="connsiteY117" fmla="*/ 215753 h 434793"/>
              <a:gd name="connsiteX118" fmla="*/ 489482 w 1422394"/>
              <a:gd name="connsiteY118" fmla="*/ 227182 h 434793"/>
              <a:gd name="connsiteX119" fmla="*/ 465102 w 1422394"/>
              <a:gd name="connsiteY119" fmla="*/ 126620 h 434793"/>
              <a:gd name="connsiteX120" fmla="*/ 447866 w 1422394"/>
              <a:gd name="connsiteY120" fmla="*/ 107396 h 434793"/>
              <a:gd name="connsiteX121" fmla="*/ 447679 w 1422394"/>
              <a:gd name="connsiteY121" fmla="*/ 107241 h 434793"/>
              <a:gd name="connsiteX122" fmla="*/ 446965 w 1422394"/>
              <a:gd name="connsiteY122" fmla="*/ 107241 h 434793"/>
              <a:gd name="connsiteX123" fmla="*/ 446592 w 1422394"/>
              <a:gd name="connsiteY123" fmla="*/ 107241 h 434793"/>
              <a:gd name="connsiteX124" fmla="*/ 454201 w 1422394"/>
              <a:gd name="connsiteY124" fmla="*/ 129509 h 434793"/>
              <a:gd name="connsiteX125" fmla="*/ 471282 w 1422394"/>
              <a:gd name="connsiteY125" fmla="*/ 155410 h 434793"/>
              <a:gd name="connsiteX126" fmla="*/ 472618 w 1422394"/>
              <a:gd name="connsiteY126" fmla="*/ 157211 h 434793"/>
              <a:gd name="connsiteX127" fmla="*/ 491252 w 1422394"/>
              <a:gd name="connsiteY127" fmla="*/ 192864 h 434793"/>
              <a:gd name="connsiteX128" fmla="*/ 491904 w 1422394"/>
              <a:gd name="connsiteY128" fmla="*/ 193268 h 434793"/>
              <a:gd name="connsiteX129" fmla="*/ 499823 w 1422394"/>
              <a:gd name="connsiteY129" fmla="*/ 168423 h 434793"/>
              <a:gd name="connsiteX130" fmla="*/ 506873 w 1422394"/>
              <a:gd name="connsiteY130" fmla="*/ 141776 h 434793"/>
              <a:gd name="connsiteX131" fmla="*/ 490475 w 1422394"/>
              <a:gd name="connsiteY131" fmla="*/ 77768 h 434793"/>
              <a:gd name="connsiteX132" fmla="*/ 490134 w 1422394"/>
              <a:gd name="connsiteY132" fmla="*/ 78514 h 434793"/>
              <a:gd name="connsiteX133" fmla="*/ 490724 w 1422394"/>
              <a:gd name="connsiteY133" fmla="*/ 80470 h 434793"/>
              <a:gd name="connsiteX134" fmla="*/ 491469 w 1422394"/>
              <a:gd name="connsiteY134" fmla="*/ 83296 h 434793"/>
              <a:gd name="connsiteX135" fmla="*/ 492028 w 1422394"/>
              <a:gd name="connsiteY135" fmla="*/ 118732 h 434793"/>
              <a:gd name="connsiteX136" fmla="*/ 489419 w 1422394"/>
              <a:gd name="connsiteY136" fmla="*/ 146931 h 434793"/>
              <a:gd name="connsiteX137" fmla="*/ 490351 w 1422394"/>
              <a:gd name="connsiteY137" fmla="*/ 160627 h 434793"/>
              <a:gd name="connsiteX138" fmla="*/ 489637 w 1422394"/>
              <a:gd name="connsiteY138" fmla="*/ 160627 h 434793"/>
              <a:gd name="connsiteX139" fmla="*/ 486531 w 1422394"/>
              <a:gd name="connsiteY139" fmla="*/ 152739 h 434793"/>
              <a:gd name="connsiteX140" fmla="*/ 484730 w 1422394"/>
              <a:gd name="connsiteY140" fmla="*/ 148671 h 434793"/>
              <a:gd name="connsiteX141" fmla="*/ 465102 w 1422394"/>
              <a:gd name="connsiteY141" fmla="*/ 126620 h 434793"/>
              <a:gd name="connsiteX142" fmla="*/ 451406 w 1422394"/>
              <a:gd name="connsiteY142" fmla="*/ 40438 h 434793"/>
              <a:gd name="connsiteX143" fmla="*/ 460723 w 1422394"/>
              <a:gd name="connsiteY143" fmla="*/ 53762 h 434793"/>
              <a:gd name="connsiteX144" fmla="*/ 467369 w 1422394"/>
              <a:gd name="connsiteY144" fmla="*/ 83017 h 434793"/>
              <a:gd name="connsiteX145" fmla="*/ 471500 w 1422394"/>
              <a:gd name="connsiteY145" fmla="*/ 98794 h 434793"/>
              <a:gd name="connsiteX146" fmla="*/ 470785 w 1422394"/>
              <a:gd name="connsiteY146" fmla="*/ 99073 h 434793"/>
              <a:gd name="connsiteX147" fmla="*/ 470630 w 1422394"/>
              <a:gd name="connsiteY147" fmla="*/ 98887 h 434793"/>
              <a:gd name="connsiteX148" fmla="*/ 444977 w 1422394"/>
              <a:gd name="connsiteY148" fmla="*/ 77644 h 434793"/>
              <a:gd name="connsiteX149" fmla="*/ 428238 w 1422394"/>
              <a:gd name="connsiteY149" fmla="*/ 62613 h 434793"/>
              <a:gd name="connsiteX150" fmla="*/ 425691 w 1422394"/>
              <a:gd name="connsiteY150" fmla="*/ 59259 h 434793"/>
              <a:gd name="connsiteX151" fmla="*/ 424946 w 1422394"/>
              <a:gd name="connsiteY151" fmla="*/ 59041 h 434793"/>
              <a:gd name="connsiteX152" fmla="*/ 425132 w 1422394"/>
              <a:gd name="connsiteY152" fmla="*/ 60439 h 434793"/>
              <a:gd name="connsiteX153" fmla="*/ 439822 w 1422394"/>
              <a:gd name="connsiteY153" fmla="*/ 89259 h 434793"/>
              <a:gd name="connsiteX154" fmla="*/ 459046 w 1422394"/>
              <a:gd name="connsiteY154" fmla="*/ 105409 h 434793"/>
              <a:gd name="connsiteX155" fmla="*/ 481593 w 1422394"/>
              <a:gd name="connsiteY155" fmla="*/ 128794 h 434793"/>
              <a:gd name="connsiteX156" fmla="*/ 481593 w 1422394"/>
              <a:gd name="connsiteY156" fmla="*/ 128794 h 434793"/>
              <a:gd name="connsiteX157" fmla="*/ 482121 w 1422394"/>
              <a:gd name="connsiteY157" fmla="*/ 128794 h 434793"/>
              <a:gd name="connsiteX158" fmla="*/ 482121 w 1422394"/>
              <a:gd name="connsiteY158" fmla="*/ 128794 h 434793"/>
              <a:gd name="connsiteX159" fmla="*/ 481904 w 1422394"/>
              <a:gd name="connsiteY159" fmla="*/ 121279 h 434793"/>
              <a:gd name="connsiteX160" fmla="*/ 482525 w 1422394"/>
              <a:gd name="connsiteY160" fmla="*/ 98390 h 434793"/>
              <a:gd name="connsiteX161" fmla="*/ 482711 w 1422394"/>
              <a:gd name="connsiteY161" fmla="*/ 90533 h 434793"/>
              <a:gd name="connsiteX162" fmla="*/ 478550 w 1422394"/>
              <a:gd name="connsiteY162" fmla="*/ 67613 h 434793"/>
              <a:gd name="connsiteX163" fmla="*/ 453425 w 1422394"/>
              <a:gd name="connsiteY163" fmla="*/ 40159 h 434793"/>
              <a:gd name="connsiteX164" fmla="*/ 451220 w 1422394"/>
              <a:gd name="connsiteY164" fmla="*/ 39320 h 434793"/>
              <a:gd name="connsiteX165" fmla="*/ 451220 w 1422394"/>
              <a:gd name="connsiteY165" fmla="*/ 40159 h 434793"/>
              <a:gd name="connsiteX166" fmla="*/ 451406 w 1422394"/>
              <a:gd name="connsiteY166" fmla="*/ 40438 h 434793"/>
              <a:gd name="connsiteX167" fmla="*/ 402275 w 1422394"/>
              <a:gd name="connsiteY167" fmla="*/ 17767 h 434793"/>
              <a:gd name="connsiteX168" fmla="*/ 419790 w 1422394"/>
              <a:gd name="connsiteY168" fmla="*/ 38637 h 434793"/>
              <a:gd name="connsiteX169" fmla="*/ 436219 w 1422394"/>
              <a:gd name="connsiteY169" fmla="*/ 59072 h 434793"/>
              <a:gd name="connsiteX170" fmla="*/ 456841 w 1422394"/>
              <a:gd name="connsiteY170" fmla="*/ 76122 h 434793"/>
              <a:gd name="connsiteX171" fmla="*/ 456841 w 1422394"/>
              <a:gd name="connsiteY171" fmla="*/ 76122 h 434793"/>
              <a:gd name="connsiteX172" fmla="*/ 457121 w 1422394"/>
              <a:gd name="connsiteY172" fmla="*/ 76122 h 434793"/>
              <a:gd name="connsiteX173" fmla="*/ 457121 w 1422394"/>
              <a:gd name="connsiteY173" fmla="*/ 75967 h 434793"/>
              <a:gd name="connsiteX174" fmla="*/ 433549 w 1422394"/>
              <a:gd name="connsiteY174" fmla="*/ 31556 h 434793"/>
              <a:gd name="connsiteX175" fmla="*/ 400411 w 1422394"/>
              <a:gd name="connsiteY175" fmla="*/ 15500 h 434793"/>
              <a:gd name="connsiteX176" fmla="*/ 400411 w 1422394"/>
              <a:gd name="connsiteY176" fmla="*/ 16307 h 434793"/>
              <a:gd name="connsiteX177" fmla="*/ 402275 w 1422394"/>
              <a:gd name="connsiteY177" fmla="*/ 17767 h 434793"/>
              <a:gd name="connsiteX178" fmla="*/ 134597 w 1422394"/>
              <a:gd name="connsiteY178" fmla="*/ 389763 h 434793"/>
              <a:gd name="connsiteX179" fmla="*/ 167735 w 1422394"/>
              <a:gd name="connsiteY179" fmla="*/ 383552 h 434793"/>
              <a:gd name="connsiteX180" fmla="*/ 193450 w 1422394"/>
              <a:gd name="connsiteY180" fmla="*/ 377558 h 434793"/>
              <a:gd name="connsiteX181" fmla="*/ 193729 w 1422394"/>
              <a:gd name="connsiteY181" fmla="*/ 377558 h 434793"/>
              <a:gd name="connsiteX182" fmla="*/ 193729 w 1422394"/>
              <a:gd name="connsiteY182" fmla="*/ 377558 h 434793"/>
              <a:gd name="connsiteX183" fmla="*/ 193419 w 1422394"/>
              <a:gd name="connsiteY183" fmla="*/ 376999 h 434793"/>
              <a:gd name="connsiteX184" fmla="*/ 192953 w 1422394"/>
              <a:gd name="connsiteY184" fmla="*/ 376782 h 434793"/>
              <a:gd name="connsiteX185" fmla="*/ 157890 w 1422394"/>
              <a:gd name="connsiteY185" fmla="*/ 358893 h 434793"/>
              <a:gd name="connsiteX186" fmla="*/ 135591 w 1422394"/>
              <a:gd name="connsiteY186" fmla="*/ 337153 h 434793"/>
              <a:gd name="connsiteX187" fmla="*/ 115125 w 1422394"/>
              <a:gd name="connsiteY187" fmla="*/ 319700 h 434793"/>
              <a:gd name="connsiteX188" fmla="*/ 114970 w 1422394"/>
              <a:gd name="connsiteY188" fmla="*/ 320414 h 434793"/>
              <a:gd name="connsiteX189" fmla="*/ 128386 w 1422394"/>
              <a:gd name="connsiteY189" fmla="*/ 347371 h 434793"/>
              <a:gd name="connsiteX190" fmla="*/ 155157 w 1422394"/>
              <a:gd name="connsiteY190" fmla="*/ 373241 h 434793"/>
              <a:gd name="connsiteX191" fmla="*/ 155374 w 1422394"/>
              <a:gd name="connsiteY191" fmla="*/ 373397 h 434793"/>
              <a:gd name="connsiteX192" fmla="*/ 154380 w 1422394"/>
              <a:gd name="connsiteY192" fmla="*/ 373893 h 434793"/>
              <a:gd name="connsiteX193" fmla="*/ 154163 w 1422394"/>
              <a:gd name="connsiteY193" fmla="*/ 373893 h 434793"/>
              <a:gd name="connsiteX194" fmla="*/ 113230 w 1422394"/>
              <a:gd name="connsiteY194" fmla="*/ 370384 h 434793"/>
              <a:gd name="connsiteX195" fmla="*/ 81770 w 1422394"/>
              <a:gd name="connsiteY195" fmla="*/ 365663 h 434793"/>
              <a:gd name="connsiteX196" fmla="*/ 61770 w 1422394"/>
              <a:gd name="connsiteY196" fmla="*/ 355104 h 434793"/>
              <a:gd name="connsiteX197" fmla="*/ 60838 w 1422394"/>
              <a:gd name="connsiteY197" fmla="*/ 355104 h 434793"/>
              <a:gd name="connsiteX198" fmla="*/ 60838 w 1422394"/>
              <a:gd name="connsiteY198" fmla="*/ 355104 h 434793"/>
              <a:gd name="connsiteX199" fmla="*/ 134628 w 1422394"/>
              <a:gd name="connsiteY199" fmla="*/ 389639 h 434793"/>
              <a:gd name="connsiteX200" fmla="*/ 123976 w 1422394"/>
              <a:gd name="connsiteY200" fmla="*/ 361812 h 434793"/>
              <a:gd name="connsiteX201" fmla="*/ 126740 w 1422394"/>
              <a:gd name="connsiteY201" fmla="*/ 362278 h 434793"/>
              <a:gd name="connsiteX202" fmla="*/ 126740 w 1422394"/>
              <a:gd name="connsiteY202" fmla="*/ 362278 h 434793"/>
              <a:gd name="connsiteX203" fmla="*/ 126585 w 1422394"/>
              <a:gd name="connsiteY203" fmla="*/ 361812 h 434793"/>
              <a:gd name="connsiteX204" fmla="*/ 125839 w 1422394"/>
              <a:gd name="connsiteY204" fmla="*/ 361005 h 434793"/>
              <a:gd name="connsiteX205" fmla="*/ 108386 w 1422394"/>
              <a:gd name="connsiteY205" fmla="*/ 331687 h 434793"/>
              <a:gd name="connsiteX206" fmla="*/ 100000 w 1422394"/>
              <a:gd name="connsiteY206" fmla="*/ 307556 h 434793"/>
              <a:gd name="connsiteX207" fmla="*/ 77298 w 1422394"/>
              <a:gd name="connsiteY207" fmla="*/ 266313 h 434793"/>
              <a:gd name="connsiteX208" fmla="*/ 77298 w 1422394"/>
              <a:gd name="connsiteY208" fmla="*/ 266313 h 434793"/>
              <a:gd name="connsiteX209" fmla="*/ 77080 w 1422394"/>
              <a:gd name="connsiteY209" fmla="*/ 267121 h 434793"/>
              <a:gd name="connsiteX210" fmla="*/ 82174 w 1422394"/>
              <a:gd name="connsiteY210" fmla="*/ 299171 h 434793"/>
              <a:gd name="connsiteX211" fmla="*/ 100808 w 1422394"/>
              <a:gd name="connsiteY211" fmla="*/ 344110 h 434793"/>
              <a:gd name="connsiteX212" fmla="*/ 100497 w 1422394"/>
              <a:gd name="connsiteY212" fmla="*/ 344700 h 434793"/>
              <a:gd name="connsiteX213" fmla="*/ 98758 w 1422394"/>
              <a:gd name="connsiteY213" fmla="*/ 343365 h 434793"/>
              <a:gd name="connsiteX214" fmla="*/ 68633 w 1422394"/>
              <a:gd name="connsiteY214" fmla="*/ 325662 h 434793"/>
              <a:gd name="connsiteX215" fmla="*/ 44098 w 1422394"/>
              <a:gd name="connsiteY215" fmla="*/ 312308 h 434793"/>
              <a:gd name="connsiteX216" fmla="*/ 20060 w 1422394"/>
              <a:gd name="connsiteY216" fmla="*/ 291221 h 434793"/>
              <a:gd name="connsiteX217" fmla="*/ 19191 w 1422394"/>
              <a:gd name="connsiteY217" fmla="*/ 291221 h 434793"/>
              <a:gd name="connsiteX218" fmla="*/ 23818 w 1422394"/>
              <a:gd name="connsiteY218" fmla="*/ 302774 h 434793"/>
              <a:gd name="connsiteX219" fmla="*/ 54223 w 1422394"/>
              <a:gd name="connsiteY219" fmla="*/ 338147 h 434793"/>
              <a:gd name="connsiteX220" fmla="*/ 96056 w 1422394"/>
              <a:gd name="connsiteY220" fmla="*/ 356129 h 434793"/>
              <a:gd name="connsiteX221" fmla="*/ 123976 w 1422394"/>
              <a:gd name="connsiteY221" fmla="*/ 361719 h 434793"/>
              <a:gd name="connsiteX222" fmla="*/ 46831 w 1422394"/>
              <a:gd name="connsiteY222" fmla="*/ 299699 h 434793"/>
              <a:gd name="connsiteX223" fmla="*/ 75403 w 1422394"/>
              <a:gd name="connsiteY223" fmla="*/ 317557 h 434793"/>
              <a:gd name="connsiteX224" fmla="*/ 75403 w 1422394"/>
              <a:gd name="connsiteY224" fmla="*/ 317557 h 434793"/>
              <a:gd name="connsiteX225" fmla="*/ 75621 w 1422394"/>
              <a:gd name="connsiteY225" fmla="*/ 316594 h 434793"/>
              <a:gd name="connsiteX226" fmla="*/ 75621 w 1422394"/>
              <a:gd name="connsiteY226" fmla="*/ 316408 h 434793"/>
              <a:gd name="connsiteX227" fmla="*/ 67360 w 1422394"/>
              <a:gd name="connsiteY227" fmla="*/ 277090 h 434793"/>
              <a:gd name="connsiteX228" fmla="*/ 67981 w 1422394"/>
              <a:gd name="connsiteY228" fmla="*/ 239232 h 434793"/>
              <a:gd name="connsiteX229" fmla="*/ 62080 w 1422394"/>
              <a:gd name="connsiteY229" fmla="*/ 211467 h 434793"/>
              <a:gd name="connsiteX230" fmla="*/ 61583 w 1422394"/>
              <a:gd name="connsiteY230" fmla="*/ 210132 h 434793"/>
              <a:gd name="connsiteX231" fmla="*/ 61024 w 1422394"/>
              <a:gd name="connsiteY231" fmla="*/ 210753 h 434793"/>
              <a:gd name="connsiteX232" fmla="*/ 52949 w 1422394"/>
              <a:gd name="connsiteY232" fmla="*/ 248673 h 434793"/>
              <a:gd name="connsiteX233" fmla="*/ 56055 w 1422394"/>
              <a:gd name="connsiteY233" fmla="*/ 289047 h 434793"/>
              <a:gd name="connsiteX234" fmla="*/ 55496 w 1422394"/>
              <a:gd name="connsiteY234" fmla="*/ 289450 h 434793"/>
              <a:gd name="connsiteX235" fmla="*/ 23663 w 1422394"/>
              <a:gd name="connsiteY235" fmla="*/ 253642 h 434793"/>
              <a:gd name="connsiteX236" fmla="*/ 1923 w 1422394"/>
              <a:gd name="connsiteY236" fmla="*/ 219480 h 434793"/>
              <a:gd name="connsiteX237" fmla="*/ 1240 w 1422394"/>
              <a:gd name="connsiteY237" fmla="*/ 219045 h 434793"/>
              <a:gd name="connsiteX238" fmla="*/ 1240 w 1422394"/>
              <a:gd name="connsiteY238" fmla="*/ 220846 h 434793"/>
              <a:gd name="connsiteX239" fmla="*/ 16768 w 1422394"/>
              <a:gd name="connsiteY239" fmla="*/ 270972 h 434793"/>
              <a:gd name="connsiteX240" fmla="*/ 46831 w 1422394"/>
              <a:gd name="connsiteY240" fmla="*/ 299730 h 434793"/>
              <a:gd name="connsiteX241" fmla="*/ 41800 w 1422394"/>
              <a:gd name="connsiteY241" fmla="*/ 257679 h 434793"/>
              <a:gd name="connsiteX242" fmla="*/ 41800 w 1422394"/>
              <a:gd name="connsiteY242" fmla="*/ 257679 h 434793"/>
              <a:gd name="connsiteX243" fmla="*/ 42080 w 1422394"/>
              <a:gd name="connsiteY243" fmla="*/ 256158 h 434793"/>
              <a:gd name="connsiteX244" fmla="*/ 47111 w 1422394"/>
              <a:gd name="connsiteY244" fmla="*/ 220598 h 434793"/>
              <a:gd name="connsiteX245" fmla="*/ 61552 w 1422394"/>
              <a:gd name="connsiteY245" fmla="*/ 164385 h 434793"/>
              <a:gd name="connsiteX246" fmla="*/ 61987 w 1422394"/>
              <a:gd name="connsiteY246" fmla="*/ 156683 h 434793"/>
              <a:gd name="connsiteX247" fmla="*/ 61273 w 1422394"/>
              <a:gd name="connsiteY247" fmla="*/ 157025 h 434793"/>
              <a:gd name="connsiteX248" fmla="*/ 48415 w 1422394"/>
              <a:gd name="connsiteY248" fmla="*/ 179852 h 434793"/>
              <a:gd name="connsiteX249" fmla="*/ 32235 w 1422394"/>
              <a:gd name="connsiteY249" fmla="*/ 215536 h 434793"/>
              <a:gd name="connsiteX250" fmla="*/ 32483 w 1422394"/>
              <a:gd name="connsiteY250" fmla="*/ 227058 h 434793"/>
              <a:gd name="connsiteX251" fmla="*/ 32048 w 1422394"/>
              <a:gd name="connsiteY251" fmla="*/ 227399 h 434793"/>
              <a:gd name="connsiteX252" fmla="*/ 31831 w 1422394"/>
              <a:gd name="connsiteY252" fmla="*/ 227151 h 434793"/>
              <a:gd name="connsiteX253" fmla="*/ 28725 w 1422394"/>
              <a:gd name="connsiteY253" fmla="*/ 215753 h 434793"/>
              <a:gd name="connsiteX254" fmla="*/ 6644 w 1422394"/>
              <a:gd name="connsiteY254" fmla="*/ 147428 h 434793"/>
              <a:gd name="connsiteX255" fmla="*/ 6023 w 1422394"/>
              <a:gd name="connsiteY255" fmla="*/ 146714 h 434793"/>
              <a:gd name="connsiteX256" fmla="*/ 3818 w 1422394"/>
              <a:gd name="connsiteY256" fmla="*/ 152273 h 434793"/>
              <a:gd name="connsiteX257" fmla="*/ 23787 w 1422394"/>
              <a:gd name="connsiteY257" fmla="*/ 236406 h 434793"/>
              <a:gd name="connsiteX258" fmla="*/ 41800 w 1422394"/>
              <a:gd name="connsiteY258" fmla="*/ 257679 h 434793"/>
              <a:gd name="connsiteX259" fmla="*/ 21613 w 1422394"/>
              <a:gd name="connsiteY259" fmla="*/ 168267 h 434793"/>
              <a:gd name="connsiteX260" fmla="*/ 29564 w 1422394"/>
              <a:gd name="connsiteY260" fmla="*/ 193113 h 434793"/>
              <a:gd name="connsiteX261" fmla="*/ 30216 w 1422394"/>
              <a:gd name="connsiteY261" fmla="*/ 192709 h 434793"/>
              <a:gd name="connsiteX262" fmla="*/ 48850 w 1422394"/>
              <a:gd name="connsiteY262" fmla="*/ 157056 h 434793"/>
              <a:gd name="connsiteX263" fmla="*/ 50185 w 1422394"/>
              <a:gd name="connsiteY263" fmla="*/ 155255 h 434793"/>
              <a:gd name="connsiteX264" fmla="*/ 67267 w 1422394"/>
              <a:gd name="connsiteY264" fmla="*/ 129353 h 434793"/>
              <a:gd name="connsiteX265" fmla="*/ 74875 w 1422394"/>
              <a:gd name="connsiteY265" fmla="*/ 107086 h 434793"/>
              <a:gd name="connsiteX266" fmla="*/ 74503 w 1422394"/>
              <a:gd name="connsiteY266" fmla="*/ 107086 h 434793"/>
              <a:gd name="connsiteX267" fmla="*/ 73788 w 1422394"/>
              <a:gd name="connsiteY267" fmla="*/ 107086 h 434793"/>
              <a:gd name="connsiteX268" fmla="*/ 73602 w 1422394"/>
              <a:gd name="connsiteY268" fmla="*/ 107241 h 434793"/>
              <a:gd name="connsiteX269" fmla="*/ 73602 w 1422394"/>
              <a:gd name="connsiteY269" fmla="*/ 107241 h 434793"/>
              <a:gd name="connsiteX270" fmla="*/ 56366 w 1422394"/>
              <a:gd name="connsiteY270" fmla="*/ 126465 h 434793"/>
              <a:gd name="connsiteX271" fmla="*/ 36676 w 1422394"/>
              <a:gd name="connsiteY271" fmla="*/ 148205 h 434793"/>
              <a:gd name="connsiteX272" fmla="*/ 34874 w 1422394"/>
              <a:gd name="connsiteY272" fmla="*/ 152273 h 434793"/>
              <a:gd name="connsiteX273" fmla="*/ 31769 w 1422394"/>
              <a:gd name="connsiteY273" fmla="*/ 160162 h 434793"/>
              <a:gd name="connsiteX274" fmla="*/ 31055 w 1422394"/>
              <a:gd name="connsiteY274" fmla="*/ 160162 h 434793"/>
              <a:gd name="connsiteX275" fmla="*/ 31986 w 1422394"/>
              <a:gd name="connsiteY275" fmla="*/ 146466 h 434793"/>
              <a:gd name="connsiteX276" fmla="*/ 29377 w 1422394"/>
              <a:gd name="connsiteY276" fmla="*/ 118266 h 434793"/>
              <a:gd name="connsiteX277" fmla="*/ 29936 w 1422394"/>
              <a:gd name="connsiteY277" fmla="*/ 82831 h 434793"/>
              <a:gd name="connsiteX278" fmla="*/ 30682 w 1422394"/>
              <a:gd name="connsiteY278" fmla="*/ 80004 h 434793"/>
              <a:gd name="connsiteX279" fmla="*/ 31272 w 1422394"/>
              <a:gd name="connsiteY279" fmla="*/ 78048 h 434793"/>
              <a:gd name="connsiteX280" fmla="*/ 30930 w 1422394"/>
              <a:gd name="connsiteY280" fmla="*/ 77302 h 434793"/>
              <a:gd name="connsiteX281" fmla="*/ 14532 w 1422394"/>
              <a:gd name="connsiteY281" fmla="*/ 141310 h 434793"/>
              <a:gd name="connsiteX282" fmla="*/ 21613 w 1422394"/>
              <a:gd name="connsiteY282" fmla="*/ 168267 h 434793"/>
              <a:gd name="connsiteX283" fmla="*/ 39533 w 1422394"/>
              <a:gd name="connsiteY283" fmla="*/ 121434 h 434793"/>
              <a:gd name="connsiteX284" fmla="*/ 39316 w 1422394"/>
              <a:gd name="connsiteY284" fmla="*/ 128950 h 434793"/>
              <a:gd name="connsiteX285" fmla="*/ 39316 w 1422394"/>
              <a:gd name="connsiteY285" fmla="*/ 128950 h 434793"/>
              <a:gd name="connsiteX286" fmla="*/ 39844 w 1422394"/>
              <a:gd name="connsiteY286" fmla="*/ 128950 h 434793"/>
              <a:gd name="connsiteX287" fmla="*/ 39844 w 1422394"/>
              <a:gd name="connsiteY287" fmla="*/ 128950 h 434793"/>
              <a:gd name="connsiteX288" fmla="*/ 62391 w 1422394"/>
              <a:gd name="connsiteY288" fmla="*/ 105564 h 434793"/>
              <a:gd name="connsiteX289" fmla="*/ 81615 w 1422394"/>
              <a:gd name="connsiteY289" fmla="*/ 89415 h 434793"/>
              <a:gd name="connsiteX290" fmla="*/ 96305 w 1422394"/>
              <a:gd name="connsiteY290" fmla="*/ 60594 h 434793"/>
              <a:gd name="connsiteX291" fmla="*/ 96491 w 1422394"/>
              <a:gd name="connsiteY291" fmla="*/ 59196 h 434793"/>
              <a:gd name="connsiteX292" fmla="*/ 95746 w 1422394"/>
              <a:gd name="connsiteY292" fmla="*/ 59414 h 434793"/>
              <a:gd name="connsiteX293" fmla="*/ 93199 w 1422394"/>
              <a:gd name="connsiteY293" fmla="*/ 62768 h 434793"/>
              <a:gd name="connsiteX294" fmla="*/ 76459 w 1422394"/>
              <a:gd name="connsiteY294" fmla="*/ 77799 h 434793"/>
              <a:gd name="connsiteX295" fmla="*/ 50807 w 1422394"/>
              <a:gd name="connsiteY295" fmla="*/ 99042 h 434793"/>
              <a:gd name="connsiteX296" fmla="*/ 50651 w 1422394"/>
              <a:gd name="connsiteY296" fmla="*/ 99228 h 434793"/>
              <a:gd name="connsiteX297" fmla="*/ 49937 w 1422394"/>
              <a:gd name="connsiteY297" fmla="*/ 98949 h 434793"/>
              <a:gd name="connsiteX298" fmla="*/ 54067 w 1422394"/>
              <a:gd name="connsiteY298" fmla="*/ 83172 h 434793"/>
              <a:gd name="connsiteX299" fmla="*/ 60745 w 1422394"/>
              <a:gd name="connsiteY299" fmla="*/ 53917 h 434793"/>
              <a:gd name="connsiteX300" fmla="*/ 70062 w 1422394"/>
              <a:gd name="connsiteY300" fmla="*/ 40594 h 434793"/>
              <a:gd name="connsiteX301" fmla="*/ 70062 w 1422394"/>
              <a:gd name="connsiteY301" fmla="*/ 40594 h 434793"/>
              <a:gd name="connsiteX302" fmla="*/ 70062 w 1422394"/>
              <a:gd name="connsiteY302" fmla="*/ 39755 h 434793"/>
              <a:gd name="connsiteX303" fmla="*/ 67857 w 1422394"/>
              <a:gd name="connsiteY303" fmla="*/ 40594 h 434793"/>
              <a:gd name="connsiteX304" fmla="*/ 42732 w 1422394"/>
              <a:gd name="connsiteY304" fmla="*/ 68048 h 434793"/>
              <a:gd name="connsiteX305" fmla="*/ 38694 w 1422394"/>
              <a:gd name="connsiteY305" fmla="*/ 90688 h 434793"/>
              <a:gd name="connsiteX306" fmla="*/ 38881 w 1422394"/>
              <a:gd name="connsiteY306" fmla="*/ 98545 h 434793"/>
              <a:gd name="connsiteX307" fmla="*/ 39533 w 1422394"/>
              <a:gd name="connsiteY307" fmla="*/ 121434 h 434793"/>
              <a:gd name="connsiteX308" fmla="*/ 64099 w 1422394"/>
              <a:gd name="connsiteY308" fmla="*/ 76216 h 434793"/>
              <a:gd name="connsiteX309" fmla="*/ 64378 w 1422394"/>
              <a:gd name="connsiteY309" fmla="*/ 76216 h 434793"/>
              <a:gd name="connsiteX310" fmla="*/ 64378 w 1422394"/>
              <a:gd name="connsiteY310" fmla="*/ 76216 h 434793"/>
              <a:gd name="connsiteX311" fmla="*/ 85000 w 1422394"/>
              <a:gd name="connsiteY311" fmla="*/ 59165 h 434793"/>
              <a:gd name="connsiteX312" fmla="*/ 101553 w 1422394"/>
              <a:gd name="connsiteY312" fmla="*/ 38730 h 434793"/>
              <a:gd name="connsiteX313" fmla="*/ 119069 w 1422394"/>
              <a:gd name="connsiteY313" fmla="*/ 17860 h 434793"/>
              <a:gd name="connsiteX314" fmla="*/ 120622 w 1422394"/>
              <a:gd name="connsiteY314" fmla="*/ 16494 h 434793"/>
              <a:gd name="connsiteX315" fmla="*/ 120622 w 1422394"/>
              <a:gd name="connsiteY315" fmla="*/ 15686 h 434793"/>
              <a:gd name="connsiteX316" fmla="*/ 87484 w 1422394"/>
              <a:gd name="connsiteY316" fmla="*/ 31742 h 434793"/>
              <a:gd name="connsiteX317" fmla="*/ 63912 w 1422394"/>
              <a:gd name="connsiteY317" fmla="*/ 76153 h 434793"/>
              <a:gd name="connsiteX318" fmla="*/ 64099 w 1422394"/>
              <a:gd name="connsiteY318" fmla="*/ 76216 h 434793"/>
              <a:gd name="connsiteX319" fmla="*/ 256091 w 1422394"/>
              <a:gd name="connsiteY319" fmla="*/ 224573 h 434793"/>
              <a:gd name="connsiteX320" fmla="*/ 253234 w 1422394"/>
              <a:gd name="connsiteY320" fmla="*/ 224791 h 434793"/>
              <a:gd name="connsiteX321" fmla="*/ 256091 w 1422394"/>
              <a:gd name="connsiteY321" fmla="*/ 224573 h 434793"/>
              <a:gd name="connsiteX322" fmla="*/ 292427 w 1422394"/>
              <a:gd name="connsiteY322" fmla="*/ 140720 h 434793"/>
              <a:gd name="connsiteX323" fmla="*/ 286682 w 1422394"/>
              <a:gd name="connsiteY323" fmla="*/ 147553 h 434793"/>
              <a:gd name="connsiteX324" fmla="*/ 292458 w 1422394"/>
              <a:gd name="connsiteY324" fmla="*/ 140565 h 434793"/>
              <a:gd name="connsiteX325" fmla="*/ 293576 w 1422394"/>
              <a:gd name="connsiteY325" fmla="*/ 139571 h 434793"/>
              <a:gd name="connsiteX326" fmla="*/ 297241 w 1422394"/>
              <a:gd name="connsiteY326" fmla="*/ 137552 h 434793"/>
              <a:gd name="connsiteX327" fmla="*/ 292365 w 1422394"/>
              <a:gd name="connsiteY327" fmla="*/ 136279 h 434793"/>
              <a:gd name="connsiteX328" fmla="*/ 293607 w 1422394"/>
              <a:gd name="connsiteY328" fmla="*/ 139416 h 434793"/>
              <a:gd name="connsiteX329" fmla="*/ 357584 w 1422394"/>
              <a:gd name="connsiteY329" fmla="*/ 195659 h 434793"/>
              <a:gd name="connsiteX330" fmla="*/ 354478 w 1422394"/>
              <a:gd name="connsiteY330" fmla="*/ 198206 h 434793"/>
              <a:gd name="connsiteX331" fmla="*/ 357584 w 1422394"/>
              <a:gd name="connsiteY331" fmla="*/ 198889 h 434793"/>
              <a:gd name="connsiteX332" fmla="*/ 357615 w 1422394"/>
              <a:gd name="connsiteY332" fmla="*/ 195504 h 434793"/>
              <a:gd name="connsiteX333" fmla="*/ 334385 w 1422394"/>
              <a:gd name="connsiteY333" fmla="*/ 135254 h 434793"/>
              <a:gd name="connsiteX334" fmla="*/ 333950 w 1422394"/>
              <a:gd name="connsiteY334" fmla="*/ 137583 h 434793"/>
              <a:gd name="connsiteX335" fmla="*/ 337459 w 1422394"/>
              <a:gd name="connsiteY335" fmla="*/ 137024 h 434793"/>
              <a:gd name="connsiteX336" fmla="*/ 339323 w 1422394"/>
              <a:gd name="connsiteY336" fmla="*/ 134229 h 434793"/>
              <a:gd name="connsiteX337" fmla="*/ 338205 w 1422394"/>
              <a:gd name="connsiteY337" fmla="*/ 129881 h 434793"/>
              <a:gd name="connsiteX338" fmla="*/ 341683 w 1422394"/>
              <a:gd name="connsiteY338" fmla="*/ 129881 h 434793"/>
              <a:gd name="connsiteX339" fmla="*/ 342987 w 1422394"/>
              <a:gd name="connsiteY339" fmla="*/ 127366 h 434793"/>
              <a:gd name="connsiteX340" fmla="*/ 340503 w 1422394"/>
              <a:gd name="connsiteY340" fmla="*/ 123577 h 434793"/>
              <a:gd name="connsiteX341" fmla="*/ 336528 w 1422394"/>
              <a:gd name="connsiteY341" fmla="*/ 127614 h 434793"/>
              <a:gd name="connsiteX342" fmla="*/ 336528 w 1422394"/>
              <a:gd name="connsiteY342" fmla="*/ 130720 h 434793"/>
              <a:gd name="connsiteX343" fmla="*/ 334416 w 1422394"/>
              <a:gd name="connsiteY343" fmla="*/ 135099 h 434793"/>
              <a:gd name="connsiteX344" fmla="*/ 365814 w 1422394"/>
              <a:gd name="connsiteY344" fmla="*/ 135534 h 434793"/>
              <a:gd name="connsiteX345" fmla="*/ 368547 w 1422394"/>
              <a:gd name="connsiteY345" fmla="*/ 144136 h 434793"/>
              <a:gd name="connsiteX346" fmla="*/ 370659 w 1422394"/>
              <a:gd name="connsiteY346" fmla="*/ 150348 h 434793"/>
              <a:gd name="connsiteX347" fmla="*/ 371249 w 1422394"/>
              <a:gd name="connsiteY347" fmla="*/ 145813 h 434793"/>
              <a:gd name="connsiteX348" fmla="*/ 368733 w 1422394"/>
              <a:gd name="connsiteY348" fmla="*/ 135503 h 434793"/>
              <a:gd name="connsiteX349" fmla="*/ 364168 w 1422394"/>
              <a:gd name="connsiteY349" fmla="*/ 126931 h 434793"/>
              <a:gd name="connsiteX350" fmla="*/ 365969 w 1422394"/>
              <a:gd name="connsiteY350" fmla="*/ 133391 h 434793"/>
              <a:gd name="connsiteX351" fmla="*/ 365845 w 1422394"/>
              <a:gd name="connsiteY351" fmla="*/ 135378 h 434793"/>
              <a:gd name="connsiteX352" fmla="*/ 349261 w 1422394"/>
              <a:gd name="connsiteY352" fmla="*/ 54321 h 434793"/>
              <a:gd name="connsiteX353" fmla="*/ 348174 w 1422394"/>
              <a:gd name="connsiteY353" fmla="*/ 49848 h 434793"/>
              <a:gd name="connsiteX354" fmla="*/ 343018 w 1422394"/>
              <a:gd name="connsiteY354" fmla="*/ 49848 h 434793"/>
              <a:gd name="connsiteX355" fmla="*/ 349261 w 1422394"/>
              <a:gd name="connsiteY355" fmla="*/ 54321 h 434793"/>
              <a:gd name="connsiteX356" fmla="*/ 277831 w 1422394"/>
              <a:gd name="connsiteY356" fmla="*/ 33761 h 434793"/>
              <a:gd name="connsiteX357" fmla="*/ 274725 w 1422394"/>
              <a:gd name="connsiteY357" fmla="*/ 27115 h 434793"/>
              <a:gd name="connsiteX358" fmla="*/ 266868 w 1422394"/>
              <a:gd name="connsiteY358" fmla="*/ 28637 h 434793"/>
              <a:gd name="connsiteX359" fmla="*/ 271340 w 1422394"/>
              <a:gd name="connsiteY359" fmla="*/ 31245 h 434793"/>
              <a:gd name="connsiteX360" fmla="*/ 278234 w 1422394"/>
              <a:gd name="connsiteY360" fmla="*/ 34972 h 434793"/>
              <a:gd name="connsiteX361" fmla="*/ 277831 w 1422394"/>
              <a:gd name="connsiteY361" fmla="*/ 33761 h 434793"/>
              <a:gd name="connsiteX362" fmla="*/ 296775 w 1422394"/>
              <a:gd name="connsiteY362" fmla="*/ 24227 h 434793"/>
              <a:gd name="connsiteX363" fmla="*/ 277178 w 1422394"/>
              <a:gd name="connsiteY363" fmla="*/ 26494 h 434793"/>
              <a:gd name="connsiteX364" fmla="*/ 288576 w 1422394"/>
              <a:gd name="connsiteY364" fmla="*/ 26494 h 434793"/>
              <a:gd name="connsiteX365" fmla="*/ 296651 w 1422394"/>
              <a:gd name="connsiteY365" fmla="*/ 24227 h 434793"/>
              <a:gd name="connsiteX366" fmla="*/ 250532 w 1422394"/>
              <a:gd name="connsiteY366" fmla="*/ 208144 h 434793"/>
              <a:gd name="connsiteX367" fmla="*/ 249290 w 1422394"/>
              <a:gd name="connsiteY367" fmla="*/ 208144 h 434793"/>
              <a:gd name="connsiteX368" fmla="*/ 249569 w 1422394"/>
              <a:gd name="connsiteY368" fmla="*/ 210504 h 434793"/>
              <a:gd name="connsiteX369" fmla="*/ 253482 w 1422394"/>
              <a:gd name="connsiteY369" fmla="*/ 210504 h 434793"/>
              <a:gd name="connsiteX370" fmla="*/ 253265 w 1422394"/>
              <a:gd name="connsiteY370" fmla="*/ 208455 h 434793"/>
              <a:gd name="connsiteX371" fmla="*/ 250408 w 1422394"/>
              <a:gd name="connsiteY371" fmla="*/ 208144 h 434793"/>
              <a:gd name="connsiteX372" fmla="*/ 244320 w 1422394"/>
              <a:gd name="connsiteY372" fmla="*/ 176715 h 434793"/>
              <a:gd name="connsiteX373" fmla="*/ 246339 w 1422394"/>
              <a:gd name="connsiteY373" fmla="*/ 175783 h 434793"/>
              <a:gd name="connsiteX374" fmla="*/ 247799 w 1422394"/>
              <a:gd name="connsiteY374" fmla="*/ 176746 h 434793"/>
              <a:gd name="connsiteX375" fmla="*/ 246246 w 1422394"/>
              <a:gd name="connsiteY375" fmla="*/ 173392 h 434793"/>
              <a:gd name="connsiteX376" fmla="*/ 244320 w 1422394"/>
              <a:gd name="connsiteY376" fmla="*/ 176715 h 434793"/>
              <a:gd name="connsiteX377" fmla="*/ 249786 w 1422394"/>
              <a:gd name="connsiteY377" fmla="*/ 180193 h 434793"/>
              <a:gd name="connsiteX378" fmla="*/ 246091 w 1422394"/>
              <a:gd name="connsiteY378" fmla="*/ 181187 h 434793"/>
              <a:gd name="connsiteX379" fmla="*/ 244476 w 1422394"/>
              <a:gd name="connsiteY379" fmla="*/ 178081 h 434793"/>
              <a:gd name="connsiteX380" fmla="*/ 242240 w 1422394"/>
              <a:gd name="connsiteY380" fmla="*/ 181187 h 434793"/>
              <a:gd name="connsiteX381" fmla="*/ 243265 w 1422394"/>
              <a:gd name="connsiteY381" fmla="*/ 184293 h 434793"/>
              <a:gd name="connsiteX382" fmla="*/ 252302 w 1422394"/>
              <a:gd name="connsiteY382" fmla="*/ 185473 h 434793"/>
              <a:gd name="connsiteX383" fmla="*/ 249880 w 1422394"/>
              <a:gd name="connsiteY383" fmla="*/ 180193 h 434793"/>
              <a:gd name="connsiteX384" fmla="*/ 220562 w 1422394"/>
              <a:gd name="connsiteY384" fmla="*/ 211685 h 434793"/>
              <a:gd name="connsiteX385" fmla="*/ 221463 w 1422394"/>
              <a:gd name="connsiteY385" fmla="*/ 207430 h 434793"/>
              <a:gd name="connsiteX386" fmla="*/ 218140 w 1422394"/>
              <a:gd name="connsiteY386" fmla="*/ 207709 h 434793"/>
              <a:gd name="connsiteX387" fmla="*/ 220562 w 1422394"/>
              <a:gd name="connsiteY387" fmla="*/ 211685 h 434793"/>
              <a:gd name="connsiteX388" fmla="*/ 182300 w 1422394"/>
              <a:gd name="connsiteY388" fmla="*/ 211405 h 434793"/>
              <a:gd name="connsiteX389" fmla="*/ 181431 w 1422394"/>
              <a:gd name="connsiteY389" fmla="*/ 205877 h 434793"/>
              <a:gd name="connsiteX390" fmla="*/ 180095 w 1422394"/>
              <a:gd name="connsiteY390" fmla="*/ 206405 h 434793"/>
              <a:gd name="connsiteX391" fmla="*/ 179039 w 1422394"/>
              <a:gd name="connsiteY391" fmla="*/ 204697 h 434793"/>
              <a:gd name="connsiteX392" fmla="*/ 179878 w 1422394"/>
              <a:gd name="connsiteY392" fmla="*/ 209200 h 434793"/>
              <a:gd name="connsiteX393" fmla="*/ 182300 w 1422394"/>
              <a:gd name="connsiteY393" fmla="*/ 211405 h 434793"/>
              <a:gd name="connsiteX394" fmla="*/ 181369 w 1422394"/>
              <a:gd name="connsiteY394" fmla="*/ 202647 h 434793"/>
              <a:gd name="connsiteX395" fmla="*/ 182673 w 1422394"/>
              <a:gd name="connsiteY395" fmla="*/ 193951 h 434793"/>
              <a:gd name="connsiteX396" fmla="*/ 180934 w 1422394"/>
              <a:gd name="connsiteY396" fmla="*/ 189665 h 434793"/>
              <a:gd name="connsiteX397" fmla="*/ 181213 w 1422394"/>
              <a:gd name="connsiteY397" fmla="*/ 193454 h 434793"/>
              <a:gd name="connsiteX398" fmla="*/ 179754 w 1422394"/>
              <a:gd name="connsiteY398" fmla="*/ 200628 h 434793"/>
              <a:gd name="connsiteX399" fmla="*/ 181369 w 1422394"/>
              <a:gd name="connsiteY399" fmla="*/ 202647 h 434793"/>
              <a:gd name="connsiteX400" fmla="*/ 79068 w 1422394"/>
              <a:gd name="connsiteY400" fmla="*/ 181435 h 434793"/>
              <a:gd name="connsiteX401" fmla="*/ 260684 w 1422394"/>
              <a:gd name="connsiteY401" fmla="*/ 0 h 434793"/>
              <a:gd name="connsiteX402" fmla="*/ 442120 w 1422394"/>
              <a:gd name="connsiteY402" fmla="*/ 181616 h 434793"/>
              <a:gd name="connsiteX403" fmla="*/ 260504 w 1422394"/>
              <a:gd name="connsiteY403" fmla="*/ 363052 h 434793"/>
              <a:gd name="connsiteX404" fmla="*/ 132237 w 1422394"/>
              <a:gd name="connsiteY404" fmla="*/ 309886 h 434793"/>
              <a:gd name="connsiteX405" fmla="*/ 79068 w 1422394"/>
              <a:gd name="connsiteY405" fmla="*/ 181435 h 434793"/>
              <a:gd name="connsiteX406" fmla="*/ 134970 w 1422394"/>
              <a:gd name="connsiteY406" fmla="*/ 301625 h 434793"/>
              <a:gd name="connsiteX407" fmla="*/ 154722 w 1422394"/>
              <a:gd name="connsiteY407" fmla="*/ 281904 h 434793"/>
              <a:gd name="connsiteX408" fmla="*/ 143790 w 1422394"/>
              <a:gd name="connsiteY408" fmla="*/ 268984 h 434793"/>
              <a:gd name="connsiteX409" fmla="*/ 139629 w 1422394"/>
              <a:gd name="connsiteY409" fmla="*/ 266189 h 434793"/>
              <a:gd name="connsiteX410" fmla="*/ 136274 w 1422394"/>
              <a:gd name="connsiteY410" fmla="*/ 261003 h 434793"/>
              <a:gd name="connsiteX411" fmla="*/ 134411 w 1422394"/>
              <a:gd name="connsiteY411" fmla="*/ 263239 h 434793"/>
              <a:gd name="connsiteX412" fmla="*/ 127175 w 1422394"/>
              <a:gd name="connsiteY412" fmla="*/ 255288 h 434793"/>
              <a:gd name="connsiteX413" fmla="*/ 121678 w 1422394"/>
              <a:gd name="connsiteY413" fmla="*/ 250226 h 434793"/>
              <a:gd name="connsiteX414" fmla="*/ 119628 w 1422394"/>
              <a:gd name="connsiteY414" fmla="*/ 248642 h 434793"/>
              <a:gd name="connsiteX415" fmla="*/ 112454 w 1422394"/>
              <a:gd name="connsiteY415" fmla="*/ 244387 h 434793"/>
              <a:gd name="connsiteX416" fmla="*/ 111615 w 1422394"/>
              <a:gd name="connsiteY416" fmla="*/ 246903 h 434793"/>
              <a:gd name="connsiteX417" fmla="*/ 104907 w 1422394"/>
              <a:gd name="connsiteY417" fmla="*/ 242275 h 434793"/>
              <a:gd name="connsiteX418" fmla="*/ 103137 w 1422394"/>
              <a:gd name="connsiteY418" fmla="*/ 245381 h 434793"/>
              <a:gd name="connsiteX419" fmla="*/ 104503 w 1422394"/>
              <a:gd name="connsiteY419" fmla="*/ 252089 h 434793"/>
              <a:gd name="connsiteX420" fmla="*/ 98975 w 1422394"/>
              <a:gd name="connsiteY420" fmla="*/ 237586 h 434793"/>
              <a:gd name="connsiteX421" fmla="*/ 100342 w 1422394"/>
              <a:gd name="connsiteY421" fmla="*/ 237772 h 434793"/>
              <a:gd name="connsiteX422" fmla="*/ 99410 w 1422394"/>
              <a:gd name="connsiteY422" fmla="*/ 234667 h 434793"/>
              <a:gd name="connsiteX423" fmla="*/ 97485 w 1422394"/>
              <a:gd name="connsiteY423" fmla="*/ 231188 h 434793"/>
              <a:gd name="connsiteX424" fmla="*/ 99907 w 1422394"/>
              <a:gd name="connsiteY424" fmla="*/ 229138 h 434793"/>
              <a:gd name="connsiteX425" fmla="*/ 100839 w 1422394"/>
              <a:gd name="connsiteY425" fmla="*/ 226654 h 434793"/>
              <a:gd name="connsiteX426" fmla="*/ 103944 w 1422394"/>
              <a:gd name="connsiteY426" fmla="*/ 224138 h 434793"/>
              <a:gd name="connsiteX427" fmla="*/ 105622 w 1422394"/>
              <a:gd name="connsiteY427" fmla="*/ 225598 h 434793"/>
              <a:gd name="connsiteX428" fmla="*/ 110839 w 1422394"/>
              <a:gd name="connsiteY428" fmla="*/ 226654 h 434793"/>
              <a:gd name="connsiteX429" fmla="*/ 108945 w 1422394"/>
              <a:gd name="connsiteY429" fmla="*/ 225163 h 434793"/>
              <a:gd name="connsiteX430" fmla="*/ 113324 w 1422394"/>
              <a:gd name="connsiteY430" fmla="*/ 225163 h 434793"/>
              <a:gd name="connsiteX431" fmla="*/ 117268 w 1422394"/>
              <a:gd name="connsiteY431" fmla="*/ 224884 h 434793"/>
              <a:gd name="connsiteX432" fmla="*/ 121678 w 1422394"/>
              <a:gd name="connsiteY432" fmla="*/ 226561 h 434793"/>
              <a:gd name="connsiteX433" fmla="*/ 114752 w 1422394"/>
              <a:gd name="connsiteY433" fmla="*/ 185318 h 434793"/>
              <a:gd name="connsiteX434" fmla="*/ 86956 w 1422394"/>
              <a:gd name="connsiteY434" fmla="*/ 185318 h 434793"/>
              <a:gd name="connsiteX435" fmla="*/ 134970 w 1422394"/>
              <a:gd name="connsiteY435" fmla="*/ 301625 h 434793"/>
              <a:gd name="connsiteX436" fmla="*/ 249880 w 1422394"/>
              <a:gd name="connsiteY436" fmla="*/ 140627 h 434793"/>
              <a:gd name="connsiteX437" fmla="*/ 247022 w 1422394"/>
              <a:gd name="connsiteY437" fmla="*/ 144540 h 434793"/>
              <a:gd name="connsiteX438" fmla="*/ 257023 w 1422394"/>
              <a:gd name="connsiteY438" fmla="*/ 142211 h 434793"/>
              <a:gd name="connsiteX439" fmla="*/ 257023 w 1422394"/>
              <a:gd name="connsiteY439" fmla="*/ 114260 h 434793"/>
              <a:gd name="connsiteX440" fmla="*/ 216214 w 1422394"/>
              <a:gd name="connsiteY440" fmla="*/ 131186 h 434793"/>
              <a:gd name="connsiteX441" fmla="*/ 235904 w 1422394"/>
              <a:gd name="connsiteY441" fmla="*/ 150876 h 434793"/>
              <a:gd name="connsiteX442" fmla="*/ 243265 w 1422394"/>
              <a:gd name="connsiteY442" fmla="*/ 146062 h 434793"/>
              <a:gd name="connsiteX443" fmla="*/ 245345 w 1422394"/>
              <a:gd name="connsiteY443" fmla="*/ 145130 h 434793"/>
              <a:gd name="connsiteX444" fmla="*/ 249880 w 1422394"/>
              <a:gd name="connsiteY444" fmla="*/ 140627 h 434793"/>
              <a:gd name="connsiteX445" fmla="*/ 181182 w 1422394"/>
              <a:gd name="connsiteY445" fmla="*/ 244511 h 434793"/>
              <a:gd name="connsiteX446" fmla="*/ 181182 w 1422394"/>
              <a:gd name="connsiteY446" fmla="*/ 246126 h 434793"/>
              <a:gd name="connsiteX447" fmla="*/ 185654 w 1422394"/>
              <a:gd name="connsiteY447" fmla="*/ 251313 h 434793"/>
              <a:gd name="connsiteX448" fmla="*/ 205375 w 1422394"/>
              <a:gd name="connsiteY448" fmla="*/ 231623 h 434793"/>
              <a:gd name="connsiteX449" fmla="*/ 187145 w 1422394"/>
              <a:gd name="connsiteY449" fmla="*/ 194355 h 434793"/>
              <a:gd name="connsiteX450" fmla="*/ 185717 w 1422394"/>
              <a:gd name="connsiteY450" fmla="*/ 193858 h 434793"/>
              <a:gd name="connsiteX451" fmla="*/ 186741 w 1422394"/>
              <a:gd name="connsiteY451" fmla="*/ 191777 h 434793"/>
              <a:gd name="connsiteX452" fmla="*/ 186151 w 1422394"/>
              <a:gd name="connsiteY452" fmla="*/ 185411 h 434793"/>
              <a:gd name="connsiteX453" fmla="*/ 173014 w 1422394"/>
              <a:gd name="connsiteY453" fmla="*/ 185411 h 434793"/>
              <a:gd name="connsiteX454" fmla="*/ 172611 w 1422394"/>
              <a:gd name="connsiteY454" fmla="*/ 191622 h 434793"/>
              <a:gd name="connsiteX455" fmla="*/ 168853 w 1422394"/>
              <a:gd name="connsiteY455" fmla="*/ 191622 h 434793"/>
              <a:gd name="connsiteX456" fmla="*/ 166430 w 1422394"/>
              <a:gd name="connsiteY456" fmla="*/ 197057 h 434793"/>
              <a:gd name="connsiteX457" fmla="*/ 167238 w 1422394"/>
              <a:gd name="connsiteY457" fmla="*/ 201032 h 434793"/>
              <a:gd name="connsiteX458" fmla="*/ 168449 w 1422394"/>
              <a:gd name="connsiteY458" fmla="*/ 204728 h 434793"/>
              <a:gd name="connsiteX459" fmla="*/ 173542 w 1422394"/>
              <a:gd name="connsiteY459" fmla="*/ 210691 h 434793"/>
              <a:gd name="connsiteX460" fmla="*/ 171027 w 1422394"/>
              <a:gd name="connsiteY460" fmla="*/ 211498 h 434793"/>
              <a:gd name="connsiteX461" fmla="*/ 173853 w 1422394"/>
              <a:gd name="connsiteY461" fmla="*/ 214604 h 434793"/>
              <a:gd name="connsiteX462" fmla="*/ 174847 w 1422394"/>
              <a:gd name="connsiteY462" fmla="*/ 220256 h 434793"/>
              <a:gd name="connsiteX463" fmla="*/ 177331 w 1422394"/>
              <a:gd name="connsiteY463" fmla="*/ 228362 h 434793"/>
              <a:gd name="connsiteX464" fmla="*/ 177921 w 1422394"/>
              <a:gd name="connsiteY464" fmla="*/ 236592 h 434793"/>
              <a:gd name="connsiteX465" fmla="*/ 181058 w 1422394"/>
              <a:gd name="connsiteY465" fmla="*/ 244511 h 434793"/>
              <a:gd name="connsiteX466" fmla="*/ 164691 w 1422394"/>
              <a:gd name="connsiteY466" fmla="*/ 197740 h 434793"/>
              <a:gd name="connsiteX467" fmla="*/ 166151 w 1422394"/>
              <a:gd name="connsiteY467" fmla="*/ 189572 h 434793"/>
              <a:gd name="connsiteX468" fmla="*/ 169753 w 1422394"/>
              <a:gd name="connsiteY468" fmla="*/ 185411 h 434793"/>
              <a:gd name="connsiteX469" fmla="*/ 158107 w 1422394"/>
              <a:gd name="connsiteY469" fmla="*/ 185411 h 434793"/>
              <a:gd name="connsiteX470" fmla="*/ 160343 w 1422394"/>
              <a:gd name="connsiteY470" fmla="*/ 203392 h 434793"/>
              <a:gd name="connsiteX471" fmla="*/ 164691 w 1422394"/>
              <a:gd name="connsiteY471" fmla="*/ 197740 h 434793"/>
              <a:gd name="connsiteX472" fmla="*/ 157362 w 1422394"/>
              <a:gd name="connsiteY472" fmla="*/ 272835 h 434793"/>
              <a:gd name="connsiteX473" fmla="*/ 157082 w 1422394"/>
              <a:gd name="connsiteY473" fmla="*/ 272835 h 434793"/>
              <a:gd name="connsiteX474" fmla="*/ 160188 w 1422394"/>
              <a:gd name="connsiteY474" fmla="*/ 276376 h 434793"/>
              <a:gd name="connsiteX475" fmla="*/ 162424 w 1422394"/>
              <a:gd name="connsiteY475" fmla="*/ 274140 h 434793"/>
              <a:gd name="connsiteX476" fmla="*/ 157362 w 1422394"/>
              <a:gd name="connsiteY476" fmla="*/ 272742 h 434793"/>
              <a:gd name="connsiteX477" fmla="*/ 205127 w 1422394"/>
              <a:gd name="connsiteY477" fmla="*/ 131372 h 434793"/>
              <a:gd name="connsiteX478" fmla="*/ 185468 w 1422394"/>
              <a:gd name="connsiteY478" fmla="*/ 111713 h 434793"/>
              <a:gd name="connsiteX479" fmla="*/ 158107 w 1422394"/>
              <a:gd name="connsiteY479" fmla="*/ 177647 h 434793"/>
              <a:gd name="connsiteX480" fmla="*/ 171865 w 1422394"/>
              <a:gd name="connsiteY480" fmla="*/ 177647 h 434793"/>
              <a:gd name="connsiteX481" fmla="*/ 174164 w 1422394"/>
              <a:gd name="connsiteY481" fmla="*/ 168951 h 434793"/>
              <a:gd name="connsiteX482" fmla="*/ 177269 w 1422394"/>
              <a:gd name="connsiteY482" fmla="*/ 163174 h 434793"/>
              <a:gd name="connsiteX483" fmla="*/ 181555 w 1422394"/>
              <a:gd name="connsiteY483" fmla="*/ 159696 h 434793"/>
              <a:gd name="connsiteX484" fmla="*/ 190002 w 1422394"/>
              <a:gd name="connsiteY484" fmla="*/ 156000 h 434793"/>
              <a:gd name="connsiteX485" fmla="*/ 197301 w 1422394"/>
              <a:gd name="connsiteY485" fmla="*/ 152460 h 434793"/>
              <a:gd name="connsiteX486" fmla="*/ 186586 w 1422394"/>
              <a:gd name="connsiteY486" fmla="*/ 154602 h 434793"/>
              <a:gd name="connsiteX487" fmla="*/ 191276 w 1422394"/>
              <a:gd name="connsiteY487" fmla="*/ 152025 h 434793"/>
              <a:gd name="connsiteX488" fmla="*/ 192145 w 1422394"/>
              <a:gd name="connsiteY488" fmla="*/ 151435 h 434793"/>
              <a:gd name="connsiteX489" fmla="*/ 205127 w 1422394"/>
              <a:gd name="connsiteY489" fmla="*/ 131279 h 434793"/>
              <a:gd name="connsiteX490" fmla="*/ 201587 w 1422394"/>
              <a:gd name="connsiteY490" fmla="*/ 149758 h 434793"/>
              <a:gd name="connsiteX491" fmla="*/ 202394 w 1422394"/>
              <a:gd name="connsiteY491" fmla="*/ 149354 h 434793"/>
              <a:gd name="connsiteX492" fmla="*/ 212084 w 1422394"/>
              <a:gd name="connsiteY492" fmla="*/ 148609 h 434793"/>
              <a:gd name="connsiteX493" fmla="*/ 219040 w 1422394"/>
              <a:gd name="connsiteY493" fmla="*/ 153453 h 434793"/>
              <a:gd name="connsiteX494" fmla="*/ 222798 w 1422394"/>
              <a:gd name="connsiteY494" fmla="*/ 152646 h 434793"/>
              <a:gd name="connsiteX495" fmla="*/ 225904 w 1422394"/>
              <a:gd name="connsiteY495" fmla="*/ 153888 h 434793"/>
              <a:gd name="connsiteX496" fmla="*/ 227674 w 1422394"/>
              <a:gd name="connsiteY496" fmla="*/ 153888 h 434793"/>
              <a:gd name="connsiteX497" fmla="*/ 210562 w 1422394"/>
              <a:gd name="connsiteY497" fmla="*/ 136776 h 434793"/>
              <a:gd name="connsiteX498" fmla="*/ 201587 w 1422394"/>
              <a:gd name="connsiteY498" fmla="*/ 149664 h 434793"/>
              <a:gd name="connsiteX499" fmla="*/ 182269 w 1422394"/>
              <a:gd name="connsiteY499" fmla="*/ 170938 h 434793"/>
              <a:gd name="connsiteX500" fmla="*/ 175990 w 1422394"/>
              <a:gd name="connsiteY500" fmla="*/ 175886 h 434793"/>
              <a:gd name="connsiteX501" fmla="*/ 176058 w 1422394"/>
              <a:gd name="connsiteY501" fmla="*/ 177647 h 434793"/>
              <a:gd name="connsiteX502" fmla="*/ 185996 w 1422394"/>
              <a:gd name="connsiteY502" fmla="*/ 177647 h 434793"/>
              <a:gd name="connsiteX503" fmla="*/ 186493 w 1422394"/>
              <a:gd name="connsiteY503" fmla="*/ 172087 h 434793"/>
              <a:gd name="connsiteX504" fmla="*/ 182269 w 1422394"/>
              <a:gd name="connsiteY504" fmla="*/ 170845 h 434793"/>
              <a:gd name="connsiteX505" fmla="*/ 210624 w 1422394"/>
              <a:gd name="connsiteY505" fmla="*/ 226219 h 434793"/>
              <a:gd name="connsiteX506" fmla="*/ 230314 w 1422394"/>
              <a:gd name="connsiteY506" fmla="*/ 206529 h 434793"/>
              <a:gd name="connsiteX507" fmla="*/ 226059 w 1422394"/>
              <a:gd name="connsiteY507" fmla="*/ 200318 h 434793"/>
              <a:gd name="connsiteX508" fmla="*/ 226059 w 1422394"/>
              <a:gd name="connsiteY508" fmla="*/ 200318 h 434793"/>
              <a:gd name="connsiteX509" fmla="*/ 225345 w 1422394"/>
              <a:gd name="connsiteY509" fmla="*/ 201374 h 434793"/>
              <a:gd name="connsiteX510" fmla="*/ 224227 w 1422394"/>
              <a:gd name="connsiteY510" fmla="*/ 206467 h 434793"/>
              <a:gd name="connsiteX511" fmla="*/ 217115 w 1422394"/>
              <a:gd name="connsiteY511" fmla="*/ 202430 h 434793"/>
              <a:gd name="connsiteX512" fmla="*/ 214537 w 1422394"/>
              <a:gd name="connsiteY512" fmla="*/ 204448 h 434793"/>
              <a:gd name="connsiteX513" fmla="*/ 213823 w 1422394"/>
              <a:gd name="connsiteY513" fmla="*/ 206684 h 434793"/>
              <a:gd name="connsiteX514" fmla="*/ 211338 w 1422394"/>
              <a:gd name="connsiteY514" fmla="*/ 203983 h 434793"/>
              <a:gd name="connsiteX515" fmla="*/ 210127 w 1422394"/>
              <a:gd name="connsiteY515" fmla="*/ 201281 h 434793"/>
              <a:gd name="connsiteX516" fmla="*/ 205934 w 1422394"/>
              <a:gd name="connsiteY516" fmla="*/ 199914 h 434793"/>
              <a:gd name="connsiteX517" fmla="*/ 202487 w 1422394"/>
              <a:gd name="connsiteY517" fmla="*/ 197336 h 434793"/>
              <a:gd name="connsiteX518" fmla="*/ 198885 w 1422394"/>
              <a:gd name="connsiteY518" fmla="*/ 197088 h 434793"/>
              <a:gd name="connsiteX519" fmla="*/ 196058 w 1422394"/>
              <a:gd name="connsiteY519" fmla="*/ 195784 h 434793"/>
              <a:gd name="connsiteX520" fmla="*/ 194816 w 1422394"/>
              <a:gd name="connsiteY520" fmla="*/ 194479 h 434793"/>
              <a:gd name="connsiteX521" fmla="*/ 210624 w 1422394"/>
              <a:gd name="connsiteY521" fmla="*/ 226126 h 434793"/>
              <a:gd name="connsiteX522" fmla="*/ 230314 w 1422394"/>
              <a:gd name="connsiteY522" fmla="*/ 192212 h 434793"/>
              <a:gd name="connsiteX523" fmla="*/ 230314 w 1422394"/>
              <a:gd name="connsiteY523" fmla="*/ 191684 h 434793"/>
              <a:gd name="connsiteX524" fmla="*/ 230314 w 1422394"/>
              <a:gd name="connsiteY524" fmla="*/ 191280 h 434793"/>
              <a:gd name="connsiteX525" fmla="*/ 230314 w 1422394"/>
              <a:gd name="connsiteY525" fmla="*/ 191094 h 434793"/>
              <a:gd name="connsiteX526" fmla="*/ 230314 w 1422394"/>
              <a:gd name="connsiteY526" fmla="*/ 190846 h 434793"/>
              <a:gd name="connsiteX527" fmla="*/ 230314 w 1422394"/>
              <a:gd name="connsiteY527" fmla="*/ 190846 h 434793"/>
              <a:gd name="connsiteX528" fmla="*/ 230314 w 1422394"/>
              <a:gd name="connsiteY528" fmla="*/ 190318 h 434793"/>
              <a:gd name="connsiteX529" fmla="*/ 230314 w 1422394"/>
              <a:gd name="connsiteY529" fmla="*/ 190318 h 434793"/>
              <a:gd name="connsiteX530" fmla="*/ 230314 w 1422394"/>
              <a:gd name="connsiteY530" fmla="*/ 189852 h 434793"/>
              <a:gd name="connsiteX531" fmla="*/ 230314 w 1422394"/>
              <a:gd name="connsiteY531" fmla="*/ 189852 h 434793"/>
              <a:gd name="connsiteX532" fmla="*/ 230314 w 1422394"/>
              <a:gd name="connsiteY532" fmla="*/ 189541 h 434793"/>
              <a:gd name="connsiteX533" fmla="*/ 230314 w 1422394"/>
              <a:gd name="connsiteY533" fmla="*/ 189541 h 434793"/>
              <a:gd name="connsiteX534" fmla="*/ 230314 w 1422394"/>
              <a:gd name="connsiteY534" fmla="*/ 189262 h 434793"/>
              <a:gd name="connsiteX535" fmla="*/ 230314 w 1422394"/>
              <a:gd name="connsiteY535" fmla="*/ 189262 h 434793"/>
              <a:gd name="connsiteX536" fmla="*/ 230500 w 1422394"/>
              <a:gd name="connsiteY536" fmla="*/ 188951 h 434793"/>
              <a:gd name="connsiteX537" fmla="*/ 231494 w 1422394"/>
              <a:gd name="connsiteY537" fmla="*/ 188609 h 434793"/>
              <a:gd name="connsiteX538" fmla="*/ 233916 w 1422394"/>
              <a:gd name="connsiteY538" fmla="*/ 189200 h 434793"/>
              <a:gd name="connsiteX539" fmla="*/ 235625 w 1422394"/>
              <a:gd name="connsiteY539" fmla="*/ 188392 h 434793"/>
              <a:gd name="connsiteX540" fmla="*/ 236246 w 1422394"/>
              <a:gd name="connsiteY540" fmla="*/ 187398 h 434793"/>
              <a:gd name="connsiteX541" fmla="*/ 236494 w 1422394"/>
              <a:gd name="connsiteY541" fmla="*/ 186467 h 434793"/>
              <a:gd name="connsiteX542" fmla="*/ 236494 w 1422394"/>
              <a:gd name="connsiteY542" fmla="*/ 186094 h 434793"/>
              <a:gd name="connsiteX543" fmla="*/ 235159 w 1422394"/>
              <a:gd name="connsiteY543" fmla="*/ 186094 h 434793"/>
              <a:gd name="connsiteX544" fmla="*/ 234693 w 1422394"/>
              <a:gd name="connsiteY544" fmla="*/ 186249 h 434793"/>
              <a:gd name="connsiteX545" fmla="*/ 233730 w 1422394"/>
              <a:gd name="connsiteY545" fmla="*/ 186436 h 434793"/>
              <a:gd name="connsiteX546" fmla="*/ 233264 w 1422394"/>
              <a:gd name="connsiteY546" fmla="*/ 186436 h 434793"/>
              <a:gd name="connsiteX547" fmla="*/ 232177 w 1422394"/>
              <a:gd name="connsiteY547" fmla="*/ 185783 h 434793"/>
              <a:gd name="connsiteX548" fmla="*/ 231929 w 1422394"/>
              <a:gd name="connsiteY548" fmla="*/ 185318 h 434793"/>
              <a:gd name="connsiteX549" fmla="*/ 231587 w 1422394"/>
              <a:gd name="connsiteY549" fmla="*/ 184696 h 434793"/>
              <a:gd name="connsiteX550" fmla="*/ 229631 w 1422394"/>
              <a:gd name="connsiteY550" fmla="*/ 183175 h 434793"/>
              <a:gd name="connsiteX551" fmla="*/ 228513 w 1422394"/>
              <a:gd name="connsiteY551" fmla="*/ 182398 h 434793"/>
              <a:gd name="connsiteX552" fmla="*/ 227954 w 1422394"/>
              <a:gd name="connsiteY552" fmla="*/ 181870 h 434793"/>
              <a:gd name="connsiteX553" fmla="*/ 227550 w 1422394"/>
              <a:gd name="connsiteY553" fmla="*/ 181404 h 434793"/>
              <a:gd name="connsiteX554" fmla="*/ 227395 w 1422394"/>
              <a:gd name="connsiteY554" fmla="*/ 181404 h 434793"/>
              <a:gd name="connsiteX555" fmla="*/ 227115 w 1422394"/>
              <a:gd name="connsiteY555" fmla="*/ 181156 h 434793"/>
              <a:gd name="connsiteX556" fmla="*/ 226898 w 1422394"/>
              <a:gd name="connsiteY556" fmla="*/ 180970 h 434793"/>
              <a:gd name="connsiteX557" fmla="*/ 226680 w 1422394"/>
              <a:gd name="connsiteY557" fmla="*/ 180783 h 434793"/>
              <a:gd name="connsiteX558" fmla="*/ 226432 w 1422394"/>
              <a:gd name="connsiteY558" fmla="*/ 180597 h 434793"/>
              <a:gd name="connsiteX559" fmla="*/ 226214 w 1422394"/>
              <a:gd name="connsiteY559" fmla="*/ 180597 h 434793"/>
              <a:gd name="connsiteX560" fmla="*/ 225935 w 1422394"/>
              <a:gd name="connsiteY560" fmla="*/ 180597 h 434793"/>
              <a:gd name="connsiteX561" fmla="*/ 225749 w 1422394"/>
              <a:gd name="connsiteY561" fmla="*/ 180597 h 434793"/>
              <a:gd name="connsiteX562" fmla="*/ 225438 w 1422394"/>
              <a:gd name="connsiteY562" fmla="*/ 180442 h 434793"/>
              <a:gd name="connsiteX563" fmla="*/ 225438 w 1422394"/>
              <a:gd name="connsiteY563" fmla="*/ 180442 h 434793"/>
              <a:gd name="connsiteX564" fmla="*/ 225065 w 1422394"/>
              <a:gd name="connsiteY564" fmla="*/ 180442 h 434793"/>
              <a:gd name="connsiteX565" fmla="*/ 225065 w 1422394"/>
              <a:gd name="connsiteY565" fmla="*/ 180442 h 434793"/>
              <a:gd name="connsiteX566" fmla="*/ 222239 w 1422394"/>
              <a:gd name="connsiteY566" fmla="*/ 181435 h 434793"/>
              <a:gd name="connsiteX567" fmla="*/ 222239 w 1422394"/>
              <a:gd name="connsiteY567" fmla="*/ 181435 h 434793"/>
              <a:gd name="connsiteX568" fmla="*/ 221773 w 1422394"/>
              <a:gd name="connsiteY568" fmla="*/ 181901 h 434793"/>
              <a:gd name="connsiteX569" fmla="*/ 221773 w 1422394"/>
              <a:gd name="connsiteY569" fmla="*/ 181901 h 434793"/>
              <a:gd name="connsiteX570" fmla="*/ 221339 w 1422394"/>
              <a:gd name="connsiteY570" fmla="*/ 182522 h 434793"/>
              <a:gd name="connsiteX571" fmla="*/ 221339 w 1422394"/>
              <a:gd name="connsiteY571" fmla="*/ 182522 h 434793"/>
              <a:gd name="connsiteX572" fmla="*/ 220904 w 1422394"/>
              <a:gd name="connsiteY572" fmla="*/ 183268 h 434793"/>
              <a:gd name="connsiteX573" fmla="*/ 220034 w 1422394"/>
              <a:gd name="connsiteY573" fmla="*/ 185193 h 434793"/>
              <a:gd name="connsiteX574" fmla="*/ 215593 w 1422394"/>
              <a:gd name="connsiteY574" fmla="*/ 191405 h 434793"/>
              <a:gd name="connsiteX575" fmla="*/ 217208 w 1422394"/>
              <a:gd name="connsiteY575" fmla="*/ 191901 h 434793"/>
              <a:gd name="connsiteX576" fmla="*/ 219817 w 1422394"/>
              <a:gd name="connsiteY576" fmla="*/ 191901 h 434793"/>
              <a:gd name="connsiteX577" fmla="*/ 221276 w 1422394"/>
              <a:gd name="connsiteY577" fmla="*/ 191901 h 434793"/>
              <a:gd name="connsiteX578" fmla="*/ 221960 w 1422394"/>
              <a:gd name="connsiteY578" fmla="*/ 191901 h 434793"/>
              <a:gd name="connsiteX579" fmla="*/ 222363 w 1422394"/>
              <a:gd name="connsiteY579" fmla="*/ 191901 h 434793"/>
              <a:gd name="connsiteX580" fmla="*/ 222736 w 1422394"/>
              <a:gd name="connsiteY580" fmla="*/ 191901 h 434793"/>
              <a:gd name="connsiteX581" fmla="*/ 223078 w 1422394"/>
              <a:gd name="connsiteY581" fmla="*/ 191901 h 434793"/>
              <a:gd name="connsiteX582" fmla="*/ 223481 w 1422394"/>
              <a:gd name="connsiteY582" fmla="*/ 191901 h 434793"/>
              <a:gd name="connsiteX583" fmla="*/ 223730 w 1422394"/>
              <a:gd name="connsiteY583" fmla="*/ 191901 h 434793"/>
              <a:gd name="connsiteX584" fmla="*/ 224289 w 1422394"/>
              <a:gd name="connsiteY584" fmla="*/ 191684 h 434793"/>
              <a:gd name="connsiteX585" fmla="*/ 225221 w 1422394"/>
              <a:gd name="connsiteY585" fmla="*/ 191311 h 434793"/>
              <a:gd name="connsiteX586" fmla="*/ 225221 w 1422394"/>
              <a:gd name="connsiteY586" fmla="*/ 191311 h 434793"/>
              <a:gd name="connsiteX587" fmla="*/ 226090 w 1422394"/>
              <a:gd name="connsiteY587" fmla="*/ 191094 h 434793"/>
              <a:gd name="connsiteX588" fmla="*/ 229041 w 1422394"/>
              <a:gd name="connsiteY588" fmla="*/ 192181 h 434793"/>
              <a:gd name="connsiteX589" fmla="*/ 230314 w 1422394"/>
              <a:gd name="connsiteY589" fmla="*/ 192119 h 434793"/>
              <a:gd name="connsiteX590" fmla="*/ 256898 w 1422394"/>
              <a:gd name="connsiteY590" fmla="*/ 106682 h 434793"/>
              <a:gd name="connsiteX591" fmla="*/ 256898 w 1422394"/>
              <a:gd name="connsiteY591" fmla="*/ 78731 h 434793"/>
              <a:gd name="connsiteX592" fmla="*/ 190872 w 1422394"/>
              <a:gd name="connsiteY592" fmla="*/ 106123 h 434793"/>
              <a:gd name="connsiteX593" fmla="*/ 210531 w 1422394"/>
              <a:gd name="connsiteY593" fmla="*/ 125782 h 434793"/>
              <a:gd name="connsiteX594" fmla="*/ 256898 w 1422394"/>
              <a:gd name="connsiteY594" fmla="*/ 106589 h 434793"/>
              <a:gd name="connsiteX595" fmla="*/ 256898 w 1422394"/>
              <a:gd name="connsiteY595" fmla="*/ 71091 h 434793"/>
              <a:gd name="connsiteX596" fmla="*/ 256898 w 1422394"/>
              <a:gd name="connsiteY596" fmla="*/ 43140 h 434793"/>
              <a:gd name="connsiteX597" fmla="*/ 165809 w 1422394"/>
              <a:gd name="connsiteY597" fmla="*/ 80936 h 434793"/>
              <a:gd name="connsiteX598" fmla="*/ 185468 w 1422394"/>
              <a:gd name="connsiteY598" fmla="*/ 100595 h 434793"/>
              <a:gd name="connsiteX599" fmla="*/ 256898 w 1422394"/>
              <a:gd name="connsiteY599" fmla="*/ 70998 h 434793"/>
              <a:gd name="connsiteX600" fmla="*/ 160312 w 1422394"/>
              <a:gd name="connsiteY600" fmla="*/ 86619 h 434793"/>
              <a:gd name="connsiteX601" fmla="*/ 122547 w 1422394"/>
              <a:gd name="connsiteY601" fmla="*/ 177553 h 434793"/>
              <a:gd name="connsiteX602" fmla="*/ 150498 w 1422394"/>
              <a:gd name="connsiteY602" fmla="*/ 177553 h 434793"/>
              <a:gd name="connsiteX603" fmla="*/ 180126 w 1422394"/>
              <a:gd name="connsiteY603" fmla="*/ 106123 h 434793"/>
              <a:gd name="connsiteX604" fmla="*/ 122547 w 1422394"/>
              <a:gd name="connsiteY604" fmla="*/ 185318 h 434793"/>
              <a:gd name="connsiteX605" fmla="*/ 130063 w 1422394"/>
              <a:gd name="connsiteY605" fmla="*/ 226623 h 434793"/>
              <a:gd name="connsiteX606" fmla="*/ 130560 w 1422394"/>
              <a:gd name="connsiteY606" fmla="*/ 226623 h 434793"/>
              <a:gd name="connsiteX607" fmla="*/ 138914 w 1422394"/>
              <a:gd name="connsiteY607" fmla="*/ 225194 h 434793"/>
              <a:gd name="connsiteX608" fmla="*/ 140840 w 1422394"/>
              <a:gd name="connsiteY608" fmla="*/ 212399 h 434793"/>
              <a:gd name="connsiteX609" fmla="*/ 149846 w 1422394"/>
              <a:gd name="connsiteY609" fmla="*/ 199200 h 434793"/>
              <a:gd name="connsiteX610" fmla="*/ 151896 w 1422394"/>
              <a:gd name="connsiteY610" fmla="*/ 200380 h 434793"/>
              <a:gd name="connsiteX611" fmla="*/ 150498 w 1422394"/>
              <a:gd name="connsiteY611" fmla="*/ 185318 h 434793"/>
              <a:gd name="connsiteX612" fmla="*/ 256929 w 1422394"/>
              <a:gd name="connsiteY612" fmla="*/ 327464 h 434793"/>
              <a:gd name="connsiteX613" fmla="*/ 160343 w 1422394"/>
              <a:gd name="connsiteY613" fmla="*/ 287401 h 434793"/>
              <a:gd name="connsiteX614" fmla="*/ 140622 w 1422394"/>
              <a:gd name="connsiteY614" fmla="*/ 307122 h 434793"/>
              <a:gd name="connsiteX615" fmla="*/ 256929 w 1422394"/>
              <a:gd name="connsiteY615" fmla="*/ 355259 h 434793"/>
              <a:gd name="connsiteX616" fmla="*/ 256929 w 1422394"/>
              <a:gd name="connsiteY616" fmla="*/ 291904 h 434793"/>
              <a:gd name="connsiteX617" fmla="*/ 190220 w 1422394"/>
              <a:gd name="connsiteY617" fmla="*/ 266500 h 434793"/>
              <a:gd name="connsiteX618" fmla="*/ 191307 w 1422394"/>
              <a:gd name="connsiteY618" fmla="*/ 267990 h 434793"/>
              <a:gd name="connsiteX619" fmla="*/ 194195 w 1422394"/>
              <a:gd name="connsiteY619" fmla="*/ 276469 h 434793"/>
              <a:gd name="connsiteX620" fmla="*/ 185779 w 1422394"/>
              <a:gd name="connsiteY620" fmla="*/ 276935 h 434793"/>
              <a:gd name="connsiteX621" fmla="*/ 177797 w 1422394"/>
              <a:gd name="connsiteY621" fmla="*/ 280848 h 434793"/>
              <a:gd name="connsiteX622" fmla="*/ 171213 w 1422394"/>
              <a:gd name="connsiteY622" fmla="*/ 280102 h 434793"/>
              <a:gd name="connsiteX623" fmla="*/ 168977 w 1422394"/>
              <a:gd name="connsiteY623" fmla="*/ 278767 h 434793"/>
              <a:gd name="connsiteX624" fmla="*/ 165871 w 1422394"/>
              <a:gd name="connsiteY624" fmla="*/ 281873 h 434793"/>
              <a:gd name="connsiteX625" fmla="*/ 256961 w 1422394"/>
              <a:gd name="connsiteY625" fmla="*/ 319669 h 434793"/>
              <a:gd name="connsiteX626" fmla="*/ 256929 w 1422394"/>
              <a:gd name="connsiteY626" fmla="*/ 282121 h 434793"/>
              <a:gd name="connsiteX627" fmla="*/ 245687 w 1422394"/>
              <a:gd name="connsiteY627" fmla="*/ 281345 h 434793"/>
              <a:gd name="connsiteX628" fmla="*/ 238917 w 1422394"/>
              <a:gd name="connsiteY628" fmla="*/ 275786 h 434793"/>
              <a:gd name="connsiteX629" fmla="*/ 234413 w 1422394"/>
              <a:gd name="connsiteY629" fmla="*/ 268332 h 434793"/>
              <a:gd name="connsiteX630" fmla="*/ 237333 w 1422394"/>
              <a:gd name="connsiteY630" fmla="*/ 261530 h 434793"/>
              <a:gd name="connsiteX631" fmla="*/ 242923 w 1422394"/>
              <a:gd name="connsiteY631" fmla="*/ 254232 h 434793"/>
              <a:gd name="connsiteX632" fmla="*/ 210624 w 1422394"/>
              <a:gd name="connsiteY632" fmla="*/ 237120 h 434793"/>
              <a:gd name="connsiteX633" fmla="*/ 190872 w 1422394"/>
              <a:gd name="connsiteY633" fmla="*/ 256748 h 434793"/>
              <a:gd name="connsiteX634" fmla="*/ 256867 w 1422394"/>
              <a:gd name="connsiteY634" fmla="*/ 284047 h 434793"/>
              <a:gd name="connsiteX635" fmla="*/ 262923 w 1422394"/>
              <a:gd name="connsiteY635" fmla="*/ 244853 h 434793"/>
              <a:gd name="connsiteX636" fmla="*/ 271712 w 1422394"/>
              <a:gd name="connsiteY636" fmla="*/ 243238 h 434793"/>
              <a:gd name="connsiteX637" fmla="*/ 273327 w 1422394"/>
              <a:gd name="connsiteY637" fmla="*/ 247275 h 434793"/>
              <a:gd name="connsiteX638" fmla="*/ 284508 w 1422394"/>
              <a:gd name="connsiteY638" fmla="*/ 246996 h 434793"/>
              <a:gd name="connsiteX639" fmla="*/ 286961 w 1422394"/>
              <a:gd name="connsiteY639" fmla="*/ 244294 h 434793"/>
              <a:gd name="connsiteX640" fmla="*/ 296061 w 1422394"/>
              <a:gd name="connsiteY640" fmla="*/ 241406 h 434793"/>
              <a:gd name="connsiteX641" fmla="*/ 299943 w 1422394"/>
              <a:gd name="connsiteY641" fmla="*/ 239139 h 434793"/>
              <a:gd name="connsiteX642" fmla="*/ 297365 w 1422394"/>
              <a:gd name="connsiteY642" fmla="*/ 233207 h 434793"/>
              <a:gd name="connsiteX643" fmla="*/ 292924 w 1422394"/>
              <a:gd name="connsiteY643" fmla="*/ 236313 h 434793"/>
              <a:gd name="connsiteX644" fmla="*/ 288110 w 1422394"/>
              <a:gd name="connsiteY644" fmla="*/ 235878 h 434793"/>
              <a:gd name="connsiteX645" fmla="*/ 289943 w 1422394"/>
              <a:gd name="connsiteY645" fmla="*/ 231654 h 434793"/>
              <a:gd name="connsiteX646" fmla="*/ 294850 w 1422394"/>
              <a:gd name="connsiteY646" fmla="*/ 228051 h 434793"/>
              <a:gd name="connsiteX647" fmla="*/ 298980 w 1422394"/>
              <a:gd name="connsiteY647" fmla="*/ 224480 h 434793"/>
              <a:gd name="connsiteX648" fmla="*/ 293204 w 1422394"/>
              <a:gd name="connsiteY648" fmla="*/ 223797 h 434793"/>
              <a:gd name="connsiteX649" fmla="*/ 292645 w 1422394"/>
              <a:gd name="connsiteY649" fmla="*/ 221312 h 434793"/>
              <a:gd name="connsiteX650" fmla="*/ 291775 w 1422394"/>
              <a:gd name="connsiteY650" fmla="*/ 224418 h 434793"/>
              <a:gd name="connsiteX651" fmla="*/ 288856 w 1422394"/>
              <a:gd name="connsiteY651" fmla="*/ 225505 h 434793"/>
              <a:gd name="connsiteX652" fmla="*/ 287148 w 1422394"/>
              <a:gd name="connsiteY652" fmla="*/ 230847 h 434793"/>
              <a:gd name="connsiteX653" fmla="*/ 287955 w 1422394"/>
              <a:gd name="connsiteY653" fmla="*/ 233269 h 434793"/>
              <a:gd name="connsiteX654" fmla="*/ 285129 w 1422394"/>
              <a:gd name="connsiteY654" fmla="*/ 234604 h 434793"/>
              <a:gd name="connsiteX655" fmla="*/ 285129 w 1422394"/>
              <a:gd name="connsiteY655" fmla="*/ 237555 h 434793"/>
              <a:gd name="connsiteX656" fmla="*/ 284011 w 1422394"/>
              <a:gd name="connsiteY656" fmla="*/ 238890 h 434793"/>
              <a:gd name="connsiteX657" fmla="*/ 280160 w 1422394"/>
              <a:gd name="connsiteY657" fmla="*/ 236313 h 434793"/>
              <a:gd name="connsiteX658" fmla="*/ 274197 w 1422394"/>
              <a:gd name="connsiteY658" fmla="*/ 233207 h 434793"/>
              <a:gd name="connsiteX659" fmla="*/ 276060 w 1422394"/>
              <a:gd name="connsiteY659" fmla="*/ 236313 h 434793"/>
              <a:gd name="connsiteX660" fmla="*/ 278172 w 1422394"/>
              <a:gd name="connsiteY660" fmla="*/ 239418 h 434793"/>
              <a:gd name="connsiteX661" fmla="*/ 273762 w 1422394"/>
              <a:gd name="connsiteY661" fmla="*/ 237120 h 434793"/>
              <a:gd name="connsiteX662" fmla="*/ 269228 w 1422394"/>
              <a:gd name="connsiteY662" fmla="*/ 235194 h 434793"/>
              <a:gd name="connsiteX663" fmla="*/ 265843 w 1422394"/>
              <a:gd name="connsiteY663" fmla="*/ 236592 h 434793"/>
              <a:gd name="connsiteX664" fmla="*/ 262737 w 1422394"/>
              <a:gd name="connsiteY664" fmla="*/ 238921 h 434793"/>
              <a:gd name="connsiteX665" fmla="*/ 259290 w 1422394"/>
              <a:gd name="connsiteY665" fmla="*/ 243735 h 434793"/>
              <a:gd name="connsiteX666" fmla="*/ 251401 w 1422394"/>
              <a:gd name="connsiteY666" fmla="*/ 241437 h 434793"/>
              <a:gd name="connsiteX667" fmla="*/ 253296 w 1422394"/>
              <a:gd name="connsiteY667" fmla="*/ 235878 h 434793"/>
              <a:gd name="connsiteX668" fmla="*/ 258731 w 1422394"/>
              <a:gd name="connsiteY668" fmla="*/ 236623 h 434793"/>
              <a:gd name="connsiteX669" fmla="*/ 259010 w 1422394"/>
              <a:gd name="connsiteY669" fmla="*/ 232337 h 434793"/>
              <a:gd name="connsiteX670" fmla="*/ 257271 w 1422394"/>
              <a:gd name="connsiteY670" fmla="*/ 230722 h 434793"/>
              <a:gd name="connsiteX671" fmla="*/ 261495 w 1422394"/>
              <a:gd name="connsiteY671" fmla="*/ 228952 h 434793"/>
              <a:gd name="connsiteX672" fmla="*/ 265159 w 1422394"/>
              <a:gd name="connsiteY672" fmla="*/ 224915 h 434793"/>
              <a:gd name="connsiteX673" fmla="*/ 267551 w 1422394"/>
              <a:gd name="connsiteY673" fmla="*/ 223610 h 434793"/>
              <a:gd name="connsiteX674" fmla="*/ 266619 w 1422394"/>
              <a:gd name="connsiteY674" fmla="*/ 220753 h 434793"/>
              <a:gd name="connsiteX675" fmla="*/ 267706 w 1422394"/>
              <a:gd name="connsiteY675" fmla="*/ 219262 h 434793"/>
              <a:gd name="connsiteX676" fmla="*/ 268762 w 1422394"/>
              <a:gd name="connsiteY676" fmla="*/ 221716 h 434793"/>
              <a:gd name="connsiteX677" fmla="*/ 270035 w 1422394"/>
              <a:gd name="connsiteY677" fmla="*/ 222772 h 434793"/>
              <a:gd name="connsiteX678" fmla="*/ 275160 w 1422394"/>
              <a:gd name="connsiteY678" fmla="*/ 220877 h 434793"/>
              <a:gd name="connsiteX679" fmla="*/ 275160 w 1422394"/>
              <a:gd name="connsiteY679" fmla="*/ 217057 h 434793"/>
              <a:gd name="connsiteX680" fmla="*/ 276433 w 1422394"/>
              <a:gd name="connsiteY680" fmla="*/ 216747 h 434793"/>
              <a:gd name="connsiteX681" fmla="*/ 275657 w 1422394"/>
              <a:gd name="connsiteY681" fmla="*/ 214666 h 434793"/>
              <a:gd name="connsiteX682" fmla="*/ 278296 w 1422394"/>
              <a:gd name="connsiteY682" fmla="*/ 212337 h 434793"/>
              <a:gd name="connsiteX683" fmla="*/ 275346 w 1422394"/>
              <a:gd name="connsiteY683" fmla="*/ 213827 h 434793"/>
              <a:gd name="connsiteX684" fmla="*/ 272862 w 1422394"/>
              <a:gd name="connsiteY684" fmla="*/ 211312 h 434793"/>
              <a:gd name="connsiteX685" fmla="*/ 273017 w 1422394"/>
              <a:gd name="connsiteY685" fmla="*/ 207740 h 434793"/>
              <a:gd name="connsiteX686" fmla="*/ 271495 w 1422394"/>
              <a:gd name="connsiteY686" fmla="*/ 210535 h 434793"/>
              <a:gd name="connsiteX687" fmla="*/ 271775 w 1422394"/>
              <a:gd name="connsiteY687" fmla="*/ 214790 h 434793"/>
              <a:gd name="connsiteX688" fmla="*/ 270781 w 1422394"/>
              <a:gd name="connsiteY688" fmla="*/ 220784 h 434793"/>
              <a:gd name="connsiteX689" fmla="*/ 268110 w 1422394"/>
              <a:gd name="connsiteY689" fmla="*/ 217523 h 434793"/>
              <a:gd name="connsiteX690" fmla="*/ 267768 w 1422394"/>
              <a:gd name="connsiteY690" fmla="*/ 217120 h 434793"/>
              <a:gd name="connsiteX691" fmla="*/ 267551 w 1422394"/>
              <a:gd name="connsiteY691" fmla="*/ 217120 h 434793"/>
              <a:gd name="connsiteX692" fmla="*/ 267365 w 1422394"/>
              <a:gd name="connsiteY692" fmla="*/ 217120 h 434793"/>
              <a:gd name="connsiteX693" fmla="*/ 267365 w 1422394"/>
              <a:gd name="connsiteY693" fmla="*/ 217120 h 434793"/>
              <a:gd name="connsiteX694" fmla="*/ 267147 w 1422394"/>
              <a:gd name="connsiteY694" fmla="*/ 217368 h 434793"/>
              <a:gd name="connsiteX695" fmla="*/ 266712 w 1422394"/>
              <a:gd name="connsiteY695" fmla="*/ 218082 h 434793"/>
              <a:gd name="connsiteX696" fmla="*/ 266153 w 1422394"/>
              <a:gd name="connsiteY696" fmla="*/ 219449 h 434793"/>
              <a:gd name="connsiteX697" fmla="*/ 265159 w 1422394"/>
              <a:gd name="connsiteY697" fmla="*/ 220318 h 434793"/>
              <a:gd name="connsiteX698" fmla="*/ 260843 w 1422394"/>
              <a:gd name="connsiteY698" fmla="*/ 220567 h 434793"/>
              <a:gd name="connsiteX699" fmla="*/ 259197 w 1422394"/>
              <a:gd name="connsiteY699" fmla="*/ 220567 h 434793"/>
              <a:gd name="connsiteX700" fmla="*/ 260004 w 1422394"/>
              <a:gd name="connsiteY700" fmla="*/ 222989 h 434793"/>
              <a:gd name="connsiteX701" fmla="*/ 262023 w 1422394"/>
              <a:gd name="connsiteY701" fmla="*/ 226685 h 434793"/>
              <a:gd name="connsiteX702" fmla="*/ 256898 w 1422394"/>
              <a:gd name="connsiteY702" fmla="*/ 227958 h 434793"/>
              <a:gd name="connsiteX703" fmla="*/ 257892 w 1422394"/>
              <a:gd name="connsiteY703" fmla="*/ 224107 h 434793"/>
              <a:gd name="connsiteX704" fmla="*/ 256961 w 1422394"/>
              <a:gd name="connsiteY704" fmla="*/ 220380 h 434793"/>
              <a:gd name="connsiteX705" fmla="*/ 235904 w 1422394"/>
              <a:gd name="connsiteY705" fmla="*/ 211654 h 434793"/>
              <a:gd name="connsiteX706" fmla="*/ 216214 w 1422394"/>
              <a:gd name="connsiteY706" fmla="*/ 231343 h 434793"/>
              <a:gd name="connsiteX707" fmla="*/ 251650 w 1422394"/>
              <a:gd name="connsiteY707" fmla="*/ 247741 h 434793"/>
              <a:gd name="connsiteX708" fmla="*/ 255842 w 1422394"/>
              <a:gd name="connsiteY708" fmla="*/ 245629 h 434793"/>
              <a:gd name="connsiteX709" fmla="*/ 262892 w 1422394"/>
              <a:gd name="connsiteY709" fmla="*/ 244977 h 434793"/>
              <a:gd name="connsiteX710" fmla="*/ 264694 w 1422394"/>
              <a:gd name="connsiteY710" fmla="*/ 291780 h 434793"/>
              <a:gd name="connsiteX711" fmla="*/ 264694 w 1422394"/>
              <a:gd name="connsiteY711" fmla="*/ 319731 h 434793"/>
              <a:gd name="connsiteX712" fmla="*/ 297334 w 1422394"/>
              <a:gd name="connsiteY712" fmla="*/ 314886 h 434793"/>
              <a:gd name="connsiteX713" fmla="*/ 291464 w 1422394"/>
              <a:gd name="connsiteY713" fmla="*/ 309109 h 434793"/>
              <a:gd name="connsiteX714" fmla="*/ 288110 w 1422394"/>
              <a:gd name="connsiteY714" fmla="*/ 300569 h 434793"/>
              <a:gd name="connsiteX715" fmla="*/ 287334 w 1422394"/>
              <a:gd name="connsiteY715" fmla="*/ 295103 h 434793"/>
              <a:gd name="connsiteX716" fmla="*/ 281123 w 1422394"/>
              <a:gd name="connsiteY716" fmla="*/ 290103 h 434793"/>
              <a:gd name="connsiteX717" fmla="*/ 264663 w 1422394"/>
              <a:gd name="connsiteY717" fmla="*/ 291904 h 434793"/>
              <a:gd name="connsiteX718" fmla="*/ 278017 w 1422394"/>
              <a:gd name="connsiteY718" fmla="*/ 282618 h 434793"/>
              <a:gd name="connsiteX719" fmla="*/ 273980 w 1422394"/>
              <a:gd name="connsiteY719" fmla="*/ 281904 h 434793"/>
              <a:gd name="connsiteX720" fmla="*/ 264663 w 1422394"/>
              <a:gd name="connsiteY720" fmla="*/ 280475 h 434793"/>
              <a:gd name="connsiteX721" fmla="*/ 264663 w 1422394"/>
              <a:gd name="connsiteY721" fmla="*/ 284016 h 434793"/>
              <a:gd name="connsiteX722" fmla="*/ 277986 w 1422394"/>
              <a:gd name="connsiteY722" fmla="*/ 282742 h 434793"/>
              <a:gd name="connsiteX723" fmla="*/ 380970 w 1422394"/>
              <a:gd name="connsiteY723" fmla="*/ 306997 h 434793"/>
              <a:gd name="connsiteX724" fmla="*/ 361249 w 1422394"/>
              <a:gd name="connsiteY724" fmla="*/ 287276 h 434793"/>
              <a:gd name="connsiteX725" fmla="*/ 326900 w 1422394"/>
              <a:gd name="connsiteY725" fmla="*/ 311563 h 434793"/>
              <a:gd name="connsiteX726" fmla="*/ 313825 w 1422394"/>
              <a:gd name="connsiteY726" fmla="*/ 318706 h 434793"/>
              <a:gd name="connsiteX727" fmla="*/ 308670 w 1422394"/>
              <a:gd name="connsiteY727" fmla="*/ 320383 h 434793"/>
              <a:gd name="connsiteX728" fmla="*/ 307055 w 1422394"/>
              <a:gd name="connsiteY728" fmla="*/ 319886 h 434793"/>
              <a:gd name="connsiteX729" fmla="*/ 264694 w 1422394"/>
              <a:gd name="connsiteY729" fmla="*/ 327340 h 434793"/>
              <a:gd name="connsiteX730" fmla="*/ 264694 w 1422394"/>
              <a:gd name="connsiteY730" fmla="*/ 355135 h 434793"/>
              <a:gd name="connsiteX731" fmla="*/ 380939 w 1422394"/>
              <a:gd name="connsiteY731" fmla="*/ 307122 h 434793"/>
              <a:gd name="connsiteX732" fmla="*/ 342087 w 1422394"/>
              <a:gd name="connsiteY732" fmla="*/ 105968 h 434793"/>
              <a:gd name="connsiteX733" fmla="*/ 341869 w 1422394"/>
              <a:gd name="connsiteY733" fmla="*/ 106278 h 434793"/>
              <a:gd name="connsiteX734" fmla="*/ 354292 w 1422394"/>
              <a:gd name="connsiteY734" fmla="*/ 122304 h 434793"/>
              <a:gd name="connsiteX735" fmla="*/ 355627 w 1422394"/>
              <a:gd name="connsiteY735" fmla="*/ 121962 h 434793"/>
              <a:gd name="connsiteX736" fmla="*/ 357522 w 1422394"/>
              <a:gd name="connsiteY736" fmla="*/ 124602 h 434793"/>
              <a:gd name="connsiteX737" fmla="*/ 357522 w 1422394"/>
              <a:gd name="connsiteY737" fmla="*/ 127707 h 434793"/>
              <a:gd name="connsiteX738" fmla="*/ 360100 w 1422394"/>
              <a:gd name="connsiteY738" fmla="*/ 132645 h 434793"/>
              <a:gd name="connsiteX739" fmla="*/ 362056 w 1422394"/>
              <a:gd name="connsiteY739" fmla="*/ 134322 h 434793"/>
              <a:gd name="connsiteX740" fmla="*/ 363640 w 1422394"/>
              <a:gd name="connsiteY740" fmla="*/ 140534 h 434793"/>
              <a:gd name="connsiteX741" fmla="*/ 367305 w 1422394"/>
              <a:gd name="connsiteY741" fmla="*/ 151279 h 434793"/>
              <a:gd name="connsiteX742" fmla="*/ 370410 w 1422394"/>
              <a:gd name="connsiteY742" fmla="*/ 152770 h 434793"/>
              <a:gd name="connsiteX743" fmla="*/ 369044 w 1422394"/>
              <a:gd name="connsiteY743" fmla="*/ 158981 h 434793"/>
              <a:gd name="connsiteX744" fmla="*/ 371280 w 1422394"/>
              <a:gd name="connsiteY744" fmla="*/ 177615 h 434793"/>
              <a:gd name="connsiteX745" fmla="*/ 399231 w 1422394"/>
              <a:gd name="connsiteY745" fmla="*/ 177615 h 434793"/>
              <a:gd name="connsiteX746" fmla="*/ 387461 w 1422394"/>
              <a:gd name="connsiteY746" fmla="*/ 125471 h 434793"/>
              <a:gd name="connsiteX747" fmla="*/ 385255 w 1422394"/>
              <a:gd name="connsiteY747" fmla="*/ 127117 h 434793"/>
              <a:gd name="connsiteX748" fmla="*/ 380317 w 1422394"/>
              <a:gd name="connsiteY748" fmla="*/ 125130 h 434793"/>
              <a:gd name="connsiteX749" fmla="*/ 370038 w 1422394"/>
              <a:gd name="connsiteY749" fmla="*/ 113763 h 434793"/>
              <a:gd name="connsiteX750" fmla="*/ 364261 w 1422394"/>
              <a:gd name="connsiteY750" fmla="*/ 110316 h 434793"/>
              <a:gd name="connsiteX751" fmla="*/ 359044 w 1422394"/>
              <a:gd name="connsiteY751" fmla="*/ 106340 h 434793"/>
              <a:gd name="connsiteX752" fmla="*/ 355410 w 1422394"/>
              <a:gd name="connsiteY752" fmla="*/ 102645 h 434793"/>
              <a:gd name="connsiteX753" fmla="*/ 348857 w 1422394"/>
              <a:gd name="connsiteY753" fmla="*/ 99135 h 434793"/>
              <a:gd name="connsiteX754" fmla="*/ 342211 w 1422394"/>
              <a:gd name="connsiteY754" fmla="*/ 105781 h 434793"/>
              <a:gd name="connsiteX755" fmla="*/ 342056 w 1422394"/>
              <a:gd name="connsiteY755" fmla="*/ 106092 h 434793"/>
              <a:gd name="connsiteX756" fmla="*/ 359727 w 1422394"/>
              <a:gd name="connsiteY756" fmla="*/ 274761 h 434793"/>
              <a:gd name="connsiteX757" fmla="*/ 361249 w 1422394"/>
              <a:gd name="connsiteY757" fmla="*/ 276282 h 434793"/>
              <a:gd name="connsiteX758" fmla="*/ 398951 w 1422394"/>
              <a:gd name="connsiteY758" fmla="*/ 185318 h 434793"/>
              <a:gd name="connsiteX759" fmla="*/ 371000 w 1422394"/>
              <a:gd name="connsiteY759" fmla="*/ 185318 h 434793"/>
              <a:gd name="connsiteX760" fmla="*/ 341372 w 1422394"/>
              <a:gd name="connsiteY760" fmla="*/ 256748 h 434793"/>
              <a:gd name="connsiteX761" fmla="*/ 351404 w 1422394"/>
              <a:gd name="connsiteY761" fmla="*/ 266779 h 434793"/>
              <a:gd name="connsiteX762" fmla="*/ 351590 w 1422394"/>
              <a:gd name="connsiteY762" fmla="*/ 266344 h 434793"/>
              <a:gd name="connsiteX763" fmla="*/ 352211 w 1422394"/>
              <a:gd name="connsiteY763" fmla="*/ 260661 h 434793"/>
              <a:gd name="connsiteX764" fmla="*/ 356404 w 1422394"/>
              <a:gd name="connsiteY764" fmla="*/ 261624 h 434793"/>
              <a:gd name="connsiteX765" fmla="*/ 358702 w 1422394"/>
              <a:gd name="connsiteY765" fmla="*/ 267835 h 434793"/>
              <a:gd name="connsiteX766" fmla="*/ 359696 w 1422394"/>
              <a:gd name="connsiteY766" fmla="*/ 274885 h 434793"/>
              <a:gd name="connsiteX767" fmla="*/ 338608 w 1422394"/>
              <a:gd name="connsiteY767" fmla="*/ 292121 h 434793"/>
              <a:gd name="connsiteX768" fmla="*/ 334820 w 1422394"/>
              <a:gd name="connsiteY768" fmla="*/ 298084 h 434793"/>
              <a:gd name="connsiteX769" fmla="*/ 355783 w 1422394"/>
              <a:gd name="connsiteY769" fmla="*/ 281779 h 434793"/>
              <a:gd name="connsiteX770" fmla="*/ 336124 w 1422394"/>
              <a:gd name="connsiteY770" fmla="*/ 262121 h 434793"/>
              <a:gd name="connsiteX771" fmla="*/ 331900 w 1422394"/>
              <a:gd name="connsiteY771" fmla="*/ 265847 h 434793"/>
              <a:gd name="connsiteX772" fmla="*/ 334633 w 1422394"/>
              <a:gd name="connsiteY772" fmla="*/ 270723 h 434793"/>
              <a:gd name="connsiteX773" fmla="*/ 341559 w 1422394"/>
              <a:gd name="connsiteY773" fmla="*/ 277618 h 434793"/>
              <a:gd name="connsiteX774" fmla="*/ 336062 w 1422394"/>
              <a:gd name="connsiteY774" fmla="*/ 286935 h 434793"/>
              <a:gd name="connsiteX775" fmla="*/ 338577 w 1422394"/>
              <a:gd name="connsiteY775" fmla="*/ 292246 h 434793"/>
              <a:gd name="connsiteX776" fmla="*/ 343205 w 1422394"/>
              <a:gd name="connsiteY776" fmla="*/ 177212 h 434793"/>
              <a:gd name="connsiteX777" fmla="*/ 343018 w 1422394"/>
              <a:gd name="connsiteY777" fmla="*/ 177553 h 434793"/>
              <a:gd name="connsiteX778" fmla="*/ 363485 w 1422394"/>
              <a:gd name="connsiteY778" fmla="*/ 177553 h 434793"/>
              <a:gd name="connsiteX779" fmla="*/ 362771 w 1422394"/>
              <a:gd name="connsiteY779" fmla="*/ 168795 h 434793"/>
              <a:gd name="connsiteX780" fmla="*/ 362305 w 1422394"/>
              <a:gd name="connsiteY780" fmla="*/ 169696 h 434793"/>
              <a:gd name="connsiteX781" fmla="*/ 360628 w 1422394"/>
              <a:gd name="connsiteY781" fmla="*/ 169696 h 434793"/>
              <a:gd name="connsiteX782" fmla="*/ 362118 w 1422394"/>
              <a:gd name="connsiteY782" fmla="*/ 164478 h 434793"/>
              <a:gd name="connsiteX783" fmla="*/ 361590 w 1422394"/>
              <a:gd name="connsiteY783" fmla="*/ 161652 h 434793"/>
              <a:gd name="connsiteX784" fmla="*/ 358702 w 1422394"/>
              <a:gd name="connsiteY784" fmla="*/ 163857 h 434793"/>
              <a:gd name="connsiteX785" fmla="*/ 356621 w 1422394"/>
              <a:gd name="connsiteY785" fmla="*/ 167243 h 434793"/>
              <a:gd name="connsiteX786" fmla="*/ 352118 w 1422394"/>
              <a:gd name="connsiteY786" fmla="*/ 167895 h 434793"/>
              <a:gd name="connsiteX787" fmla="*/ 347925 w 1422394"/>
              <a:gd name="connsiteY787" fmla="*/ 173081 h 434793"/>
              <a:gd name="connsiteX788" fmla="*/ 343050 w 1422394"/>
              <a:gd name="connsiteY788" fmla="*/ 177212 h 434793"/>
              <a:gd name="connsiteX789" fmla="*/ 336124 w 1422394"/>
              <a:gd name="connsiteY789" fmla="*/ 111620 h 434793"/>
              <a:gd name="connsiteX790" fmla="*/ 316465 w 1422394"/>
              <a:gd name="connsiteY790" fmla="*/ 131279 h 434793"/>
              <a:gd name="connsiteX791" fmla="*/ 325409 w 1422394"/>
              <a:gd name="connsiteY791" fmla="*/ 143484 h 434793"/>
              <a:gd name="connsiteX792" fmla="*/ 332925 w 1422394"/>
              <a:gd name="connsiteY792" fmla="*/ 147397 h 434793"/>
              <a:gd name="connsiteX793" fmla="*/ 337863 w 1422394"/>
              <a:gd name="connsiteY793" fmla="*/ 154634 h 434793"/>
              <a:gd name="connsiteX794" fmla="*/ 339292 w 1422394"/>
              <a:gd name="connsiteY794" fmla="*/ 157584 h 434793"/>
              <a:gd name="connsiteX795" fmla="*/ 342553 w 1422394"/>
              <a:gd name="connsiteY795" fmla="*/ 157584 h 434793"/>
              <a:gd name="connsiteX796" fmla="*/ 346155 w 1422394"/>
              <a:gd name="connsiteY796" fmla="*/ 151652 h 434793"/>
              <a:gd name="connsiteX797" fmla="*/ 353298 w 1422394"/>
              <a:gd name="connsiteY797" fmla="*/ 156342 h 434793"/>
              <a:gd name="connsiteX798" fmla="*/ 351714 w 1422394"/>
              <a:gd name="connsiteY798" fmla="*/ 159447 h 434793"/>
              <a:gd name="connsiteX799" fmla="*/ 351497 w 1422394"/>
              <a:gd name="connsiteY799" fmla="*/ 165659 h 434793"/>
              <a:gd name="connsiteX800" fmla="*/ 357180 w 1422394"/>
              <a:gd name="connsiteY800" fmla="*/ 162988 h 434793"/>
              <a:gd name="connsiteX801" fmla="*/ 358640 w 1422394"/>
              <a:gd name="connsiteY801" fmla="*/ 158857 h 434793"/>
              <a:gd name="connsiteX802" fmla="*/ 360690 w 1422394"/>
              <a:gd name="connsiteY802" fmla="*/ 157367 h 434793"/>
              <a:gd name="connsiteX803" fmla="*/ 355410 w 1422394"/>
              <a:gd name="connsiteY803" fmla="*/ 141372 h 434793"/>
              <a:gd name="connsiteX804" fmla="*/ 353547 w 1422394"/>
              <a:gd name="connsiteY804" fmla="*/ 140192 h 434793"/>
              <a:gd name="connsiteX805" fmla="*/ 351311 w 1422394"/>
              <a:gd name="connsiteY805" fmla="*/ 138111 h 434793"/>
              <a:gd name="connsiteX806" fmla="*/ 348515 w 1422394"/>
              <a:gd name="connsiteY806" fmla="*/ 133639 h 434793"/>
              <a:gd name="connsiteX807" fmla="*/ 351373 w 1422394"/>
              <a:gd name="connsiteY807" fmla="*/ 134043 h 434793"/>
              <a:gd name="connsiteX808" fmla="*/ 351745 w 1422394"/>
              <a:gd name="connsiteY808" fmla="*/ 133608 h 434793"/>
              <a:gd name="connsiteX809" fmla="*/ 336093 w 1422394"/>
              <a:gd name="connsiteY809" fmla="*/ 111620 h 434793"/>
              <a:gd name="connsiteX810" fmla="*/ 312272 w 1422394"/>
              <a:gd name="connsiteY810" fmla="*/ 138298 h 434793"/>
              <a:gd name="connsiteX811" fmla="*/ 309881 w 1422394"/>
              <a:gd name="connsiteY811" fmla="*/ 137863 h 434793"/>
              <a:gd name="connsiteX812" fmla="*/ 303390 w 1422394"/>
              <a:gd name="connsiteY812" fmla="*/ 144354 h 434793"/>
              <a:gd name="connsiteX813" fmla="*/ 307552 w 1422394"/>
              <a:gd name="connsiteY813" fmla="*/ 144913 h 434793"/>
              <a:gd name="connsiteX814" fmla="*/ 311092 w 1422394"/>
              <a:gd name="connsiteY814" fmla="*/ 140596 h 434793"/>
              <a:gd name="connsiteX815" fmla="*/ 312241 w 1422394"/>
              <a:gd name="connsiteY815" fmla="*/ 143702 h 434793"/>
              <a:gd name="connsiteX816" fmla="*/ 310533 w 1422394"/>
              <a:gd name="connsiteY816" fmla="*/ 146528 h 434793"/>
              <a:gd name="connsiteX817" fmla="*/ 312117 w 1422394"/>
              <a:gd name="connsiteY817" fmla="*/ 149633 h 434793"/>
              <a:gd name="connsiteX818" fmla="*/ 313390 w 1422394"/>
              <a:gd name="connsiteY818" fmla="*/ 152366 h 434793"/>
              <a:gd name="connsiteX819" fmla="*/ 314012 w 1422394"/>
              <a:gd name="connsiteY819" fmla="*/ 148360 h 434793"/>
              <a:gd name="connsiteX820" fmla="*/ 317490 w 1422394"/>
              <a:gd name="connsiteY820" fmla="*/ 148702 h 434793"/>
              <a:gd name="connsiteX821" fmla="*/ 318577 w 1422394"/>
              <a:gd name="connsiteY821" fmla="*/ 147149 h 434793"/>
              <a:gd name="connsiteX822" fmla="*/ 312241 w 1422394"/>
              <a:gd name="connsiteY822" fmla="*/ 138298 h 434793"/>
              <a:gd name="connsiteX823" fmla="*/ 302148 w 1422394"/>
              <a:gd name="connsiteY823" fmla="*/ 241499 h 434793"/>
              <a:gd name="connsiteX824" fmla="*/ 300409 w 1422394"/>
              <a:gd name="connsiteY824" fmla="*/ 242244 h 434793"/>
              <a:gd name="connsiteX825" fmla="*/ 313111 w 1422394"/>
              <a:gd name="connsiteY825" fmla="*/ 248300 h 434793"/>
              <a:gd name="connsiteX826" fmla="*/ 320751 w 1422394"/>
              <a:gd name="connsiteY826" fmla="*/ 248549 h 434793"/>
              <a:gd name="connsiteX827" fmla="*/ 325565 w 1422394"/>
              <a:gd name="connsiteY827" fmla="*/ 249232 h 434793"/>
              <a:gd name="connsiteX828" fmla="*/ 329633 w 1422394"/>
              <a:gd name="connsiteY828" fmla="*/ 245164 h 434793"/>
              <a:gd name="connsiteX829" fmla="*/ 332739 w 1422394"/>
              <a:gd name="connsiteY829" fmla="*/ 239977 h 434793"/>
              <a:gd name="connsiteX830" fmla="*/ 336093 w 1422394"/>
              <a:gd name="connsiteY830" fmla="*/ 249294 h 434793"/>
              <a:gd name="connsiteX831" fmla="*/ 335875 w 1422394"/>
              <a:gd name="connsiteY831" fmla="*/ 251033 h 434793"/>
              <a:gd name="connsiteX832" fmla="*/ 336186 w 1422394"/>
              <a:gd name="connsiteY832" fmla="*/ 251344 h 434793"/>
              <a:gd name="connsiteX833" fmla="*/ 363454 w 1422394"/>
              <a:gd name="connsiteY833" fmla="*/ 185318 h 434793"/>
              <a:gd name="connsiteX834" fmla="*/ 342304 w 1422394"/>
              <a:gd name="connsiteY834" fmla="*/ 185318 h 434793"/>
              <a:gd name="connsiteX835" fmla="*/ 345627 w 1422394"/>
              <a:gd name="connsiteY835" fmla="*/ 190815 h 434793"/>
              <a:gd name="connsiteX836" fmla="*/ 349137 w 1422394"/>
              <a:gd name="connsiteY836" fmla="*/ 196684 h 434793"/>
              <a:gd name="connsiteX837" fmla="*/ 355100 w 1422394"/>
              <a:gd name="connsiteY837" fmla="*/ 201374 h 434793"/>
              <a:gd name="connsiteX838" fmla="*/ 340472 w 1422394"/>
              <a:gd name="connsiteY838" fmla="*/ 206063 h 434793"/>
              <a:gd name="connsiteX839" fmla="*/ 337987 w 1422394"/>
              <a:gd name="connsiteY839" fmla="*/ 207771 h 434793"/>
              <a:gd name="connsiteX840" fmla="*/ 331434 w 1422394"/>
              <a:gd name="connsiteY840" fmla="*/ 211871 h 434793"/>
              <a:gd name="connsiteX841" fmla="*/ 327832 w 1422394"/>
              <a:gd name="connsiteY841" fmla="*/ 218952 h 434793"/>
              <a:gd name="connsiteX842" fmla="*/ 320875 w 1422394"/>
              <a:gd name="connsiteY842" fmla="*/ 225753 h 434793"/>
              <a:gd name="connsiteX843" fmla="*/ 314508 w 1422394"/>
              <a:gd name="connsiteY843" fmla="*/ 229480 h 434793"/>
              <a:gd name="connsiteX844" fmla="*/ 320254 w 1422394"/>
              <a:gd name="connsiteY844" fmla="*/ 229884 h 434793"/>
              <a:gd name="connsiteX845" fmla="*/ 321341 w 1422394"/>
              <a:gd name="connsiteY845" fmla="*/ 229542 h 434793"/>
              <a:gd name="connsiteX846" fmla="*/ 323919 w 1422394"/>
              <a:gd name="connsiteY846" fmla="*/ 227523 h 434793"/>
              <a:gd name="connsiteX847" fmla="*/ 324757 w 1422394"/>
              <a:gd name="connsiteY847" fmla="*/ 224169 h 434793"/>
              <a:gd name="connsiteX848" fmla="*/ 329571 w 1422394"/>
              <a:gd name="connsiteY848" fmla="*/ 222151 h 434793"/>
              <a:gd name="connsiteX849" fmla="*/ 330968 w 1422394"/>
              <a:gd name="connsiteY849" fmla="*/ 231902 h 434793"/>
              <a:gd name="connsiteX850" fmla="*/ 325099 w 1422394"/>
              <a:gd name="connsiteY850" fmla="*/ 246375 h 434793"/>
              <a:gd name="connsiteX851" fmla="*/ 320161 w 1422394"/>
              <a:gd name="connsiteY851" fmla="*/ 245909 h 434793"/>
              <a:gd name="connsiteX852" fmla="*/ 311185 w 1422394"/>
              <a:gd name="connsiteY852" fmla="*/ 243797 h 434793"/>
              <a:gd name="connsiteX853" fmla="*/ 302117 w 1422394"/>
              <a:gd name="connsiteY853" fmla="*/ 241499 h 434793"/>
              <a:gd name="connsiteX854" fmla="*/ 434573 w 1422394"/>
              <a:gd name="connsiteY854" fmla="*/ 185318 h 434793"/>
              <a:gd name="connsiteX855" fmla="*/ 406778 w 1422394"/>
              <a:gd name="connsiteY855" fmla="*/ 185318 h 434793"/>
              <a:gd name="connsiteX856" fmla="*/ 366715 w 1422394"/>
              <a:gd name="connsiteY856" fmla="*/ 281904 h 434793"/>
              <a:gd name="connsiteX857" fmla="*/ 386436 w 1422394"/>
              <a:gd name="connsiteY857" fmla="*/ 301625 h 434793"/>
              <a:gd name="connsiteX858" fmla="*/ 434573 w 1422394"/>
              <a:gd name="connsiteY858" fmla="*/ 185318 h 434793"/>
              <a:gd name="connsiteX859" fmla="*/ 386529 w 1422394"/>
              <a:gd name="connsiteY859" fmla="*/ 61277 h 434793"/>
              <a:gd name="connsiteX860" fmla="*/ 365938 w 1422394"/>
              <a:gd name="connsiteY860" fmla="*/ 81868 h 434793"/>
              <a:gd name="connsiteX861" fmla="*/ 376373 w 1422394"/>
              <a:gd name="connsiteY861" fmla="*/ 94290 h 434793"/>
              <a:gd name="connsiteX862" fmla="*/ 382585 w 1422394"/>
              <a:gd name="connsiteY862" fmla="*/ 100284 h 434793"/>
              <a:gd name="connsiteX863" fmla="*/ 393392 w 1422394"/>
              <a:gd name="connsiteY863" fmla="*/ 118018 h 434793"/>
              <a:gd name="connsiteX864" fmla="*/ 392895 w 1422394"/>
              <a:gd name="connsiteY864" fmla="*/ 118453 h 434793"/>
              <a:gd name="connsiteX865" fmla="*/ 407026 w 1422394"/>
              <a:gd name="connsiteY865" fmla="*/ 177460 h 434793"/>
              <a:gd name="connsiteX866" fmla="*/ 434822 w 1422394"/>
              <a:gd name="connsiteY866" fmla="*/ 177460 h 434793"/>
              <a:gd name="connsiteX867" fmla="*/ 386529 w 1422394"/>
              <a:gd name="connsiteY867" fmla="*/ 61277 h 434793"/>
              <a:gd name="connsiteX868" fmla="*/ 264756 w 1422394"/>
              <a:gd name="connsiteY868" fmla="*/ 35438 h 434793"/>
              <a:gd name="connsiteX869" fmla="*/ 330223 w 1422394"/>
              <a:gd name="connsiteY869" fmla="*/ 52799 h 434793"/>
              <a:gd name="connsiteX870" fmla="*/ 335161 w 1422394"/>
              <a:gd name="connsiteY870" fmla="*/ 51712 h 434793"/>
              <a:gd name="connsiteX871" fmla="*/ 344820 w 1422394"/>
              <a:gd name="connsiteY871" fmla="*/ 54538 h 434793"/>
              <a:gd name="connsiteX872" fmla="*/ 351031 w 1422394"/>
              <a:gd name="connsiteY872" fmla="*/ 58917 h 434793"/>
              <a:gd name="connsiteX873" fmla="*/ 358143 w 1422394"/>
              <a:gd name="connsiteY873" fmla="*/ 68234 h 434793"/>
              <a:gd name="connsiteX874" fmla="*/ 360255 w 1422394"/>
              <a:gd name="connsiteY874" fmla="*/ 73451 h 434793"/>
              <a:gd name="connsiteX875" fmla="*/ 361746 w 1422394"/>
              <a:gd name="connsiteY875" fmla="*/ 75253 h 434793"/>
              <a:gd name="connsiteX876" fmla="*/ 381094 w 1422394"/>
              <a:gd name="connsiteY876" fmla="*/ 55936 h 434793"/>
              <a:gd name="connsiteX877" fmla="*/ 264787 w 1422394"/>
              <a:gd name="connsiteY877" fmla="*/ 7798 h 434793"/>
              <a:gd name="connsiteX878" fmla="*/ 264756 w 1422394"/>
              <a:gd name="connsiteY878" fmla="*/ 70998 h 434793"/>
              <a:gd name="connsiteX879" fmla="*/ 327521 w 1422394"/>
              <a:gd name="connsiteY879" fmla="*/ 93483 h 434793"/>
              <a:gd name="connsiteX880" fmla="*/ 322583 w 1422394"/>
              <a:gd name="connsiteY880" fmla="*/ 87116 h 434793"/>
              <a:gd name="connsiteX881" fmla="*/ 315130 w 1422394"/>
              <a:gd name="connsiteY881" fmla="*/ 82054 h 434793"/>
              <a:gd name="connsiteX882" fmla="*/ 322428 w 1422394"/>
              <a:gd name="connsiteY882" fmla="*/ 84725 h 434793"/>
              <a:gd name="connsiteX883" fmla="*/ 319881 w 1422394"/>
              <a:gd name="connsiteY883" fmla="*/ 78514 h 434793"/>
              <a:gd name="connsiteX884" fmla="*/ 327521 w 1422394"/>
              <a:gd name="connsiteY884" fmla="*/ 86868 h 434793"/>
              <a:gd name="connsiteX885" fmla="*/ 333142 w 1422394"/>
              <a:gd name="connsiteY885" fmla="*/ 89011 h 434793"/>
              <a:gd name="connsiteX886" fmla="*/ 336559 w 1422394"/>
              <a:gd name="connsiteY886" fmla="*/ 93576 h 434793"/>
              <a:gd name="connsiteX887" fmla="*/ 338143 w 1422394"/>
              <a:gd name="connsiteY887" fmla="*/ 95409 h 434793"/>
              <a:gd name="connsiteX888" fmla="*/ 336155 w 1422394"/>
              <a:gd name="connsiteY888" fmla="*/ 94787 h 434793"/>
              <a:gd name="connsiteX889" fmla="*/ 337490 w 1422394"/>
              <a:gd name="connsiteY889" fmla="*/ 99228 h 434793"/>
              <a:gd name="connsiteX890" fmla="*/ 346807 w 1422394"/>
              <a:gd name="connsiteY890" fmla="*/ 89911 h 434793"/>
              <a:gd name="connsiteX891" fmla="*/ 341000 w 1422394"/>
              <a:gd name="connsiteY891" fmla="*/ 83141 h 434793"/>
              <a:gd name="connsiteX892" fmla="*/ 336590 w 1422394"/>
              <a:gd name="connsiteY892" fmla="*/ 85377 h 434793"/>
              <a:gd name="connsiteX893" fmla="*/ 333484 w 1422394"/>
              <a:gd name="connsiteY893" fmla="*/ 86092 h 434793"/>
              <a:gd name="connsiteX894" fmla="*/ 333639 w 1422394"/>
              <a:gd name="connsiteY894" fmla="*/ 82396 h 434793"/>
              <a:gd name="connsiteX895" fmla="*/ 332397 w 1422394"/>
              <a:gd name="connsiteY895" fmla="*/ 79476 h 434793"/>
              <a:gd name="connsiteX896" fmla="*/ 331248 w 1422394"/>
              <a:gd name="connsiteY896" fmla="*/ 72768 h 434793"/>
              <a:gd name="connsiteX897" fmla="*/ 327304 w 1422394"/>
              <a:gd name="connsiteY897" fmla="*/ 66340 h 434793"/>
              <a:gd name="connsiteX898" fmla="*/ 323173 w 1422394"/>
              <a:gd name="connsiteY898" fmla="*/ 57985 h 434793"/>
              <a:gd name="connsiteX899" fmla="*/ 264663 w 1422394"/>
              <a:gd name="connsiteY899" fmla="*/ 43264 h 434793"/>
              <a:gd name="connsiteX900" fmla="*/ 264756 w 1422394"/>
              <a:gd name="connsiteY900" fmla="*/ 106589 h 434793"/>
              <a:gd name="connsiteX901" fmla="*/ 311030 w 1422394"/>
              <a:gd name="connsiteY901" fmla="*/ 125782 h 434793"/>
              <a:gd name="connsiteX902" fmla="*/ 330627 w 1422394"/>
              <a:gd name="connsiteY902" fmla="*/ 106123 h 434793"/>
              <a:gd name="connsiteX903" fmla="*/ 264694 w 1422394"/>
              <a:gd name="connsiteY903" fmla="*/ 78762 h 434793"/>
              <a:gd name="connsiteX904" fmla="*/ 264756 w 1422394"/>
              <a:gd name="connsiteY904" fmla="*/ 142211 h 434793"/>
              <a:gd name="connsiteX905" fmla="*/ 272520 w 1422394"/>
              <a:gd name="connsiteY905" fmla="*/ 143795 h 434793"/>
              <a:gd name="connsiteX906" fmla="*/ 276216 w 1422394"/>
              <a:gd name="connsiteY906" fmla="*/ 140441 h 434793"/>
              <a:gd name="connsiteX907" fmla="*/ 278762 w 1422394"/>
              <a:gd name="connsiteY907" fmla="*/ 141093 h 434793"/>
              <a:gd name="connsiteX908" fmla="*/ 276588 w 1422394"/>
              <a:gd name="connsiteY908" fmla="*/ 145285 h 434793"/>
              <a:gd name="connsiteX909" fmla="*/ 284321 w 1422394"/>
              <a:gd name="connsiteY909" fmla="*/ 149727 h 434793"/>
              <a:gd name="connsiteX910" fmla="*/ 285874 w 1422394"/>
              <a:gd name="connsiteY910" fmla="*/ 150969 h 434793"/>
              <a:gd name="connsiteX911" fmla="*/ 288545 w 1422394"/>
              <a:gd name="connsiteY911" fmla="*/ 148298 h 434793"/>
              <a:gd name="connsiteX912" fmla="*/ 288545 w 1422394"/>
              <a:gd name="connsiteY912" fmla="*/ 147987 h 434793"/>
              <a:gd name="connsiteX913" fmla="*/ 293328 w 1422394"/>
              <a:gd name="connsiteY913" fmla="*/ 143546 h 434793"/>
              <a:gd name="connsiteX914" fmla="*/ 301993 w 1422394"/>
              <a:gd name="connsiteY914" fmla="*/ 134882 h 434793"/>
              <a:gd name="connsiteX915" fmla="*/ 301340 w 1422394"/>
              <a:gd name="connsiteY915" fmla="*/ 134882 h 434793"/>
              <a:gd name="connsiteX916" fmla="*/ 297396 w 1422394"/>
              <a:gd name="connsiteY916" fmla="*/ 136465 h 434793"/>
              <a:gd name="connsiteX917" fmla="*/ 303608 w 1422394"/>
              <a:gd name="connsiteY917" fmla="*/ 132086 h 434793"/>
              <a:gd name="connsiteX918" fmla="*/ 304632 w 1422394"/>
              <a:gd name="connsiteY918" fmla="*/ 132490 h 434793"/>
              <a:gd name="connsiteX919" fmla="*/ 305719 w 1422394"/>
              <a:gd name="connsiteY919" fmla="*/ 131372 h 434793"/>
              <a:gd name="connsiteX920" fmla="*/ 264942 w 1422394"/>
              <a:gd name="connsiteY920" fmla="*/ 114446 h 434793"/>
              <a:gd name="connsiteX921" fmla="*/ 260874 w 1422394"/>
              <a:gd name="connsiteY921" fmla="*/ 149789 h 434793"/>
              <a:gd name="connsiteX922" fmla="*/ 251557 w 1422394"/>
              <a:gd name="connsiteY922" fmla="*/ 151217 h 434793"/>
              <a:gd name="connsiteX923" fmla="*/ 251091 w 1422394"/>
              <a:gd name="connsiteY923" fmla="*/ 152335 h 434793"/>
              <a:gd name="connsiteX924" fmla="*/ 254507 w 1422394"/>
              <a:gd name="connsiteY924" fmla="*/ 153267 h 434793"/>
              <a:gd name="connsiteX925" fmla="*/ 252178 w 1422394"/>
              <a:gd name="connsiteY925" fmla="*/ 154851 h 434793"/>
              <a:gd name="connsiteX926" fmla="*/ 254383 w 1422394"/>
              <a:gd name="connsiteY926" fmla="*/ 156652 h 434793"/>
              <a:gd name="connsiteX927" fmla="*/ 252271 w 1422394"/>
              <a:gd name="connsiteY927" fmla="*/ 160690 h 434793"/>
              <a:gd name="connsiteX928" fmla="*/ 243730 w 1422394"/>
              <a:gd name="connsiteY928" fmla="*/ 163795 h 434793"/>
              <a:gd name="connsiteX929" fmla="*/ 241525 w 1422394"/>
              <a:gd name="connsiteY929" fmla="*/ 167491 h 434793"/>
              <a:gd name="connsiteX930" fmla="*/ 235035 w 1422394"/>
              <a:gd name="connsiteY930" fmla="*/ 172677 h 434793"/>
              <a:gd name="connsiteX931" fmla="*/ 238327 w 1422394"/>
              <a:gd name="connsiteY931" fmla="*/ 171373 h 434793"/>
              <a:gd name="connsiteX932" fmla="*/ 242768 w 1422394"/>
              <a:gd name="connsiteY932" fmla="*/ 169199 h 434793"/>
              <a:gd name="connsiteX933" fmla="*/ 243513 w 1422394"/>
              <a:gd name="connsiteY933" fmla="*/ 172709 h 434793"/>
              <a:gd name="connsiteX934" fmla="*/ 238109 w 1422394"/>
              <a:gd name="connsiteY934" fmla="*/ 176435 h 434793"/>
              <a:gd name="connsiteX935" fmla="*/ 235345 w 1422394"/>
              <a:gd name="connsiteY935" fmla="*/ 176249 h 434793"/>
              <a:gd name="connsiteX936" fmla="*/ 240314 w 1422394"/>
              <a:gd name="connsiteY936" fmla="*/ 178485 h 434793"/>
              <a:gd name="connsiteX937" fmla="*/ 236898 w 1422394"/>
              <a:gd name="connsiteY937" fmla="*/ 181063 h 434793"/>
              <a:gd name="connsiteX938" fmla="*/ 237705 w 1422394"/>
              <a:gd name="connsiteY938" fmla="*/ 182398 h 434793"/>
              <a:gd name="connsiteX939" fmla="*/ 241277 w 1422394"/>
              <a:gd name="connsiteY939" fmla="*/ 182678 h 434793"/>
              <a:gd name="connsiteX940" fmla="*/ 235066 w 1422394"/>
              <a:gd name="connsiteY940" fmla="*/ 194448 h 434793"/>
              <a:gd name="connsiteX941" fmla="*/ 232426 w 1422394"/>
              <a:gd name="connsiteY941" fmla="*/ 195038 h 434793"/>
              <a:gd name="connsiteX942" fmla="*/ 236525 w 1422394"/>
              <a:gd name="connsiteY942" fmla="*/ 201405 h 434793"/>
              <a:gd name="connsiteX943" fmla="*/ 240066 w 1422394"/>
              <a:gd name="connsiteY943" fmla="*/ 197026 h 434793"/>
              <a:gd name="connsiteX944" fmla="*/ 241153 w 1422394"/>
              <a:gd name="connsiteY944" fmla="*/ 195473 h 434793"/>
              <a:gd name="connsiteX945" fmla="*/ 242923 w 1422394"/>
              <a:gd name="connsiteY945" fmla="*/ 194324 h 434793"/>
              <a:gd name="connsiteX946" fmla="*/ 246432 w 1422394"/>
              <a:gd name="connsiteY946" fmla="*/ 189634 h 434793"/>
              <a:gd name="connsiteX947" fmla="*/ 245935 w 1422394"/>
              <a:gd name="connsiteY947" fmla="*/ 186963 h 434793"/>
              <a:gd name="connsiteX948" fmla="*/ 247550 w 1422394"/>
              <a:gd name="connsiteY948" fmla="*/ 185659 h 434793"/>
              <a:gd name="connsiteX949" fmla="*/ 250035 w 1422394"/>
              <a:gd name="connsiteY949" fmla="*/ 186280 h 434793"/>
              <a:gd name="connsiteX950" fmla="*/ 254290 w 1422394"/>
              <a:gd name="connsiteY950" fmla="*/ 187181 h 434793"/>
              <a:gd name="connsiteX951" fmla="*/ 257395 w 1422394"/>
              <a:gd name="connsiteY951" fmla="*/ 188361 h 434793"/>
              <a:gd name="connsiteX952" fmla="*/ 257395 w 1422394"/>
              <a:gd name="connsiteY952" fmla="*/ 190659 h 434793"/>
              <a:gd name="connsiteX953" fmla="*/ 258482 w 1422394"/>
              <a:gd name="connsiteY953" fmla="*/ 190659 h 434793"/>
              <a:gd name="connsiteX954" fmla="*/ 255687 w 1422394"/>
              <a:gd name="connsiteY954" fmla="*/ 194914 h 434793"/>
              <a:gd name="connsiteX955" fmla="*/ 251308 w 1422394"/>
              <a:gd name="connsiteY955" fmla="*/ 203330 h 434793"/>
              <a:gd name="connsiteX956" fmla="*/ 246619 w 1422394"/>
              <a:gd name="connsiteY956" fmla="*/ 203330 h 434793"/>
              <a:gd name="connsiteX957" fmla="*/ 243855 w 1422394"/>
              <a:gd name="connsiteY957" fmla="*/ 204076 h 434793"/>
              <a:gd name="connsiteX958" fmla="*/ 239941 w 1422394"/>
              <a:gd name="connsiteY958" fmla="*/ 204914 h 434793"/>
              <a:gd name="connsiteX959" fmla="*/ 260780 w 1422394"/>
              <a:gd name="connsiteY959" fmla="*/ 212772 h 434793"/>
              <a:gd name="connsiteX960" fmla="*/ 265812 w 1422394"/>
              <a:gd name="connsiteY960" fmla="*/ 212337 h 434793"/>
              <a:gd name="connsiteX961" fmla="*/ 267489 w 1422394"/>
              <a:gd name="connsiteY961" fmla="*/ 207771 h 434793"/>
              <a:gd name="connsiteX962" fmla="*/ 267924 w 1422394"/>
              <a:gd name="connsiteY962" fmla="*/ 204883 h 434793"/>
              <a:gd name="connsiteX963" fmla="*/ 271930 w 1422394"/>
              <a:gd name="connsiteY963" fmla="*/ 201094 h 434793"/>
              <a:gd name="connsiteX964" fmla="*/ 274756 w 1422394"/>
              <a:gd name="connsiteY964" fmla="*/ 201498 h 434793"/>
              <a:gd name="connsiteX965" fmla="*/ 278887 w 1422394"/>
              <a:gd name="connsiteY965" fmla="*/ 202461 h 434793"/>
              <a:gd name="connsiteX966" fmla="*/ 275781 w 1422394"/>
              <a:gd name="connsiteY966" fmla="*/ 204417 h 434793"/>
              <a:gd name="connsiteX967" fmla="*/ 278887 w 1422394"/>
              <a:gd name="connsiteY967" fmla="*/ 205038 h 434793"/>
              <a:gd name="connsiteX968" fmla="*/ 279756 w 1422394"/>
              <a:gd name="connsiteY968" fmla="*/ 200846 h 434793"/>
              <a:gd name="connsiteX969" fmla="*/ 280253 w 1422394"/>
              <a:gd name="connsiteY969" fmla="*/ 199541 h 434793"/>
              <a:gd name="connsiteX970" fmla="*/ 281992 w 1422394"/>
              <a:gd name="connsiteY970" fmla="*/ 194945 h 434793"/>
              <a:gd name="connsiteX971" fmla="*/ 278452 w 1422394"/>
              <a:gd name="connsiteY971" fmla="*/ 194603 h 434793"/>
              <a:gd name="connsiteX972" fmla="*/ 276029 w 1422394"/>
              <a:gd name="connsiteY972" fmla="*/ 191032 h 434793"/>
              <a:gd name="connsiteX973" fmla="*/ 279787 w 1422394"/>
              <a:gd name="connsiteY973" fmla="*/ 193579 h 434793"/>
              <a:gd name="connsiteX974" fmla="*/ 282893 w 1422394"/>
              <a:gd name="connsiteY974" fmla="*/ 190783 h 434793"/>
              <a:gd name="connsiteX975" fmla="*/ 279787 w 1422394"/>
              <a:gd name="connsiteY975" fmla="*/ 187926 h 434793"/>
              <a:gd name="connsiteX976" fmla="*/ 281806 w 1422394"/>
              <a:gd name="connsiteY976" fmla="*/ 187119 h 434793"/>
              <a:gd name="connsiteX977" fmla="*/ 280501 w 1422394"/>
              <a:gd name="connsiteY977" fmla="*/ 184013 h 434793"/>
              <a:gd name="connsiteX978" fmla="*/ 276309 w 1422394"/>
              <a:gd name="connsiteY978" fmla="*/ 178050 h 434793"/>
              <a:gd name="connsiteX979" fmla="*/ 273638 w 1422394"/>
              <a:gd name="connsiteY979" fmla="*/ 179789 h 434793"/>
              <a:gd name="connsiteX980" fmla="*/ 272458 w 1422394"/>
              <a:gd name="connsiteY980" fmla="*/ 178889 h 434793"/>
              <a:gd name="connsiteX981" fmla="*/ 275563 w 1422394"/>
              <a:gd name="connsiteY981" fmla="*/ 175317 h 434793"/>
              <a:gd name="connsiteX982" fmla="*/ 278421 w 1422394"/>
              <a:gd name="connsiteY982" fmla="*/ 172491 h 434793"/>
              <a:gd name="connsiteX983" fmla="*/ 276464 w 1422394"/>
              <a:gd name="connsiteY983" fmla="*/ 168392 h 434793"/>
              <a:gd name="connsiteX984" fmla="*/ 276281 w 1422394"/>
              <a:gd name="connsiteY984" fmla="*/ 165280 h 434793"/>
              <a:gd name="connsiteX985" fmla="*/ 274166 w 1422394"/>
              <a:gd name="connsiteY985" fmla="*/ 164820 h 434793"/>
              <a:gd name="connsiteX986" fmla="*/ 271557 w 1422394"/>
              <a:gd name="connsiteY986" fmla="*/ 161404 h 434793"/>
              <a:gd name="connsiteX987" fmla="*/ 268917 w 1422394"/>
              <a:gd name="connsiteY987" fmla="*/ 159603 h 434793"/>
              <a:gd name="connsiteX988" fmla="*/ 264259 w 1422394"/>
              <a:gd name="connsiteY988" fmla="*/ 157522 h 434793"/>
              <a:gd name="connsiteX989" fmla="*/ 258420 w 1422394"/>
              <a:gd name="connsiteY989" fmla="*/ 154106 h 434793"/>
              <a:gd name="connsiteX990" fmla="*/ 256308 w 1422394"/>
              <a:gd name="connsiteY990" fmla="*/ 151994 h 434793"/>
              <a:gd name="connsiteX991" fmla="*/ 260749 w 1422394"/>
              <a:gd name="connsiteY991" fmla="*/ 151714 h 434793"/>
              <a:gd name="connsiteX992" fmla="*/ 261340 w 1422394"/>
              <a:gd name="connsiteY992" fmla="*/ 149416 h 434793"/>
              <a:gd name="connsiteX993" fmla="*/ 140684 w 1422394"/>
              <a:gd name="connsiteY993" fmla="*/ 55780 h 434793"/>
              <a:gd name="connsiteX994" fmla="*/ 160405 w 1422394"/>
              <a:gd name="connsiteY994" fmla="*/ 75501 h 434793"/>
              <a:gd name="connsiteX995" fmla="*/ 256992 w 1422394"/>
              <a:gd name="connsiteY995" fmla="*/ 35438 h 434793"/>
              <a:gd name="connsiteX996" fmla="*/ 256992 w 1422394"/>
              <a:gd name="connsiteY996" fmla="*/ 7642 h 434793"/>
              <a:gd name="connsiteX997" fmla="*/ 140591 w 1422394"/>
              <a:gd name="connsiteY997" fmla="*/ 55780 h 434793"/>
              <a:gd name="connsiteX998" fmla="*/ 86956 w 1422394"/>
              <a:gd name="connsiteY998" fmla="*/ 177553 h 434793"/>
              <a:gd name="connsiteX999" fmla="*/ 114752 w 1422394"/>
              <a:gd name="connsiteY999" fmla="*/ 177553 h 434793"/>
              <a:gd name="connsiteX1000" fmla="*/ 154815 w 1422394"/>
              <a:gd name="connsiteY1000" fmla="*/ 80998 h 434793"/>
              <a:gd name="connsiteX1001" fmla="*/ 134970 w 1422394"/>
              <a:gd name="connsiteY1001" fmla="*/ 61277 h 434793"/>
              <a:gd name="connsiteX1002" fmla="*/ 86956 w 1422394"/>
              <a:gd name="connsiteY1002" fmla="*/ 177553 h 434793"/>
              <a:gd name="connsiteX1003" fmla="*/ 693337 w 1422394"/>
              <a:gd name="connsiteY1003" fmla="*/ 25376 h 434793"/>
              <a:gd name="connsiteX1004" fmla="*/ 730140 w 1422394"/>
              <a:gd name="connsiteY1004" fmla="*/ 25376 h 434793"/>
              <a:gd name="connsiteX1005" fmla="*/ 730140 w 1422394"/>
              <a:gd name="connsiteY1005" fmla="*/ 142739 h 434793"/>
              <a:gd name="connsiteX1006" fmla="*/ 710822 w 1422394"/>
              <a:gd name="connsiteY1006" fmla="*/ 189821 h 434793"/>
              <a:gd name="connsiteX1007" fmla="*/ 661908 w 1422394"/>
              <a:gd name="connsiteY1007" fmla="*/ 205815 h 434793"/>
              <a:gd name="connsiteX1008" fmla="*/ 612776 w 1422394"/>
              <a:gd name="connsiteY1008" fmla="*/ 189821 h 434793"/>
              <a:gd name="connsiteX1009" fmla="*/ 593583 w 1422394"/>
              <a:gd name="connsiteY1009" fmla="*/ 142739 h 434793"/>
              <a:gd name="connsiteX1010" fmla="*/ 593583 w 1422394"/>
              <a:gd name="connsiteY1010" fmla="*/ 25376 h 434793"/>
              <a:gd name="connsiteX1011" fmla="*/ 630386 w 1422394"/>
              <a:gd name="connsiteY1011" fmla="*/ 25376 h 434793"/>
              <a:gd name="connsiteX1012" fmla="*/ 630386 w 1422394"/>
              <a:gd name="connsiteY1012" fmla="*/ 142739 h 434793"/>
              <a:gd name="connsiteX1013" fmla="*/ 638740 w 1422394"/>
              <a:gd name="connsiteY1013" fmla="*/ 168298 h 434793"/>
              <a:gd name="connsiteX1014" fmla="*/ 685014 w 1422394"/>
              <a:gd name="connsiteY1014" fmla="*/ 168298 h 434793"/>
              <a:gd name="connsiteX1015" fmla="*/ 693337 w 1422394"/>
              <a:gd name="connsiteY1015" fmla="*/ 142739 h 434793"/>
              <a:gd name="connsiteX1016" fmla="*/ 811601 w 1422394"/>
              <a:gd name="connsiteY1016" fmla="*/ 97272 h 434793"/>
              <a:gd name="connsiteX1017" fmla="*/ 789240 w 1422394"/>
              <a:gd name="connsiteY1017" fmla="*/ 109974 h 434793"/>
              <a:gd name="connsiteX1018" fmla="*/ 789240 w 1422394"/>
              <a:gd name="connsiteY1018" fmla="*/ 203361 h 434793"/>
              <a:gd name="connsiteX1019" fmla="*/ 753898 w 1422394"/>
              <a:gd name="connsiteY1019" fmla="*/ 203361 h 434793"/>
              <a:gd name="connsiteX1020" fmla="*/ 753898 w 1422394"/>
              <a:gd name="connsiteY1020" fmla="*/ 71091 h 434793"/>
              <a:gd name="connsiteX1021" fmla="*/ 787159 w 1422394"/>
              <a:gd name="connsiteY1021" fmla="*/ 71091 h 434793"/>
              <a:gd name="connsiteX1022" fmla="*/ 788371 w 1422394"/>
              <a:gd name="connsiteY1022" fmla="*/ 86247 h 434793"/>
              <a:gd name="connsiteX1023" fmla="*/ 826415 w 1422394"/>
              <a:gd name="connsiteY1023" fmla="*/ 68638 h 434793"/>
              <a:gd name="connsiteX1024" fmla="*/ 856726 w 1422394"/>
              <a:gd name="connsiteY1024" fmla="*/ 79911 h 434793"/>
              <a:gd name="connsiteX1025" fmla="*/ 868217 w 1422394"/>
              <a:gd name="connsiteY1025" fmla="*/ 119136 h 434793"/>
              <a:gd name="connsiteX1026" fmla="*/ 868217 w 1422394"/>
              <a:gd name="connsiteY1026" fmla="*/ 203361 h 434793"/>
              <a:gd name="connsiteX1027" fmla="*/ 832626 w 1422394"/>
              <a:gd name="connsiteY1027" fmla="*/ 203361 h 434793"/>
              <a:gd name="connsiteX1028" fmla="*/ 832626 w 1422394"/>
              <a:gd name="connsiteY1028" fmla="*/ 119012 h 434793"/>
              <a:gd name="connsiteX1029" fmla="*/ 827192 w 1422394"/>
              <a:gd name="connsiteY1029" fmla="*/ 101775 h 434793"/>
              <a:gd name="connsiteX1030" fmla="*/ 811601 w 1422394"/>
              <a:gd name="connsiteY1030" fmla="*/ 97272 h 434793"/>
              <a:gd name="connsiteX1031" fmla="*/ 891230 w 1422394"/>
              <a:gd name="connsiteY1031" fmla="*/ 36867 h 434793"/>
              <a:gd name="connsiteX1032" fmla="*/ 896634 w 1422394"/>
              <a:gd name="connsiteY1032" fmla="*/ 23823 h 434793"/>
              <a:gd name="connsiteX1033" fmla="*/ 925486 w 1422394"/>
              <a:gd name="connsiteY1033" fmla="*/ 23823 h 434793"/>
              <a:gd name="connsiteX1034" fmla="*/ 925486 w 1422394"/>
              <a:gd name="connsiteY1034" fmla="*/ 49973 h 434793"/>
              <a:gd name="connsiteX1035" fmla="*/ 896634 w 1422394"/>
              <a:gd name="connsiteY1035" fmla="*/ 49973 h 434793"/>
              <a:gd name="connsiteX1036" fmla="*/ 891230 w 1422394"/>
              <a:gd name="connsiteY1036" fmla="*/ 36867 h 434793"/>
              <a:gd name="connsiteX1037" fmla="*/ 928902 w 1422394"/>
              <a:gd name="connsiteY1037" fmla="*/ 71029 h 434793"/>
              <a:gd name="connsiteX1038" fmla="*/ 928902 w 1422394"/>
              <a:gd name="connsiteY1038" fmla="*/ 203299 h 434793"/>
              <a:gd name="connsiteX1039" fmla="*/ 893435 w 1422394"/>
              <a:gd name="connsiteY1039" fmla="*/ 203299 h 434793"/>
              <a:gd name="connsiteX1040" fmla="*/ 893435 w 1422394"/>
              <a:gd name="connsiteY1040" fmla="*/ 71091 h 434793"/>
              <a:gd name="connsiteX1041" fmla="*/ 1020861 w 1422394"/>
              <a:gd name="connsiteY1041" fmla="*/ 202461 h 434793"/>
              <a:gd name="connsiteX1042" fmla="*/ 999618 w 1422394"/>
              <a:gd name="connsiteY1042" fmla="*/ 205753 h 434793"/>
              <a:gd name="connsiteX1043" fmla="*/ 971978 w 1422394"/>
              <a:gd name="connsiteY1043" fmla="*/ 196715 h 434793"/>
              <a:gd name="connsiteX1044" fmla="*/ 961698 w 1422394"/>
              <a:gd name="connsiteY1044" fmla="*/ 166684 h 434793"/>
              <a:gd name="connsiteX1045" fmla="*/ 961698 w 1422394"/>
              <a:gd name="connsiteY1045" fmla="*/ 96899 h 434793"/>
              <a:gd name="connsiteX1046" fmla="*/ 942256 w 1422394"/>
              <a:gd name="connsiteY1046" fmla="*/ 96899 h 434793"/>
              <a:gd name="connsiteX1047" fmla="*/ 942256 w 1422394"/>
              <a:gd name="connsiteY1047" fmla="*/ 71091 h 434793"/>
              <a:gd name="connsiteX1048" fmla="*/ 961698 w 1422394"/>
              <a:gd name="connsiteY1048" fmla="*/ 71091 h 434793"/>
              <a:gd name="connsiteX1049" fmla="*/ 961698 w 1422394"/>
              <a:gd name="connsiteY1049" fmla="*/ 38451 h 434793"/>
              <a:gd name="connsiteX1050" fmla="*/ 997040 w 1422394"/>
              <a:gd name="connsiteY1050" fmla="*/ 38451 h 434793"/>
              <a:gd name="connsiteX1051" fmla="*/ 997040 w 1422394"/>
              <a:gd name="connsiteY1051" fmla="*/ 71091 h 434793"/>
              <a:gd name="connsiteX1052" fmla="*/ 1019525 w 1422394"/>
              <a:gd name="connsiteY1052" fmla="*/ 71091 h 434793"/>
              <a:gd name="connsiteX1053" fmla="*/ 1019525 w 1422394"/>
              <a:gd name="connsiteY1053" fmla="*/ 96899 h 434793"/>
              <a:gd name="connsiteX1054" fmla="*/ 997040 w 1422394"/>
              <a:gd name="connsiteY1054" fmla="*/ 96899 h 434793"/>
              <a:gd name="connsiteX1055" fmla="*/ 997040 w 1422394"/>
              <a:gd name="connsiteY1055" fmla="*/ 163019 h 434793"/>
              <a:gd name="connsiteX1056" fmla="*/ 1000456 w 1422394"/>
              <a:gd name="connsiteY1056" fmla="*/ 174044 h 434793"/>
              <a:gd name="connsiteX1057" fmla="*/ 1010612 w 1422394"/>
              <a:gd name="connsiteY1057" fmla="*/ 176715 h 434793"/>
              <a:gd name="connsiteX1058" fmla="*/ 1016420 w 1422394"/>
              <a:gd name="connsiteY1058" fmla="*/ 176404 h 434793"/>
              <a:gd name="connsiteX1059" fmla="*/ 1020861 w 1422394"/>
              <a:gd name="connsiteY1059" fmla="*/ 175752 h 434793"/>
              <a:gd name="connsiteX1060" fmla="*/ 1148566 w 1422394"/>
              <a:gd name="connsiteY1060" fmla="*/ 181808 h 434793"/>
              <a:gd name="connsiteX1061" fmla="*/ 1129248 w 1422394"/>
              <a:gd name="connsiteY1061" fmla="*/ 198299 h 434793"/>
              <a:gd name="connsiteX1062" fmla="*/ 1096949 w 1422394"/>
              <a:gd name="connsiteY1062" fmla="*/ 205753 h 434793"/>
              <a:gd name="connsiteX1063" fmla="*/ 1048687 w 1422394"/>
              <a:gd name="connsiteY1063" fmla="*/ 187119 h 434793"/>
              <a:gd name="connsiteX1064" fmla="*/ 1031327 w 1422394"/>
              <a:gd name="connsiteY1064" fmla="*/ 141838 h 434793"/>
              <a:gd name="connsiteX1065" fmla="*/ 1031327 w 1422394"/>
              <a:gd name="connsiteY1065" fmla="*/ 137055 h 434793"/>
              <a:gd name="connsiteX1066" fmla="*/ 1048004 w 1422394"/>
              <a:gd name="connsiteY1066" fmla="*/ 87893 h 434793"/>
              <a:gd name="connsiteX1067" fmla="*/ 1093036 w 1422394"/>
              <a:gd name="connsiteY1067" fmla="*/ 68700 h 434793"/>
              <a:gd name="connsiteX1068" fmla="*/ 1136516 w 1422394"/>
              <a:gd name="connsiteY1068" fmla="*/ 86557 h 434793"/>
              <a:gd name="connsiteX1069" fmla="*/ 1151423 w 1422394"/>
              <a:gd name="connsiteY1069" fmla="*/ 133763 h 434793"/>
              <a:gd name="connsiteX1070" fmla="*/ 1151423 w 1422394"/>
              <a:gd name="connsiteY1070" fmla="*/ 148795 h 434793"/>
              <a:gd name="connsiteX1071" fmla="*/ 1067135 w 1422394"/>
              <a:gd name="connsiteY1071" fmla="*/ 148795 h 434793"/>
              <a:gd name="connsiteX1072" fmla="*/ 1077291 w 1422394"/>
              <a:gd name="connsiteY1072" fmla="*/ 169510 h 434793"/>
              <a:gd name="connsiteX1073" fmla="*/ 1099030 w 1422394"/>
              <a:gd name="connsiteY1073" fmla="*/ 177398 h 434793"/>
              <a:gd name="connsiteX1074" fmla="*/ 1130957 w 1422394"/>
              <a:gd name="connsiteY1074" fmla="*/ 162615 h 434793"/>
              <a:gd name="connsiteX1075" fmla="*/ 1092819 w 1422394"/>
              <a:gd name="connsiteY1075" fmla="*/ 97086 h 434793"/>
              <a:gd name="connsiteX1076" fmla="*/ 1075458 w 1422394"/>
              <a:gd name="connsiteY1076" fmla="*/ 104663 h 434793"/>
              <a:gd name="connsiteX1077" fmla="*/ 1067508 w 1422394"/>
              <a:gd name="connsiteY1077" fmla="*/ 124446 h 434793"/>
              <a:gd name="connsiteX1078" fmla="*/ 1116639 w 1422394"/>
              <a:gd name="connsiteY1078" fmla="*/ 124446 h 434793"/>
              <a:gd name="connsiteX1079" fmla="*/ 1116639 w 1422394"/>
              <a:gd name="connsiteY1079" fmla="*/ 121776 h 434793"/>
              <a:gd name="connsiteX1080" fmla="*/ 1110708 w 1422394"/>
              <a:gd name="connsiteY1080" fmla="*/ 104104 h 434793"/>
              <a:gd name="connsiteX1081" fmla="*/ 1092819 w 1422394"/>
              <a:gd name="connsiteY1081" fmla="*/ 97148 h 434793"/>
              <a:gd name="connsiteX1082" fmla="*/ 1249903 w 1422394"/>
              <a:gd name="connsiteY1082" fmla="*/ 203361 h 434793"/>
              <a:gd name="connsiteX1083" fmla="*/ 1248195 w 1422394"/>
              <a:gd name="connsiteY1083" fmla="*/ 189324 h 434793"/>
              <a:gd name="connsiteX1084" fmla="*/ 1233723 w 1422394"/>
              <a:gd name="connsiteY1084" fmla="*/ 201436 h 434793"/>
              <a:gd name="connsiteX1085" fmla="*/ 1214344 w 1422394"/>
              <a:gd name="connsiteY1085" fmla="*/ 205815 h 434793"/>
              <a:gd name="connsiteX1086" fmla="*/ 1176206 w 1422394"/>
              <a:gd name="connsiteY1086" fmla="*/ 186746 h 434793"/>
              <a:gd name="connsiteX1087" fmla="*/ 1162634 w 1422394"/>
              <a:gd name="connsiteY1087" fmla="*/ 138826 h 434793"/>
              <a:gd name="connsiteX1088" fmla="*/ 1162634 w 1422394"/>
              <a:gd name="connsiteY1088" fmla="*/ 136248 h 434793"/>
              <a:gd name="connsiteX1089" fmla="*/ 1176206 w 1422394"/>
              <a:gd name="connsiteY1089" fmla="*/ 87365 h 434793"/>
              <a:gd name="connsiteX1090" fmla="*/ 1214592 w 1422394"/>
              <a:gd name="connsiteY1090" fmla="*/ 68731 h 434793"/>
              <a:gd name="connsiteX1091" fmla="*/ 1246270 w 1422394"/>
              <a:gd name="connsiteY1091" fmla="*/ 82831 h 434793"/>
              <a:gd name="connsiteX1092" fmla="*/ 1246270 w 1422394"/>
              <a:gd name="connsiteY1092" fmla="*/ 15593 h 434793"/>
              <a:gd name="connsiteX1093" fmla="*/ 1281736 w 1422394"/>
              <a:gd name="connsiteY1093" fmla="*/ 15593 h 434793"/>
              <a:gd name="connsiteX1094" fmla="*/ 1281736 w 1422394"/>
              <a:gd name="connsiteY1094" fmla="*/ 203361 h 434793"/>
              <a:gd name="connsiteX1095" fmla="*/ 1197977 w 1422394"/>
              <a:gd name="connsiteY1095" fmla="*/ 138733 h 434793"/>
              <a:gd name="connsiteX1096" fmla="*/ 1203629 w 1422394"/>
              <a:gd name="connsiteY1096" fmla="*/ 165814 h 434793"/>
              <a:gd name="connsiteX1097" fmla="*/ 1223164 w 1422394"/>
              <a:gd name="connsiteY1097" fmla="*/ 176994 h 434793"/>
              <a:gd name="connsiteX1098" fmla="*/ 1246270 w 1422394"/>
              <a:gd name="connsiteY1098" fmla="*/ 163298 h 434793"/>
              <a:gd name="connsiteX1099" fmla="*/ 1246270 w 1422394"/>
              <a:gd name="connsiteY1099" fmla="*/ 110937 h 434793"/>
              <a:gd name="connsiteX1100" fmla="*/ 1223412 w 1422394"/>
              <a:gd name="connsiteY1100" fmla="*/ 97272 h 434793"/>
              <a:gd name="connsiteX1101" fmla="*/ 1203784 w 1422394"/>
              <a:gd name="connsiteY1101" fmla="*/ 108577 h 434793"/>
              <a:gd name="connsiteX1102" fmla="*/ 1197977 w 1422394"/>
              <a:gd name="connsiteY1102" fmla="*/ 136248 h 434793"/>
              <a:gd name="connsiteX1103" fmla="*/ 740171 w 1422394"/>
              <a:gd name="connsiteY1103" fmla="*/ 238114 h 434793"/>
              <a:gd name="connsiteX1104" fmla="*/ 740171 w 1422394"/>
              <a:gd name="connsiteY1104" fmla="*/ 416099 h 434793"/>
              <a:gd name="connsiteX1105" fmla="*/ 703493 w 1422394"/>
              <a:gd name="connsiteY1105" fmla="*/ 416099 h 434793"/>
              <a:gd name="connsiteX1106" fmla="*/ 632063 w 1422394"/>
              <a:gd name="connsiteY1106" fmla="*/ 298861 h 434793"/>
              <a:gd name="connsiteX1107" fmla="*/ 632063 w 1422394"/>
              <a:gd name="connsiteY1107" fmla="*/ 416099 h 434793"/>
              <a:gd name="connsiteX1108" fmla="*/ 595292 w 1422394"/>
              <a:gd name="connsiteY1108" fmla="*/ 416099 h 434793"/>
              <a:gd name="connsiteX1109" fmla="*/ 595292 w 1422394"/>
              <a:gd name="connsiteY1109" fmla="*/ 238114 h 434793"/>
              <a:gd name="connsiteX1110" fmla="*/ 632094 w 1422394"/>
              <a:gd name="connsiteY1110" fmla="*/ 238114 h 434793"/>
              <a:gd name="connsiteX1111" fmla="*/ 703524 w 1422394"/>
              <a:gd name="connsiteY1111" fmla="*/ 355477 h 434793"/>
              <a:gd name="connsiteX1112" fmla="*/ 703524 w 1422394"/>
              <a:gd name="connsiteY1112" fmla="*/ 238114 h 434793"/>
              <a:gd name="connsiteX1113" fmla="*/ 843279 w 1422394"/>
              <a:gd name="connsiteY1113" fmla="*/ 416099 h 434793"/>
              <a:gd name="connsiteX1114" fmla="*/ 839738 w 1422394"/>
              <a:gd name="connsiteY1114" fmla="*/ 404267 h 434793"/>
              <a:gd name="connsiteX1115" fmla="*/ 826353 w 1422394"/>
              <a:gd name="connsiteY1115" fmla="*/ 414329 h 434793"/>
              <a:gd name="connsiteX1116" fmla="*/ 806352 w 1422394"/>
              <a:gd name="connsiteY1116" fmla="*/ 418553 h 434793"/>
              <a:gd name="connsiteX1117" fmla="*/ 774426 w 1422394"/>
              <a:gd name="connsiteY1117" fmla="*/ 407373 h 434793"/>
              <a:gd name="connsiteX1118" fmla="*/ 761476 w 1422394"/>
              <a:gd name="connsiteY1118" fmla="*/ 378956 h 434793"/>
              <a:gd name="connsiteX1119" fmla="*/ 777004 w 1422394"/>
              <a:gd name="connsiteY1119" fmla="*/ 346750 h 434793"/>
              <a:gd name="connsiteX1120" fmla="*/ 822595 w 1422394"/>
              <a:gd name="connsiteY1120" fmla="*/ 335290 h 434793"/>
              <a:gd name="connsiteX1121" fmla="*/ 838372 w 1422394"/>
              <a:gd name="connsiteY1121" fmla="*/ 335290 h 434793"/>
              <a:gd name="connsiteX1122" fmla="*/ 838372 w 1422394"/>
              <a:gd name="connsiteY1122" fmla="*/ 327588 h 434793"/>
              <a:gd name="connsiteX1123" fmla="*/ 833682 w 1422394"/>
              <a:gd name="connsiteY1123" fmla="*/ 312991 h 434793"/>
              <a:gd name="connsiteX1124" fmla="*/ 818806 w 1422394"/>
              <a:gd name="connsiteY1124" fmla="*/ 307556 h 434793"/>
              <a:gd name="connsiteX1125" fmla="*/ 799862 w 1422394"/>
              <a:gd name="connsiteY1125" fmla="*/ 323457 h 434793"/>
              <a:gd name="connsiteX1126" fmla="*/ 764426 w 1422394"/>
              <a:gd name="connsiteY1126" fmla="*/ 323457 h 434793"/>
              <a:gd name="connsiteX1127" fmla="*/ 779706 w 1422394"/>
              <a:gd name="connsiteY1127" fmla="*/ 293798 h 434793"/>
              <a:gd name="connsiteX1128" fmla="*/ 820670 w 1422394"/>
              <a:gd name="connsiteY1128" fmla="*/ 281376 h 434793"/>
              <a:gd name="connsiteX1129" fmla="*/ 858590 w 1422394"/>
              <a:gd name="connsiteY1129" fmla="*/ 292991 h 434793"/>
              <a:gd name="connsiteX1130" fmla="*/ 873683 w 1422394"/>
              <a:gd name="connsiteY1130" fmla="*/ 327836 h 434793"/>
              <a:gd name="connsiteX1131" fmla="*/ 873683 w 1422394"/>
              <a:gd name="connsiteY1131" fmla="*/ 383738 h 434793"/>
              <a:gd name="connsiteX1132" fmla="*/ 875019 w 1422394"/>
              <a:gd name="connsiteY1132" fmla="*/ 401969 h 434793"/>
              <a:gd name="connsiteX1133" fmla="*/ 878932 w 1422394"/>
              <a:gd name="connsiteY1133" fmla="*/ 413956 h 434793"/>
              <a:gd name="connsiteX1134" fmla="*/ 878932 w 1422394"/>
              <a:gd name="connsiteY1134" fmla="*/ 416006 h 434793"/>
              <a:gd name="connsiteX1135" fmla="*/ 814055 w 1422394"/>
              <a:gd name="connsiteY1135" fmla="*/ 391534 h 434793"/>
              <a:gd name="connsiteX1136" fmla="*/ 829272 w 1422394"/>
              <a:gd name="connsiteY1136" fmla="*/ 387558 h 434793"/>
              <a:gd name="connsiteX1137" fmla="*/ 838248 w 1422394"/>
              <a:gd name="connsiteY1137" fmla="*/ 378831 h 434793"/>
              <a:gd name="connsiteX1138" fmla="*/ 838248 w 1422394"/>
              <a:gd name="connsiteY1138" fmla="*/ 355850 h 434793"/>
              <a:gd name="connsiteX1139" fmla="*/ 823837 w 1422394"/>
              <a:gd name="connsiteY1139" fmla="*/ 355850 h 434793"/>
              <a:gd name="connsiteX1140" fmla="*/ 803309 w 1422394"/>
              <a:gd name="connsiteY1140" fmla="*/ 361781 h 434793"/>
              <a:gd name="connsiteX1141" fmla="*/ 796818 w 1422394"/>
              <a:gd name="connsiteY1141" fmla="*/ 376378 h 434793"/>
              <a:gd name="connsiteX1142" fmla="*/ 801383 w 1422394"/>
              <a:gd name="connsiteY1142" fmla="*/ 387248 h 434793"/>
              <a:gd name="connsiteX1143" fmla="*/ 814055 w 1422394"/>
              <a:gd name="connsiteY1143" fmla="*/ 391534 h 434793"/>
              <a:gd name="connsiteX1144" fmla="*/ 963872 w 1422394"/>
              <a:gd name="connsiteY1144" fmla="*/ 415137 h 434793"/>
              <a:gd name="connsiteX1145" fmla="*/ 954275 w 1422394"/>
              <a:gd name="connsiteY1145" fmla="*/ 417528 h 434793"/>
              <a:gd name="connsiteX1146" fmla="*/ 942598 w 1422394"/>
              <a:gd name="connsiteY1146" fmla="*/ 418429 h 434793"/>
              <a:gd name="connsiteX1147" fmla="*/ 914958 w 1422394"/>
              <a:gd name="connsiteY1147" fmla="*/ 409391 h 434793"/>
              <a:gd name="connsiteX1148" fmla="*/ 904678 w 1422394"/>
              <a:gd name="connsiteY1148" fmla="*/ 379328 h 434793"/>
              <a:gd name="connsiteX1149" fmla="*/ 904678 w 1422394"/>
              <a:gd name="connsiteY1149" fmla="*/ 309544 h 434793"/>
              <a:gd name="connsiteX1150" fmla="*/ 885236 w 1422394"/>
              <a:gd name="connsiteY1150" fmla="*/ 309544 h 434793"/>
              <a:gd name="connsiteX1151" fmla="*/ 885236 w 1422394"/>
              <a:gd name="connsiteY1151" fmla="*/ 283736 h 434793"/>
              <a:gd name="connsiteX1152" fmla="*/ 904678 w 1422394"/>
              <a:gd name="connsiteY1152" fmla="*/ 283736 h 434793"/>
              <a:gd name="connsiteX1153" fmla="*/ 904678 w 1422394"/>
              <a:gd name="connsiteY1153" fmla="*/ 251189 h 434793"/>
              <a:gd name="connsiteX1154" fmla="*/ 940020 w 1422394"/>
              <a:gd name="connsiteY1154" fmla="*/ 251189 h 434793"/>
              <a:gd name="connsiteX1155" fmla="*/ 940020 w 1422394"/>
              <a:gd name="connsiteY1155" fmla="*/ 283829 h 434793"/>
              <a:gd name="connsiteX1156" fmla="*/ 962505 w 1422394"/>
              <a:gd name="connsiteY1156" fmla="*/ 283829 h 434793"/>
              <a:gd name="connsiteX1157" fmla="*/ 962505 w 1422394"/>
              <a:gd name="connsiteY1157" fmla="*/ 309544 h 434793"/>
              <a:gd name="connsiteX1158" fmla="*/ 940020 w 1422394"/>
              <a:gd name="connsiteY1158" fmla="*/ 309544 h 434793"/>
              <a:gd name="connsiteX1159" fmla="*/ 940020 w 1422394"/>
              <a:gd name="connsiteY1159" fmla="*/ 375664 h 434793"/>
              <a:gd name="connsiteX1160" fmla="*/ 943436 w 1422394"/>
              <a:gd name="connsiteY1160" fmla="*/ 386689 h 434793"/>
              <a:gd name="connsiteX1161" fmla="*/ 953592 w 1422394"/>
              <a:gd name="connsiteY1161" fmla="*/ 389360 h 434793"/>
              <a:gd name="connsiteX1162" fmla="*/ 959400 w 1422394"/>
              <a:gd name="connsiteY1162" fmla="*/ 389080 h 434793"/>
              <a:gd name="connsiteX1163" fmla="*/ 963872 w 1422394"/>
              <a:gd name="connsiteY1163" fmla="*/ 388397 h 434793"/>
              <a:gd name="connsiteX1164" fmla="*/ 978686 w 1422394"/>
              <a:gd name="connsiteY1164" fmla="*/ 249481 h 434793"/>
              <a:gd name="connsiteX1165" fmla="*/ 984090 w 1422394"/>
              <a:gd name="connsiteY1165" fmla="*/ 236344 h 434793"/>
              <a:gd name="connsiteX1166" fmla="*/ 1012941 w 1422394"/>
              <a:gd name="connsiteY1166" fmla="*/ 236344 h 434793"/>
              <a:gd name="connsiteX1167" fmla="*/ 1012941 w 1422394"/>
              <a:gd name="connsiteY1167" fmla="*/ 262493 h 434793"/>
              <a:gd name="connsiteX1168" fmla="*/ 984090 w 1422394"/>
              <a:gd name="connsiteY1168" fmla="*/ 262493 h 434793"/>
              <a:gd name="connsiteX1169" fmla="*/ 978686 w 1422394"/>
              <a:gd name="connsiteY1169" fmla="*/ 249605 h 434793"/>
              <a:gd name="connsiteX1170" fmla="*/ 1016357 w 1422394"/>
              <a:gd name="connsiteY1170" fmla="*/ 283643 h 434793"/>
              <a:gd name="connsiteX1171" fmla="*/ 1016357 w 1422394"/>
              <a:gd name="connsiteY1171" fmla="*/ 415913 h 434793"/>
              <a:gd name="connsiteX1172" fmla="*/ 980891 w 1422394"/>
              <a:gd name="connsiteY1172" fmla="*/ 415913 h 434793"/>
              <a:gd name="connsiteX1173" fmla="*/ 980891 w 1422394"/>
              <a:gd name="connsiteY1173" fmla="*/ 283829 h 434793"/>
              <a:gd name="connsiteX1174" fmla="*/ 1036575 w 1422394"/>
              <a:gd name="connsiteY1174" fmla="*/ 351129 h 434793"/>
              <a:gd name="connsiteX1175" fmla="*/ 1036575 w 1422394"/>
              <a:gd name="connsiteY1175" fmla="*/ 348551 h 434793"/>
              <a:gd name="connsiteX1176" fmla="*/ 1052942 w 1422394"/>
              <a:gd name="connsiteY1176" fmla="*/ 300445 h 434793"/>
              <a:gd name="connsiteX1177" fmla="*/ 1099154 w 1422394"/>
              <a:gd name="connsiteY1177" fmla="*/ 281189 h 434793"/>
              <a:gd name="connsiteX1178" fmla="*/ 1145739 w 1422394"/>
              <a:gd name="connsiteY1178" fmla="*/ 300445 h 434793"/>
              <a:gd name="connsiteX1179" fmla="*/ 1162013 w 1422394"/>
              <a:gd name="connsiteY1179" fmla="*/ 348551 h 434793"/>
              <a:gd name="connsiteX1180" fmla="*/ 1162013 w 1422394"/>
              <a:gd name="connsiteY1180" fmla="*/ 351129 h 434793"/>
              <a:gd name="connsiteX1181" fmla="*/ 1145739 w 1422394"/>
              <a:gd name="connsiteY1181" fmla="*/ 399174 h 434793"/>
              <a:gd name="connsiteX1182" fmla="*/ 1099527 w 1422394"/>
              <a:gd name="connsiteY1182" fmla="*/ 418367 h 434793"/>
              <a:gd name="connsiteX1183" fmla="*/ 1052942 w 1422394"/>
              <a:gd name="connsiteY1183" fmla="*/ 399174 h 434793"/>
              <a:gd name="connsiteX1184" fmla="*/ 1036575 w 1422394"/>
              <a:gd name="connsiteY1184" fmla="*/ 351315 h 434793"/>
              <a:gd name="connsiteX1185" fmla="*/ 1072011 w 1422394"/>
              <a:gd name="connsiteY1185" fmla="*/ 348551 h 434793"/>
              <a:gd name="connsiteX1186" fmla="*/ 1072011 w 1422394"/>
              <a:gd name="connsiteY1186" fmla="*/ 351129 h 434793"/>
              <a:gd name="connsiteX1187" fmla="*/ 1078222 w 1422394"/>
              <a:gd name="connsiteY1187" fmla="*/ 378583 h 434793"/>
              <a:gd name="connsiteX1188" fmla="*/ 1099434 w 1422394"/>
              <a:gd name="connsiteY1188" fmla="*/ 389888 h 434793"/>
              <a:gd name="connsiteX1189" fmla="*/ 1120397 w 1422394"/>
              <a:gd name="connsiteY1189" fmla="*/ 378583 h 434793"/>
              <a:gd name="connsiteX1190" fmla="*/ 1126608 w 1422394"/>
              <a:gd name="connsiteY1190" fmla="*/ 351129 h 434793"/>
              <a:gd name="connsiteX1191" fmla="*/ 1126608 w 1422394"/>
              <a:gd name="connsiteY1191" fmla="*/ 348551 h 434793"/>
              <a:gd name="connsiteX1192" fmla="*/ 1120397 w 1422394"/>
              <a:gd name="connsiteY1192" fmla="*/ 321252 h 434793"/>
              <a:gd name="connsiteX1193" fmla="*/ 1099186 w 1422394"/>
              <a:gd name="connsiteY1193" fmla="*/ 309699 h 434793"/>
              <a:gd name="connsiteX1194" fmla="*/ 1078160 w 1422394"/>
              <a:gd name="connsiteY1194" fmla="*/ 321252 h 434793"/>
              <a:gd name="connsiteX1195" fmla="*/ 1072011 w 1422394"/>
              <a:gd name="connsiteY1195" fmla="*/ 348738 h 434793"/>
              <a:gd name="connsiteX1196" fmla="*/ 1237481 w 1422394"/>
              <a:gd name="connsiteY1196" fmla="*/ 310010 h 434793"/>
              <a:gd name="connsiteX1197" fmla="*/ 1215089 w 1422394"/>
              <a:gd name="connsiteY1197" fmla="*/ 322712 h 434793"/>
              <a:gd name="connsiteX1198" fmla="*/ 1215089 w 1422394"/>
              <a:gd name="connsiteY1198" fmla="*/ 416099 h 434793"/>
              <a:gd name="connsiteX1199" fmla="*/ 1179778 w 1422394"/>
              <a:gd name="connsiteY1199" fmla="*/ 416099 h 434793"/>
              <a:gd name="connsiteX1200" fmla="*/ 1179778 w 1422394"/>
              <a:gd name="connsiteY1200" fmla="*/ 283829 h 434793"/>
              <a:gd name="connsiteX1201" fmla="*/ 1212915 w 1422394"/>
              <a:gd name="connsiteY1201" fmla="*/ 283829 h 434793"/>
              <a:gd name="connsiteX1202" fmla="*/ 1214126 w 1422394"/>
              <a:gd name="connsiteY1202" fmla="*/ 298985 h 434793"/>
              <a:gd name="connsiteX1203" fmla="*/ 1252139 w 1422394"/>
              <a:gd name="connsiteY1203" fmla="*/ 281376 h 434793"/>
              <a:gd name="connsiteX1204" fmla="*/ 1282482 w 1422394"/>
              <a:gd name="connsiteY1204" fmla="*/ 292649 h 434793"/>
              <a:gd name="connsiteX1205" fmla="*/ 1293973 w 1422394"/>
              <a:gd name="connsiteY1205" fmla="*/ 331874 h 434793"/>
              <a:gd name="connsiteX1206" fmla="*/ 1293973 w 1422394"/>
              <a:gd name="connsiteY1206" fmla="*/ 416099 h 434793"/>
              <a:gd name="connsiteX1207" fmla="*/ 1258506 w 1422394"/>
              <a:gd name="connsiteY1207" fmla="*/ 416099 h 434793"/>
              <a:gd name="connsiteX1208" fmla="*/ 1258506 w 1422394"/>
              <a:gd name="connsiteY1208" fmla="*/ 331750 h 434793"/>
              <a:gd name="connsiteX1209" fmla="*/ 1253071 w 1422394"/>
              <a:gd name="connsiteY1209" fmla="*/ 314513 h 434793"/>
              <a:gd name="connsiteX1210" fmla="*/ 1237481 w 1422394"/>
              <a:gd name="connsiteY1210" fmla="*/ 310010 h 434793"/>
              <a:gd name="connsiteX1211" fmla="*/ 1389006 w 1422394"/>
              <a:gd name="connsiteY1211" fmla="*/ 379453 h 434793"/>
              <a:gd name="connsiteX1212" fmla="*/ 1383789 w 1422394"/>
              <a:gd name="connsiteY1212" fmla="*/ 369949 h 434793"/>
              <a:gd name="connsiteX1213" fmla="*/ 1362049 w 1422394"/>
              <a:gd name="connsiteY1213" fmla="*/ 362558 h 434793"/>
              <a:gd name="connsiteX1214" fmla="*/ 1328352 w 1422394"/>
              <a:gd name="connsiteY1214" fmla="*/ 348924 h 434793"/>
              <a:gd name="connsiteX1215" fmla="*/ 1314967 w 1422394"/>
              <a:gd name="connsiteY1215" fmla="*/ 322464 h 434793"/>
              <a:gd name="connsiteX1216" fmla="*/ 1328974 w 1422394"/>
              <a:gd name="connsiteY1216" fmla="*/ 293674 h 434793"/>
              <a:gd name="connsiteX1217" fmla="*/ 1367670 w 1422394"/>
              <a:gd name="connsiteY1217" fmla="*/ 281251 h 434793"/>
              <a:gd name="connsiteX1218" fmla="*/ 1408261 w 1422394"/>
              <a:gd name="connsiteY1218" fmla="*/ 293364 h 434793"/>
              <a:gd name="connsiteX1219" fmla="*/ 1423044 w 1422394"/>
              <a:gd name="connsiteY1219" fmla="*/ 323923 h 434793"/>
              <a:gd name="connsiteX1220" fmla="*/ 1387640 w 1422394"/>
              <a:gd name="connsiteY1220" fmla="*/ 323923 h 434793"/>
              <a:gd name="connsiteX1221" fmla="*/ 1382764 w 1422394"/>
              <a:gd name="connsiteY1221" fmla="*/ 311501 h 434793"/>
              <a:gd name="connsiteX1222" fmla="*/ 1367484 w 1422394"/>
              <a:gd name="connsiteY1222" fmla="*/ 306469 h 434793"/>
              <a:gd name="connsiteX1223" fmla="*/ 1353726 w 1422394"/>
              <a:gd name="connsiteY1223" fmla="*/ 310569 h 434793"/>
              <a:gd name="connsiteX1224" fmla="*/ 1348788 w 1422394"/>
              <a:gd name="connsiteY1224" fmla="*/ 320787 h 434793"/>
              <a:gd name="connsiteX1225" fmla="*/ 1354223 w 1422394"/>
              <a:gd name="connsiteY1225" fmla="*/ 330104 h 434793"/>
              <a:gd name="connsiteX1226" fmla="*/ 1373478 w 1422394"/>
              <a:gd name="connsiteY1226" fmla="*/ 336470 h 434793"/>
              <a:gd name="connsiteX1227" fmla="*/ 1409162 w 1422394"/>
              <a:gd name="connsiteY1227" fmla="*/ 349545 h 434793"/>
              <a:gd name="connsiteX1228" fmla="*/ 1423355 w 1422394"/>
              <a:gd name="connsiteY1228" fmla="*/ 378024 h 434793"/>
              <a:gd name="connsiteX1229" fmla="*/ 1408292 w 1422394"/>
              <a:gd name="connsiteY1229" fmla="*/ 407062 h 434793"/>
              <a:gd name="connsiteX1230" fmla="*/ 1367701 w 1422394"/>
              <a:gd name="connsiteY1230" fmla="*/ 418553 h 434793"/>
              <a:gd name="connsiteX1231" fmla="*/ 1325278 w 1422394"/>
              <a:gd name="connsiteY1231" fmla="*/ 404329 h 434793"/>
              <a:gd name="connsiteX1232" fmla="*/ 1310588 w 1422394"/>
              <a:gd name="connsiteY1232" fmla="*/ 373924 h 434793"/>
              <a:gd name="connsiteX1233" fmla="*/ 1344222 w 1422394"/>
              <a:gd name="connsiteY1233" fmla="*/ 373924 h 434793"/>
              <a:gd name="connsiteX1234" fmla="*/ 1351862 w 1422394"/>
              <a:gd name="connsiteY1234" fmla="*/ 388863 h 434793"/>
              <a:gd name="connsiteX1235" fmla="*/ 1368416 w 1422394"/>
              <a:gd name="connsiteY1235" fmla="*/ 393366 h 434793"/>
              <a:gd name="connsiteX1236" fmla="*/ 1389006 w 1422394"/>
              <a:gd name="connsiteY1236" fmla="*/ 379453 h 434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</a:cxnLst>
            <a:rect l="l" t="t" r="r" b="b"/>
            <a:pathLst>
              <a:path w="1422394" h="434793">
                <a:moveTo>
                  <a:pt x="415194" y="395571"/>
                </a:moveTo>
                <a:cubicBezTo>
                  <a:pt x="415411" y="395571"/>
                  <a:pt x="415753" y="395788"/>
                  <a:pt x="415877" y="395913"/>
                </a:cubicBezTo>
                <a:cubicBezTo>
                  <a:pt x="406635" y="405239"/>
                  <a:pt x="395147" y="412028"/>
                  <a:pt x="382523" y="415634"/>
                </a:cubicBezTo>
                <a:cubicBezTo>
                  <a:pt x="373954" y="418000"/>
                  <a:pt x="365003" y="418643"/>
                  <a:pt x="356186" y="417528"/>
                </a:cubicBezTo>
                <a:cubicBezTo>
                  <a:pt x="342779" y="415730"/>
                  <a:pt x="330003" y="410748"/>
                  <a:pt x="318919" y="402994"/>
                </a:cubicBezTo>
                <a:cubicBezTo>
                  <a:pt x="312117" y="398521"/>
                  <a:pt x="305378" y="393925"/>
                  <a:pt x="298639" y="389329"/>
                </a:cubicBezTo>
                <a:cubicBezTo>
                  <a:pt x="291176" y="384459"/>
                  <a:pt x="282082" y="382748"/>
                  <a:pt x="273358" y="384577"/>
                </a:cubicBezTo>
                <a:cubicBezTo>
                  <a:pt x="268483" y="385105"/>
                  <a:pt x="272178" y="387434"/>
                  <a:pt x="272924" y="387683"/>
                </a:cubicBezTo>
                <a:cubicBezTo>
                  <a:pt x="284995" y="393586"/>
                  <a:pt x="296443" y="400692"/>
                  <a:pt x="307086" y="408894"/>
                </a:cubicBezTo>
                <a:cubicBezTo>
                  <a:pt x="314291" y="414174"/>
                  <a:pt x="327180" y="426597"/>
                  <a:pt x="327180" y="426597"/>
                </a:cubicBezTo>
                <a:lnTo>
                  <a:pt x="317552" y="434858"/>
                </a:lnTo>
                <a:cubicBezTo>
                  <a:pt x="317552" y="434858"/>
                  <a:pt x="310192" y="426597"/>
                  <a:pt x="306993" y="423398"/>
                </a:cubicBezTo>
                <a:cubicBezTo>
                  <a:pt x="294201" y="409776"/>
                  <a:pt x="279352" y="398251"/>
                  <a:pt x="262986" y="389235"/>
                </a:cubicBezTo>
                <a:cubicBezTo>
                  <a:pt x="262352" y="388788"/>
                  <a:pt x="261613" y="388512"/>
                  <a:pt x="260843" y="388428"/>
                </a:cubicBezTo>
                <a:cubicBezTo>
                  <a:pt x="260060" y="388509"/>
                  <a:pt x="259315" y="388788"/>
                  <a:pt x="258669" y="389235"/>
                </a:cubicBezTo>
                <a:cubicBezTo>
                  <a:pt x="242308" y="398257"/>
                  <a:pt x="227460" y="409786"/>
                  <a:pt x="214661" y="423398"/>
                </a:cubicBezTo>
                <a:cubicBezTo>
                  <a:pt x="211556" y="426503"/>
                  <a:pt x="204133" y="434858"/>
                  <a:pt x="204133" y="434858"/>
                </a:cubicBezTo>
                <a:lnTo>
                  <a:pt x="194475" y="426597"/>
                </a:lnTo>
                <a:cubicBezTo>
                  <a:pt x="194475" y="426597"/>
                  <a:pt x="207363" y="414174"/>
                  <a:pt x="214599" y="408894"/>
                </a:cubicBezTo>
                <a:cubicBezTo>
                  <a:pt x="225249" y="400698"/>
                  <a:pt x="236693" y="393590"/>
                  <a:pt x="248762" y="387683"/>
                </a:cubicBezTo>
                <a:cubicBezTo>
                  <a:pt x="249507" y="387310"/>
                  <a:pt x="253203" y="384981"/>
                  <a:pt x="248358" y="384577"/>
                </a:cubicBezTo>
                <a:cubicBezTo>
                  <a:pt x="239634" y="382741"/>
                  <a:pt x="230541" y="384453"/>
                  <a:pt x="223078" y="389329"/>
                </a:cubicBezTo>
                <a:cubicBezTo>
                  <a:pt x="216338" y="393925"/>
                  <a:pt x="209599" y="398646"/>
                  <a:pt x="202767" y="402994"/>
                </a:cubicBezTo>
                <a:cubicBezTo>
                  <a:pt x="191686" y="410751"/>
                  <a:pt x="178906" y="415736"/>
                  <a:pt x="165499" y="417528"/>
                </a:cubicBezTo>
                <a:cubicBezTo>
                  <a:pt x="156682" y="418643"/>
                  <a:pt x="147731" y="418000"/>
                  <a:pt x="139163" y="415634"/>
                </a:cubicBezTo>
                <a:cubicBezTo>
                  <a:pt x="126532" y="412006"/>
                  <a:pt x="115038" y="405205"/>
                  <a:pt x="105777" y="395882"/>
                </a:cubicBezTo>
                <a:cubicBezTo>
                  <a:pt x="105972" y="395680"/>
                  <a:pt x="106242" y="395568"/>
                  <a:pt x="106522" y="395571"/>
                </a:cubicBezTo>
                <a:lnTo>
                  <a:pt x="108603" y="396596"/>
                </a:lnTo>
                <a:cubicBezTo>
                  <a:pt x="122318" y="403369"/>
                  <a:pt x="137955" y="405192"/>
                  <a:pt x="152859" y="401751"/>
                </a:cubicBezTo>
                <a:cubicBezTo>
                  <a:pt x="163148" y="399382"/>
                  <a:pt x="173154" y="395913"/>
                  <a:pt x="182704" y="391409"/>
                </a:cubicBezTo>
                <a:cubicBezTo>
                  <a:pt x="189661" y="388304"/>
                  <a:pt x="196524" y="385198"/>
                  <a:pt x="203698" y="382807"/>
                </a:cubicBezTo>
                <a:cubicBezTo>
                  <a:pt x="221938" y="376934"/>
                  <a:pt x="241491" y="376505"/>
                  <a:pt x="259973" y="381564"/>
                </a:cubicBezTo>
                <a:lnTo>
                  <a:pt x="260936" y="381720"/>
                </a:lnTo>
                <a:lnTo>
                  <a:pt x="261899" y="381564"/>
                </a:lnTo>
                <a:cubicBezTo>
                  <a:pt x="280380" y="376505"/>
                  <a:pt x="299934" y="376934"/>
                  <a:pt x="318173" y="382807"/>
                </a:cubicBezTo>
                <a:cubicBezTo>
                  <a:pt x="325316" y="385167"/>
                  <a:pt x="332211" y="388459"/>
                  <a:pt x="339167" y="391409"/>
                </a:cubicBezTo>
                <a:cubicBezTo>
                  <a:pt x="348708" y="395913"/>
                  <a:pt x="358702" y="399382"/>
                  <a:pt x="368982" y="401751"/>
                </a:cubicBezTo>
                <a:cubicBezTo>
                  <a:pt x="383849" y="405127"/>
                  <a:pt x="399424" y="403273"/>
                  <a:pt x="413082" y="396503"/>
                </a:cubicBezTo>
                <a:close/>
                <a:moveTo>
                  <a:pt x="459760" y="355197"/>
                </a:moveTo>
                <a:cubicBezTo>
                  <a:pt x="453819" y="359946"/>
                  <a:pt x="447033" y="363530"/>
                  <a:pt x="439760" y="365757"/>
                </a:cubicBezTo>
                <a:cubicBezTo>
                  <a:pt x="429530" y="368757"/>
                  <a:pt x="418930" y="370313"/>
                  <a:pt x="408268" y="370384"/>
                </a:cubicBezTo>
                <a:cubicBezTo>
                  <a:pt x="394538" y="370816"/>
                  <a:pt x="380842" y="371996"/>
                  <a:pt x="367243" y="373924"/>
                </a:cubicBezTo>
                <a:lnTo>
                  <a:pt x="367025" y="373924"/>
                </a:lnTo>
                <a:cubicBezTo>
                  <a:pt x="366156" y="373924"/>
                  <a:pt x="365752" y="373707"/>
                  <a:pt x="366031" y="373428"/>
                </a:cubicBezTo>
                <a:lnTo>
                  <a:pt x="366249" y="373272"/>
                </a:lnTo>
                <a:cubicBezTo>
                  <a:pt x="378485" y="368800"/>
                  <a:pt x="386777" y="359328"/>
                  <a:pt x="393020" y="347402"/>
                </a:cubicBezTo>
                <a:cubicBezTo>
                  <a:pt x="397368" y="339172"/>
                  <a:pt x="404449" y="323054"/>
                  <a:pt x="406436" y="320445"/>
                </a:cubicBezTo>
                <a:cubicBezTo>
                  <a:pt x="406501" y="320212"/>
                  <a:pt x="406501" y="319964"/>
                  <a:pt x="406436" y="319731"/>
                </a:cubicBezTo>
                <a:cubicBezTo>
                  <a:pt x="405504" y="320041"/>
                  <a:pt x="392057" y="331501"/>
                  <a:pt x="385970" y="337184"/>
                </a:cubicBezTo>
                <a:cubicBezTo>
                  <a:pt x="378392" y="344203"/>
                  <a:pt x="371249" y="351750"/>
                  <a:pt x="363671" y="358924"/>
                </a:cubicBezTo>
                <a:cubicBezTo>
                  <a:pt x="351808" y="370260"/>
                  <a:pt x="334788" y="375198"/>
                  <a:pt x="328608" y="376813"/>
                </a:cubicBezTo>
                <a:cubicBezTo>
                  <a:pt x="328444" y="376859"/>
                  <a:pt x="328285" y="376934"/>
                  <a:pt x="328142" y="377030"/>
                </a:cubicBezTo>
                <a:cubicBezTo>
                  <a:pt x="328012" y="377201"/>
                  <a:pt x="327906" y="377387"/>
                  <a:pt x="327832" y="377589"/>
                </a:cubicBezTo>
                <a:cubicBezTo>
                  <a:pt x="327832" y="377589"/>
                  <a:pt x="327832" y="377589"/>
                  <a:pt x="327832" y="377589"/>
                </a:cubicBezTo>
                <a:lnTo>
                  <a:pt x="328111" y="377589"/>
                </a:lnTo>
                <a:cubicBezTo>
                  <a:pt x="332894" y="378676"/>
                  <a:pt x="346745" y="381689"/>
                  <a:pt x="353826" y="383583"/>
                </a:cubicBezTo>
                <a:cubicBezTo>
                  <a:pt x="364646" y="386723"/>
                  <a:pt x="375743" y="388801"/>
                  <a:pt x="386964" y="389794"/>
                </a:cubicBezTo>
                <a:cubicBezTo>
                  <a:pt x="416036" y="392698"/>
                  <a:pt x="444359" y="379440"/>
                  <a:pt x="460754" y="355259"/>
                </a:cubicBezTo>
                <a:lnTo>
                  <a:pt x="460754" y="355259"/>
                </a:lnTo>
                <a:cubicBezTo>
                  <a:pt x="460462" y="355061"/>
                  <a:pt x="460099" y="355005"/>
                  <a:pt x="459760" y="355104"/>
                </a:cubicBezTo>
                <a:close/>
                <a:moveTo>
                  <a:pt x="501438" y="291221"/>
                </a:moveTo>
                <a:cubicBezTo>
                  <a:pt x="494562" y="299330"/>
                  <a:pt x="486513" y="306364"/>
                  <a:pt x="477556" y="312091"/>
                </a:cubicBezTo>
                <a:cubicBezTo>
                  <a:pt x="469801" y="317277"/>
                  <a:pt x="461586" y="321746"/>
                  <a:pt x="453021" y="325445"/>
                </a:cubicBezTo>
                <a:cubicBezTo>
                  <a:pt x="442226" y="329961"/>
                  <a:pt x="432092" y="335914"/>
                  <a:pt x="422896" y="343147"/>
                </a:cubicBezTo>
                <a:cubicBezTo>
                  <a:pt x="422275" y="343644"/>
                  <a:pt x="421778" y="344048"/>
                  <a:pt x="421157" y="344483"/>
                </a:cubicBezTo>
                <a:cubicBezTo>
                  <a:pt x="420536" y="344918"/>
                  <a:pt x="420474" y="344328"/>
                  <a:pt x="420846" y="343893"/>
                </a:cubicBezTo>
                <a:cubicBezTo>
                  <a:pt x="421219" y="343458"/>
                  <a:pt x="435226" y="329141"/>
                  <a:pt x="439480" y="298954"/>
                </a:cubicBezTo>
                <a:cubicBezTo>
                  <a:pt x="440940" y="288426"/>
                  <a:pt x="441157" y="277059"/>
                  <a:pt x="444574" y="266903"/>
                </a:cubicBezTo>
                <a:cubicBezTo>
                  <a:pt x="444626" y="266614"/>
                  <a:pt x="444549" y="266316"/>
                  <a:pt x="444356" y="266096"/>
                </a:cubicBezTo>
                <a:cubicBezTo>
                  <a:pt x="444356" y="266096"/>
                  <a:pt x="444356" y="266096"/>
                  <a:pt x="444356" y="266096"/>
                </a:cubicBezTo>
                <a:cubicBezTo>
                  <a:pt x="434139" y="277804"/>
                  <a:pt x="425722" y="295972"/>
                  <a:pt x="421654" y="307339"/>
                </a:cubicBezTo>
                <a:cubicBezTo>
                  <a:pt x="418859" y="315383"/>
                  <a:pt x="416157" y="323457"/>
                  <a:pt x="413269" y="331470"/>
                </a:cubicBezTo>
                <a:cubicBezTo>
                  <a:pt x="409725" y="342430"/>
                  <a:pt x="403759" y="352449"/>
                  <a:pt x="395815" y="360788"/>
                </a:cubicBezTo>
                <a:lnTo>
                  <a:pt x="395069" y="361595"/>
                </a:lnTo>
                <a:cubicBezTo>
                  <a:pt x="395035" y="361760"/>
                  <a:pt x="395035" y="361927"/>
                  <a:pt x="395069" y="362092"/>
                </a:cubicBezTo>
                <a:lnTo>
                  <a:pt x="395069" y="362092"/>
                </a:lnTo>
                <a:lnTo>
                  <a:pt x="397833" y="361626"/>
                </a:lnTo>
                <a:cubicBezTo>
                  <a:pt x="407150" y="359701"/>
                  <a:pt x="416467" y="357464"/>
                  <a:pt x="425784" y="355912"/>
                </a:cubicBezTo>
                <a:cubicBezTo>
                  <a:pt x="440884" y="353558"/>
                  <a:pt x="455152" y="347449"/>
                  <a:pt x="467276" y="338147"/>
                </a:cubicBezTo>
                <a:cubicBezTo>
                  <a:pt x="480062" y="328902"/>
                  <a:pt x="490463" y="316743"/>
                  <a:pt x="497618" y="302681"/>
                </a:cubicBezTo>
                <a:cubicBezTo>
                  <a:pt x="499510" y="298979"/>
                  <a:pt x="501060" y="295112"/>
                  <a:pt x="502246" y="291128"/>
                </a:cubicBezTo>
                <a:cubicBezTo>
                  <a:pt x="501976" y="291037"/>
                  <a:pt x="501681" y="291072"/>
                  <a:pt x="501438" y="291221"/>
                </a:cubicBezTo>
                <a:close/>
                <a:moveTo>
                  <a:pt x="519669" y="219480"/>
                </a:moveTo>
                <a:cubicBezTo>
                  <a:pt x="515631" y="232275"/>
                  <a:pt x="508395" y="242648"/>
                  <a:pt x="497929" y="253642"/>
                </a:cubicBezTo>
                <a:cubicBezTo>
                  <a:pt x="489606" y="262214"/>
                  <a:pt x="473643" y="278487"/>
                  <a:pt x="466251" y="289668"/>
                </a:cubicBezTo>
                <a:cubicBezTo>
                  <a:pt x="466034" y="289978"/>
                  <a:pt x="465475" y="289823"/>
                  <a:pt x="465692" y="289264"/>
                </a:cubicBezTo>
                <a:cubicBezTo>
                  <a:pt x="469664" y="276195"/>
                  <a:pt x="470726" y="262413"/>
                  <a:pt x="468798" y="248890"/>
                </a:cubicBezTo>
                <a:cubicBezTo>
                  <a:pt x="466965" y="237431"/>
                  <a:pt x="461965" y="224977"/>
                  <a:pt x="460723" y="210970"/>
                </a:cubicBezTo>
                <a:cubicBezTo>
                  <a:pt x="460723" y="210784"/>
                  <a:pt x="460350" y="210380"/>
                  <a:pt x="460164" y="210349"/>
                </a:cubicBezTo>
                <a:cubicBezTo>
                  <a:pt x="459944" y="210772"/>
                  <a:pt x="459779" y="211222"/>
                  <a:pt x="459667" y="211685"/>
                </a:cubicBezTo>
                <a:cubicBezTo>
                  <a:pt x="456667" y="220688"/>
                  <a:pt x="454689" y="230002"/>
                  <a:pt x="453766" y="239449"/>
                </a:cubicBezTo>
                <a:cubicBezTo>
                  <a:pt x="453176" y="250878"/>
                  <a:pt x="455319" y="265568"/>
                  <a:pt x="454388" y="277307"/>
                </a:cubicBezTo>
                <a:cubicBezTo>
                  <a:pt x="453301" y="290879"/>
                  <a:pt x="452369" y="304327"/>
                  <a:pt x="446127" y="316625"/>
                </a:cubicBezTo>
                <a:cubicBezTo>
                  <a:pt x="446127" y="316625"/>
                  <a:pt x="446127" y="316625"/>
                  <a:pt x="446127" y="316811"/>
                </a:cubicBezTo>
                <a:cubicBezTo>
                  <a:pt x="446127" y="316998"/>
                  <a:pt x="446344" y="317774"/>
                  <a:pt x="446344" y="317774"/>
                </a:cubicBezTo>
                <a:lnTo>
                  <a:pt x="446344" y="317774"/>
                </a:lnTo>
                <a:cubicBezTo>
                  <a:pt x="451313" y="314668"/>
                  <a:pt x="465537" y="306190"/>
                  <a:pt x="474916" y="299917"/>
                </a:cubicBezTo>
                <a:cubicBezTo>
                  <a:pt x="486711" y="292329"/>
                  <a:pt x="496948" y="282559"/>
                  <a:pt x="505072" y="271127"/>
                </a:cubicBezTo>
                <a:cubicBezTo>
                  <a:pt x="515342" y="256443"/>
                  <a:pt x="520771" y="238918"/>
                  <a:pt x="520600" y="221002"/>
                </a:cubicBezTo>
                <a:cubicBezTo>
                  <a:pt x="520644" y="220402"/>
                  <a:pt x="520644" y="219800"/>
                  <a:pt x="520600" y="219200"/>
                </a:cubicBezTo>
                <a:cubicBezTo>
                  <a:pt x="520600" y="219200"/>
                  <a:pt x="519700" y="219480"/>
                  <a:pt x="519669" y="219480"/>
                </a:cubicBezTo>
                <a:close/>
                <a:moveTo>
                  <a:pt x="489482" y="227213"/>
                </a:moveTo>
                <a:cubicBezTo>
                  <a:pt x="489482" y="227368"/>
                  <a:pt x="489295" y="227430"/>
                  <a:pt x="489264" y="227461"/>
                </a:cubicBezTo>
                <a:cubicBezTo>
                  <a:pt x="489233" y="227492"/>
                  <a:pt x="488829" y="227182"/>
                  <a:pt x="488829" y="227120"/>
                </a:cubicBezTo>
                <a:cubicBezTo>
                  <a:pt x="489267" y="223294"/>
                  <a:pt x="489351" y="219436"/>
                  <a:pt x="489078" y="215598"/>
                </a:cubicBezTo>
                <a:cubicBezTo>
                  <a:pt x="488084" y="202181"/>
                  <a:pt x="480009" y="191094"/>
                  <a:pt x="472897" y="179914"/>
                </a:cubicBezTo>
                <a:cubicBezTo>
                  <a:pt x="468028" y="172637"/>
                  <a:pt x="463726" y="164997"/>
                  <a:pt x="460040" y="157056"/>
                </a:cubicBezTo>
                <a:cubicBezTo>
                  <a:pt x="460040" y="157056"/>
                  <a:pt x="459481" y="156683"/>
                  <a:pt x="459326" y="156745"/>
                </a:cubicBezTo>
                <a:cubicBezTo>
                  <a:pt x="459326" y="157957"/>
                  <a:pt x="459512" y="161901"/>
                  <a:pt x="459760" y="164447"/>
                </a:cubicBezTo>
                <a:cubicBezTo>
                  <a:pt x="461748" y="183640"/>
                  <a:pt x="467866" y="202430"/>
                  <a:pt x="474202" y="220660"/>
                </a:cubicBezTo>
                <a:cubicBezTo>
                  <a:pt x="478615" y="231961"/>
                  <a:pt x="480338" y="244136"/>
                  <a:pt x="479233" y="256220"/>
                </a:cubicBezTo>
                <a:cubicBezTo>
                  <a:pt x="479233" y="257276"/>
                  <a:pt x="479233" y="257400"/>
                  <a:pt x="479512" y="257711"/>
                </a:cubicBezTo>
                <a:cubicBezTo>
                  <a:pt x="479792" y="258021"/>
                  <a:pt x="479512" y="257711"/>
                  <a:pt x="479512" y="257711"/>
                </a:cubicBezTo>
                <a:cubicBezTo>
                  <a:pt x="483829" y="251499"/>
                  <a:pt x="492246" y="242710"/>
                  <a:pt x="497432" y="236406"/>
                </a:cubicBezTo>
                <a:cubicBezTo>
                  <a:pt x="503053" y="229542"/>
                  <a:pt x="531377" y="197274"/>
                  <a:pt x="517433" y="152273"/>
                </a:cubicBezTo>
                <a:cubicBezTo>
                  <a:pt x="516886" y="150351"/>
                  <a:pt x="516147" y="148491"/>
                  <a:pt x="515228" y="146714"/>
                </a:cubicBezTo>
                <a:cubicBezTo>
                  <a:pt x="515010" y="146714"/>
                  <a:pt x="514637" y="147273"/>
                  <a:pt x="514606" y="147428"/>
                </a:cubicBezTo>
                <a:cubicBezTo>
                  <a:pt x="514606" y="179789"/>
                  <a:pt x="499078" y="193672"/>
                  <a:pt x="492494" y="215753"/>
                </a:cubicBezTo>
                <a:cubicBezTo>
                  <a:pt x="491314" y="220008"/>
                  <a:pt x="490351" y="223921"/>
                  <a:pt x="489482" y="227182"/>
                </a:cubicBezTo>
                <a:close/>
                <a:moveTo>
                  <a:pt x="465102" y="126620"/>
                </a:moveTo>
                <a:cubicBezTo>
                  <a:pt x="458586" y="120946"/>
                  <a:pt x="452797" y="114490"/>
                  <a:pt x="447866" y="107396"/>
                </a:cubicBezTo>
                <a:cubicBezTo>
                  <a:pt x="447819" y="107328"/>
                  <a:pt x="447754" y="107275"/>
                  <a:pt x="447679" y="107241"/>
                </a:cubicBezTo>
                <a:cubicBezTo>
                  <a:pt x="447446" y="107170"/>
                  <a:pt x="447198" y="107170"/>
                  <a:pt x="446965" y="107241"/>
                </a:cubicBezTo>
                <a:cubicBezTo>
                  <a:pt x="446748" y="107241"/>
                  <a:pt x="446561" y="107241"/>
                  <a:pt x="446592" y="107241"/>
                </a:cubicBezTo>
                <a:cubicBezTo>
                  <a:pt x="448754" y="114788"/>
                  <a:pt x="451294" y="122220"/>
                  <a:pt x="454201" y="129509"/>
                </a:cubicBezTo>
                <a:cubicBezTo>
                  <a:pt x="458363" y="139105"/>
                  <a:pt x="465009" y="147149"/>
                  <a:pt x="471282" y="155410"/>
                </a:cubicBezTo>
                <a:cubicBezTo>
                  <a:pt x="471717" y="156031"/>
                  <a:pt x="472183" y="156621"/>
                  <a:pt x="472618" y="157211"/>
                </a:cubicBezTo>
                <a:cubicBezTo>
                  <a:pt x="478829" y="165659"/>
                  <a:pt x="488954" y="183640"/>
                  <a:pt x="491252" y="192864"/>
                </a:cubicBezTo>
                <a:cubicBezTo>
                  <a:pt x="491252" y="193113"/>
                  <a:pt x="491873" y="193361"/>
                  <a:pt x="491904" y="193268"/>
                </a:cubicBezTo>
                <a:cubicBezTo>
                  <a:pt x="492774" y="189976"/>
                  <a:pt x="496842" y="177181"/>
                  <a:pt x="499823" y="168423"/>
                </a:cubicBezTo>
                <a:cubicBezTo>
                  <a:pt x="502684" y="159683"/>
                  <a:pt x="505038" y="150786"/>
                  <a:pt x="506873" y="141776"/>
                </a:cubicBezTo>
                <a:cubicBezTo>
                  <a:pt x="509979" y="120471"/>
                  <a:pt x="502898" y="92862"/>
                  <a:pt x="490475" y="77768"/>
                </a:cubicBezTo>
                <a:cubicBezTo>
                  <a:pt x="490258" y="77768"/>
                  <a:pt x="490072" y="78389"/>
                  <a:pt x="490134" y="78514"/>
                </a:cubicBezTo>
                <a:cubicBezTo>
                  <a:pt x="490351" y="79228"/>
                  <a:pt x="490506" y="79787"/>
                  <a:pt x="490724" y="80470"/>
                </a:cubicBezTo>
                <a:cubicBezTo>
                  <a:pt x="490941" y="81154"/>
                  <a:pt x="491252" y="82334"/>
                  <a:pt x="491469" y="83296"/>
                </a:cubicBezTo>
                <a:cubicBezTo>
                  <a:pt x="494575" y="97179"/>
                  <a:pt x="493612" y="106962"/>
                  <a:pt x="492028" y="118732"/>
                </a:cubicBezTo>
                <a:cubicBezTo>
                  <a:pt x="490295" y="128030"/>
                  <a:pt x="489423" y="137472"/>
                  <a:pt x="489419" y="146931"/>
                </a:cubicBezTo>
                <a:cubicBezTo>
                  <a:pt x="489419" y="148515"/>
                  <a:pt x="490475" y="160193"/>
                  <a:pt x="490351" y="160627"/>
                </a:cubicBezTo>
                <a:cubicBezTo>
                  <a:pt x="490227" y="161062"/>
                  <a:pt x="489699" y="160627"/>
                  <a:pt x="489637" y="160627"/>
                </a:cubicBezTo>
                <a:cubicBezTo>
                  <a:pt x="489575" y="160627"/>
                  <a:pt x="488115" y="156280"/>
                  <a:pt x="486531" y="152739"/>
                </a:cubicBezTo>
                <a:cubicBezTo>
                  <a:pt x="485910" y="151186"/>
                  <a:pt x="485258" y="149633"/>
                  <a:pt x="484730" y="148671"/>
                </a:cubicBezTo>
                <a:cubicBezTo>
                  <a:pt x="479699" y="138484"/>
                  <a:pt x="473487" y="133360"/>
                  <a:pt x="465102" y="126620"/>
                </a:cubicBezTo>
                <a:close/>
                <a:moveTo>
                  <a:pt x="451406" y="40438"/>
                </a:moveTo>
                <a:cubicBezTo>
                  <a:pt x="455372" y="44210"/>
                  <a:pt x="458543" y="48741"/>
                  <a:pt x="460723" y="53762"/>
                </a:cubicBezTo>
                <a:cubicBezTo>
                  <a:pt x="464139" y="61805"/>
                  <a:pt x="465133" y="73886"/>
                  <a:pt x="467369" y="83017"/>
                </a:cubicBezTo>
                <a:cubicBezTo>
                  <a:pt x="468705" y="88576"/>
                  <a:pt x="469543" y="92334"/>
                  <a:pt x="471500" y="98794"/>
                </a:cubicBezTo>
                <a:cubicBezTo>
                  <a:pt x="471500" y="99353"/>
                  <a:pt x="471096" y="99601"/>
                  <a:pt x="470785" y="99073"/>
                </a:cubicBezTo>
                <a:lnTo>
                  <a:pt x="470630" y="98887"/>
                </a:lnTo>
                <a:cubicBezTo>
                  <a:pt x="464233" y="90191"/>
                  <a:pt x="456282" y="84787"/>
                  <a:pt x="444977" y="77644"/>
                </a:cubicBezTo>
                <a:cubicBezTo>
                  <a:pt x="438487" y="73753"/>
                  <a:pt x="432803" y="68650"/>
                  <a:pt x="428238" y="62613"/>
                </a:cubicBezTo>
                <a:lnTo>
                  <a:pt x="425691" y="59259"/>
                </a:lnTo>
                <a:cubicBezTo>
                  <a:pt x="425474" y="59108"/>
                  <a:pt x="425210" y="59032"/>
                  <a:pt x="424946" y="59041"/>
                </a:cubicBezTo>
                <a:cubicBezTo>
                  <a:pt x="424955" y="59513"/>
                  <a:pt x="425017" y="59982"/>
                  <a:pt x="425132" y="60439"/>
                </a:cubicBezTo>
                <a:cubicBezTo>
                  <a:pt x="426561" y="67737"/>
                  <a:pt x="431344" y="81247"/>
                  <a:pt x="439822" y="89259"/>
                </a:cubicBezTo>
                <a:cubicBezTo>
                  <a:pt x="445847" y="95005"/>
                  <a:pt x="452617" y="100098"/>
                  <a:pt x="459046" y="105409"/>
                </a:cubicBezTo>
                <a:cubicBezTo>
                  <a:pt x="467323" y="112434"/>
                  <a:pt x="474876" y="120266"/>
                  <a:pt x="481593" y="128794"/>
                </a:cubicBezTo>
                <a:lnTo>
                  <a:pt x="481593" y="128794"/>
                </a:lnTo>
                <a:cubicBezTo>
                  <a:pt x="481593" y="128794"/>
                  <a:pt x="482121" y="129105"/>
                  <a:pt x="482121" y="128794"/>
                </a:cubicBezTo>
                <a:lnTo>
                  <a:pt x="482121" y="128794"/>
                </a:lnTo>
                <a:cubicBezTo>
                  <a:pt x="482121" y="127086"/>
                  <a:pt x="481904" y="124415"/>
                  <a:pt x="481904" y="121279"/>
                </a:cubicBezTo>
                <a:cubicBezTo>
                  <a:pt x="481904" y="114260"/>
                  <a:pt x="482214" y="104850"/>
                  <a:pt x="482525" y="98390"/>
                </a:cubicBezTo>
                <a:cubicBezTo>
                  <a:pt x="482525" y="95781"/>
                  <a:pt x="482742" y="93141"/>
                  <a:pt x="482711" y="90533"/>
                </a:cubicBezTo>
                <a:cubicBezTo>
                  <a:pt x="482969" y="82685"/>
                  <a:pt x="481550" y="74871"/>
                  <a:pt x="478550" y="67613"/>
                </a:cubicBezTo>
                <a:cubicBezTo>
                  <a:pt x="473745" y="55740"/>
                  <a:pt x="464826" y="45994"/>
                  <a:pt x="453425" y="40159"/>
                </a:cubicBezTo>
                <a:cubicBezTo>
                  <a:pt x="452717" y="39814"/>
                  <a:pt x="451978" y="39533"/>
                  <a:pt x="451220" y="39320"/>
                </a:cubicBezTo>
                <a:cubicBezTo>
                  <a:pt x="451111" y="39589"/>
                  <a:pt x="451111" y="39890"/>
                  <a:pt x="451220" y="40159"/>
                </a:cubicBezTo>
                <a:cubicBezTo>
                  <a:pt x="451220" y="40159"/>
                  <a:pt x="451344" y="40407"/>
                  <a:pt x="451406" y="40438"/>
                </a:cubicBezTo>
                <a:close/>
                <a:moveTo>
                  <a:pt x="402275" y="17767"/>
                </a:moveTo>
                <a:cubicBezTo>
                  <a:pt x="408952" y="23975"/>
                  <a:pt x="414834" y="30985"/>
                  <a:pt x="419790" y="38637"/>
                </a:cubicBezTo>
                <a:cubicBezTo>
                  <a:pt x="424365" y="46127"/>
                  <a:pt x="429887" y="52996"/>
                  <a:pt x="436219" y="59072"/>
                </a:cubicBezTo>
                <a:cubicBezTo>
                  <a:pt x="440661" y="63575"/>
                  <a:pt x="453611" y="73607"/>
                  <a:pt x="456841" y="76122"/>
                </a:cubicBezTo>
                <a:lnTo>
                  <a:pt x="456841" y="76122"/>
                </a:lnTo>
                <a:cubicBezTo>
                  <a:pt x="456931" y="76160"/>
                  <a:pt x="457031" y="76160"/>
                  <a:pt x="457121" y="76122"/>
                </a:cubicBezTo>
                <a:cubicBezTo>
                  <a:pt x="457114" y="76070"/>
                  <a:pt x="457114" y="76020"/>
                  <a:pt x="457121" y="75967"/>
                </a:cubicBezTo>
                <a:cubicBezTo>
                  <a:pt x="456437" y="72240"/>
                  <a:pt x="450599" y="44910"/>
                  <a:pt x="433549" y="31556"/>
                </a:cubicBezTo>
                <a:cubicBezTo>
                  <a:pt x="423806" y="23851"/>
                  <a:pt x="412495" y="18371"/>
                  <a:pt x="400411" y="15500"/>
                </a:cubicBezTo>
                <a:cubicBezTo>
                  <a:pt x="400411" y="15748"/>
                  <a:pt x="400411" y="16338"/>
                  <a:pt x="400411" y="16307"/>
                </a:cubicBezTo>
                <a:cubicBezTo>
                  <a:pt x="401281" y="16897"/>
                  <a:pt x="401716" y="17239"/>
                  <a:pt x="402275" y="17767"/>
                </a:cubicBezTo>
                <a:close/>
                <a:moveTo>
                  <a:pt x="134597" y="389763"/>
                </a:moveTo>
                <a:cubicBezTo>
                  <a:pt x="145818" y="388770"/>
                  <a:pt x="156915" y="386692"/>
                  <a:pt x="167735" y="383552"/>
                </a:cubicBezTo>
                <a:cubicBezTo>
                  <a:pt x="174847" y="381658"/>
                  <a:pt x="188667" y="378645"/>
                  <a:pt x="193450" y="377558"/>
                </a:cubicBezTo>
                <a:lnTo>
                  <a:pt x="193729" y="377558"/>
                </a:lnTo>
                <a:cubicBezTo>
                  <a:pt x="193729" y="377558"/>
                  <a:pt x="193729" y="377558"/>
                  <a:pt x="193729" y="377558"/>
                </a:cubicBezTo>
                <a:cubicBezTo>
                  <a:pt x="193655" y="377356"/>
                  <a:pt x="193549" y="377170"/>
                  <a:pt x="193419" y="376999"/>
                </a:cubicBezTo>
                <a:cubicBezTo>
                  <a:pt x="193276" y="376903"/>
                  <a:pt x="193117" y="376828"/>
                  <a:pt x="192953" y="376782"/>
                </a:cubicBezTo>
                <a:cubicBezTo>
                  <a:pt x="186741" y="375198"/>
                  <a:pt x="169753" y="370229"/>
                  <a:pt x="157890" y="358893"/>
                </a:cubicBezTo>
                <a:cubicBezTo>
                  <a:pt x="150312" y="351874"/>
                  <a:pt x="143169" y="344328"/>
                  <a:pt x="135591" y="337153"/>
                </a:cubicBezTo>
                <a:cubicBezTo>
                  <a:pt x="129380" y="331470"/>
                  <a:pt x="116057" y="320010"/>
                  <a:pt x="115125" y="319700"/>
                </a:cubicBezTo>
                <a:cubicBezTo>
                  <a:pt x="115006" y="319917"/>
                  <a:pt x="114952" y="320165"/>
                  <a:pt x="114970" y="320414"/>
                </a:cubicBezTo>
                <a:cubicBezTo>
                  <a:pt x="116957" y="323023"/>
                  <a:pt x="124038" y="339048"/>
                  <a:pt x="128386" y="347371"/>
                </a:cubicBezTo>
                <a:cubicBezTo>
                  <a:pt x="134597" y="359297"/>
                  <a:pt x="142921" y="368769"/>
                  <a:pt x="155157" y="373241"/>
                </a:cubicBezTo>
                <a:lnTo>
                  <a:pt x="155374" y="373397"/>
                </a:lnTo>
                <a:cubicBezTo>
                  <a:pt x="155654" y="373676"/>
                  <a:pt x="155374" y="374049"/>
                  <a:pt x="154380" y="373893"/>
                </a:cubicBezTo>
                <a:lnTo>
                  <a:pt x="154163" y="373893"/>
                </a:lnTo>
                <a:cubicBezTo>
                  <a:pt x="140591" y="371980"/>
                  <a:pt x="126929" y="370810"/>
                  <a:pt x="113230" y="370384"/>
                </a:cubicBezTo>
                <a:cubicBezTo>
                  <a:pt x="102575" y="370278"/>
                  <a:pt x="91986" y="368691"/>
                  <a:pt x="81770" y="365663"/>
                </a:cubicBezTo>
                <a:cubicBezTo>
                  <a:pt x="74497" y="363437"/>
                  <a:pt x="67711" y="359853"/>
                  <a:pt x="61770" y="355104"/>
                </a:cubicBezTo>
                <a:cubicBezTo>
                  <a:pt x="61472" y="354977"/>
                  <a:pt x="61135" y="354977"/>
                  <a:pt x="60838" y="355104"/>
                </a:cubicBezTo>
                <a:lnTo>
                  <a:pt x="60838" y="355104"/>
                </a:lnTo>
                <a:cubicBezTo>
                  <a:pt x="77233" y="379285"/>
                  <a:pt x="105558" y="392543"/>
                  <a:pt x="134628" y="389639"/>
                </a:cubicBezTo>
                <a:close/>
                <a:moveTo>
                  <a:pt x="123976" y="361812"/>
                </a:moveTo>
                <a:lnTo>
                  <a:pt x="126740" y="362278"/>
                </a:lnTo>
                <a:lnTo>
                  <a:pt x="126740" y="362278"/>
                </a:lnTo>
                <a:cubicBezTo>
                  <a:pt x="126721" y="362114"/>
                  <a:pt x="126669" y="361955"/>
                  <a:pt x="126585" y="361812"/>
                </a:cubicBezTo>
                <a:lnTo>
                  <a:pt x="125839" y="361005"/>
                </a:lnTo>
                <a:cubicBezTo>
                  <a:pt x="117894" y="352666"/>
                  <a:pt x="111929" y="342647"/>
                  <a:pt x="108386" y="331687"/>
                </a:cubicBezTo>
                <a:cubicBezTo>
                  <a:pt x="105497" y="323675"/>
                  <a:pt x="102795" y="315600"/>
                  <a:pt x="100000" y="307556"/>
                </a:cubicBezTo>
                <a:cubicBezTo>
                  <a:pt x="96025" y="296190"/>
                  <a:pt x="87578" y="278022"/>
                  <a:pt x="77298" y="266313"/>
                </a:cubicBezTo>
                <a:cubicBezTo>
                  <a:pt x="77298" y="266313"/>
                  <a:pt x="77298" y="266313"/>
                  <a:pt x="77298" y="266313"/>
                </a:cubicBezTo>
                <a:cubicBezTo>
                  <a:pt x="77121" y="266543"/>
                  <a:pt x="77042" y="266832"/>
                  <a:pt x="77080" y="267121"/>
                </a:cubicBezTo>
                <a:cubicBezTo>
                  <a:pt x="80497" y="277276"/>
                  <a:pt x="80714" y="288643"/>
                  <a:pt x="82174" y="299171"/>
                </a:cubicBezTo>
                <a:cubicBezTo>
                  <a:pt x="86335" y="329358"/>
                  <a:pt x="100249" y="343582"/>
                  <a:pt x="100808" y="344110"/>
                </a:cubicBezTo>
                <a:cubicBezTo>
                  <a:pt x="101367" y="344638"/>
                  <a:pt x="100808" y="344949"/>
                  <a:pt x="100497" y="344700"/>
                </a:cubicBezTo>
                <a:cubicBezTo>
                  <a:pt x="100187" y="344452"/>
                  <a:pt x="99379" y="343893"/>
                  <a:pt x="98758" y="343365"/>
                </a:cubicBezTo>
                <a:cubicBezTo>
                  <a:pt x="89561" y="336132"/>
                  <a:pt x="79427" y="330178"/>
                  <a:pt x="68633" y="325662"/>
                </a:cubicBezTo>
                <a:cubicBezTo>
                  <a:pt x="60066" y="321964"/>
                  <a:pt x="51854" y="317495"/>
                  <a:pt x="44098" y="312308"/>
                </a:cubicBezTo>
                <a:cubicBezTo>
                  <a:pt x="35070" y="306529"/>
                  <a:pt x="26967" y="299420"/>
                  <a:pt x="20060" y="291221"/>
                </a:cubicBezTo>
                <a:cubicBezTo>
                  <a:pt x="19787" y="291081"/>
                  <a:pt x="19464" y="291081"/>
                  <a:pt x="19191" y="291221"/>
                </a:cubicBezTo>
                <a:cubicBezTo>
                  <a:pt x="20377" y="295205"/>
                  <a:pt x="21926" y="299072"/>
                  <a:pt x="23818" y="302774"/>
                </a:cubicBezTo>
                <a:cubicBezTo>
                  <a:pt x="31003" y="316811"/>
                  <a:pt x="41425" y="328936"/>
                  <a:pt x="54223" y="338147"/>
                </a:cubicBezTo>
                <a:cubicBezTo>
                  <a:pt x="66424" y="347579"/>
                  <a:pt x="80817" y="353766"/>
                  <a:pt x="96056" y="356129"/>
                </a:cubicBezTo>
                <a:cubicBezTo>
                  <a:pt x="105435" y="357558"/>
                  <a:pt x="114659" y="359794"/>
                  <a:pt x="123976" y="361719"/>
                </a:cubicBezTo>
                <a:close/>
                <a:moveTo>
                  <a:pt x="46831" y="299699"/>
                </a:moveTo>
                <a:cubicBezTo>
                  <a:pt x="56148" y="305910"/>
                  <a:pt x="70434" y="314358"/>
                  <a:pt x="75403" y="317557"/>
                </a:cubicBezTo>
                <a:lnTo>
                  <a:pt x="75403" y="317557"/>
                </a:lnTo>
                <a:cubicBezTo>
                  <a:pt x="75403" y="317557"/>
                  <a:pt x="75745" y="316936"/>
                  <a:pt x="75621" y="316594"/>
                </a:cubicBezTo>
                <a:cubicBezTo>
                  <a:pt x="75497" y="316252"/>
                  <a:pt x="75621" y="316594"/>
                  <a:pt x="75621" y="316408"/>
                </a:cubicBezTo>
                <a:cubicBezTo>
                  <a:pt x="69409" y="303985"/>
                  <a:pt x="68447" y="290662"/>
                  <a:pt x="67360" y="277090"/>
                </a:cubicBezTo>
                <a:cubicBezTo>
                  <a:pt x="66428" y="265350"/>
                  <a:pt x="68571" y="250661"/>
                  <a:pt x="67981" y="239232"/>
                </a:cubicBezTo>
                <a:cubicBezTo>
                  <a:pt x="67059" y="229784"/>
                  <a:pt x="65080" y="220471"/>
                  <a:pt x="62080" y="211467"/>
                </a:cubicBezTo>
                <a:cubicBezTo>
                  <a:pt x="61969" y="211004"/>
                  <a:pt x="61802" y="210554"/>
                  <a:pt x="61583" y="210132"/>
                </a:cubicBezTo>
                <a:cubicBezTo>
                  <a:pt x="61397" y="210132"/>
                  <a:pt x="61086" y="210567"/>
                  <a:pt x="61024" y="210753"/>
                </a:cubicBezTo>
                <a:cubicBezTo>
                  <a:pt x="59782" y="224759"/>
                  <a:pt x="54813" y="237213"/>
                  <a:pt x="52949" y="248673"/>
                </a:cubicBezTo>
                <a:cubicBezTo>
                  <a:pt x="51021" y="262195"/>
                  <a:pt x="52081" y="275978"/>
                  <a:pt x="56055" y="289047"/>
                </a:cubicBezTo>
                <a:cubicBezTo>
                  <a:pt x="56273" y="289606"/>
                  <a:pt x="55714" y="289761"/>
                  <a:pt x="55496" y="289450"/>
                </a:cubicBezTo>
                <a:cubicBezTo>
                  <a:pt x="48011" y="278487"/>
                  <a:pt x="31986" y="262338"/>
                  <a:pt x="23663" y="253642"/>
                </a:cubicBezTo>
                <a:cubicBezTo>
                  <a:pt x="13073" y="242493"/>
                  <a:pt x="5837" y="232120"/>
                  <a:pt x="1923" y="219480"/>
                </a:cubicBezTo>
                <a:cubicBezTo>
                  <a:pt x="1923" y="219480"/>
                  <a:pt x="1364" y="218983"/>
                  <a:pt x="1240" y="219045"/>
                </a:cubicBezTo>
                <a:cubicBezTo>
                  <a:pt x="1176" y="219644"/>
                  <a:pt x="1176" y="220247"/>
                  <a:pt x="1240" y="220846"/>
                </a:cubicBezTo>
                <a:cubicBezTo>
                  <a:pt x="1070" y="238763"/>
                  <a:pt x="6498" y="256288"/>
                  <a:pt x="16768" y="270972"/>
                </a:cubicBezTo>
                <a:cubicBezTo>
                  <a:pt x="24868" y="282382"/>
                  <a:pt x="35072" y="292143"/>
                  <a:pt x="46831" y="299730"/>
                </a:cubicBezTo>
                <a:close/>
                <a:moveTo>
                  <a:pt x="41800" y="257679"/>
                </a:moveTo>
                <a:cubicBezTo>
                  <a:pt x="41800" y="257679"/>
                  <a:pt x="41800" y="257679"/>
                  <a:pt x="41800" y="257679"/>
                </a:cubicBezTo>
                <a:cubicBezTo>
                  <a:pt x="41800" y="257679"/>
                  <a:pt x="42204" y="257214"/>
                  <a:pt x="42080" y="256158"/>
                </a:cubicBezTo>
                <a:cubicBezTo>
                  <a:pt x="40977" y="244074"/>
                  <a:pt x="42699" y="231899"/>
                  <a:pt x="47111" y="220598"/>
                </a:cubicBezTo>
                <a:cubicBezTo>
                  <a:pt x="53322" y="202368"/>
                  <a:pt x="59533" y="183578"/>
                  <a:pt x="61552" y="164385"/>
                </a:cubicBezTo>
                <a:cubicBezTo>
                  <a:pt x="61801" y="161839"/>
                  <a:pt x="62049" y="157894"/>
                  <a:pt x="61987" y="156683"/>
                </a:cubicBezTo>
                <a:cubicBezTo>
                  <a:pt x="61714" y="156699"/>
                  <a:pt x="61457" y="156823"/>
                  <a:pt x="61273" y="157025"/>
                </a:cubicBezTo>
                <a:cubicBezTo>
                  <a:pt x="57578" y="164951"/>
                  <a:pt x="53279" y="172584"/>
                  <a:pt x="48415" y="179852"/>
                </a:cubicBezTo>
                <a:cubicBezTo>
                  <a:pt x="41303" y="191032"/>
                  <a:pt x="33228" y="202119"/>
                  <a:pt x="32235" y="215536"/>
                </a:cubicBezTo>
                <a:cubicBezTo>
                  <a:pt x="31963" y="219374"/>
                  <a:pt x="32046" y="223231"/>
                  <a:pt x="32483" y="227058"/>
                </a:cubicBezTo>
                <a:cubicBezTo>
                  <a:pt x="32483" y="227058"/>
                  <a:pt x="32483" y="227492"/>
                  <a:pt x="32048" y="227399"/>
                </a:cubicBezTo>
                <a:cubicBezTo>
                  <a:pt x="31614" y="227306"/>
                  <a:pt x="31862" y="227399"/>
                  <a:pt x="31831" y="227151"/>
                </a:cubicBezTo>
                <a:cubicBezTo>
                  <a:pt x="30961" y="224045"/>
                  <a:pt x="29999" y="219977"/>
                  <a:pt x="28725" y="215753"/>
                </a:cubicBezTo>
                <a:cubicBezTo>
                  <a:pt x="22203" y="193610"/>
                  <a:pt x="6551" y="179727"/>
                  <a:pt x="6644" y="147428"/>
                </a:cubicBezTo>
                <a:cubicBezTo>
                  <a:pt x="6644" y="147273"/>
                  <a:pt x="6240" y="146714"/>
                  <a:pt x="6023" y="146714"/>
                </a:cubicBezTo>
                <a:cubicBezTo>
                  <a:pt x="5105" y="148491"/>
                  <a:pt x="4366" y="150351"/>
                  <a:pt x="3818" y="152273"/>
                </a:cubicBezTo>
                <a:cubicBezTo>
                  <a:pt x="-10127" y="197274"/>
                  <a:pt x="18197" y="229542"/>
                  <a:pt x="23787" y="236406"/>
                </a:cubicBezTo>
                <a:cubicBezTo>
                  <a:pt x="29160" y="242679"/>
                  <a:pt x="37576" y="251437"/>
                  <a:pt x="41800" y="257679"/>
                </a:cubicBezTo>
                <a:close/>
                <a:moveTo>
                  <a:pt x="21613" y="168267"/>
                </a:moveTo>
                <a:cubicBezTo>
                  <a:pt x="24719" y="176932"/>
                  <a:pt x="28694" y="189728"/>
                  <a:pt x="29564" y="193113"/>
                </a:cubicBezTo>
                <a:cubicBezTo>
                  <a:pt x="29564" y="193113"/>
                  <a:pt x="30154" y="193113"/>
                  <a:pt x="30216" y="192709"/>
                </a:cubicBezTo>
                <a:cubicBezTo>
                  <a:pt x="32638" y="183392"/>
                  <a:pt x="42639" y="165503"/>
                  <a:pt x="48850" y="157056"/>
                </a:cubicBezTo>
                <a:cubicBezTo>
                  <a:pt x="49285" y="156466"/>
                  <a:pt x="49751" y="155876"/>
                  <a:pt x="50185" y="155255"/>
                </a:cubicBezTo>
                <a:cubicBezTo>
                  <a:pt x="56397" y="146994"/>
                  <a:pt x="63105" y="138950"/>
                  <a:pt x="67267" y="129353"/>
                </a:cubicBezTo>
                <a:cubicBezTo>
                  <a:pt x="70174" y="122064"/>
                  <a:pt x="72714" y="114633"/>
                  <a:pt x="74875" y="107086"/>
                </a:cubicBezTo>
                <a:cubicBezTo>
                  <a:pt x="74875" y="107086"/>
                  <a:pt x="74875" y="107086"/>
                  <a:pt x="74503" y="107086"/>
                </a:cubicBezTo>
                <a:cubicBezTo>
                  <a:pt x="74270" y="107014"/>
                  <a:pt x="74021" y="107014"/>
                  <a:pt x="73788" y="107086"/>
                </a:cubicBezTo>
                <a:cubicBezTo>
                  <a:pt x="73714" y="107120"/>
                  <a:pt x="73649" y="107173"/>
                  <a:pt x="73602" y="107241"/>
                </a:cubicBezTo>
                <a:lnTo>
                  <a:pt x="73602" y="107241"/>
                </a:lnTo>
                <a:cubicBezTo>
                  <a:pt x="68670" y="114334"/>
                  <a:pt x="62881" y="120791"/>
                  <a:pt x="56366" y="126465"/>
                </a:cubicBezTo>
                <a:cubicBezTo>
                  <a:pt x="48105" y="133204"/>
                  <a:pt x="41645" y="138329"/>
                  <a:pt x="36676" y="148205"/>
                </a:cubicBezTo>
                <a:cubicBezTo>
                  <a:pt x="36148" y="149261"/>
                  <a:pt x="35496" y="150720"/>
                  <a:pt x="34874" y="152273"/>
                </a:cubicBezTo>
                <a:cubicBezTo>
                  <a:pt x="33353" y="155814"/>
                  <a:pt x="31769" y="160068"/>
                  <a:pt x="31769" y="160162"/>
                </a:cubicBezTo>
                <a:cubicBezTo>
                  <a:pt x="31769" y="160255"/>
                  <a:pt x="31241" y="160845"/>
                  <a:pt x="31055" y="160162"/>
                </a:cubicBezTo>
                <a:cubicBezTo>
                  <a:pt x="30868" y="159478"/>
                  <a:pt x="31893" y="148050"/>
                  <a:pt x="31986" y="146466"/>
                </a:cubicBezTo>
                <a:cubicBezTo>
                  <a:pt x="31983" y="137006"/>
                  <a:pt x="31110" y="127565"/>
                  <a:pt x="29377" y="118266"/>
                </a:cubicBezTo>
                <a:cubicBezTo>
                  <a:pt x="27794" y="106496"/>
                  <a:pt x="26707" y="96713"/>
                  <a:pt x="29936" y="82831"/>
                </a:cubicBezTo>
                <a:cubicBezTo>
                  <a:pt x="30154" y="81899"/>
                  <a:pt x="30402" y="80936"/>
                  <a:pt x="30682" y="80004"/>
                </a:cubicBezTo>
                <a:cubicBezTo>
                  <a:pt x="30961" y="79073"/>
                  <a:pt x="31055" y="78762"/>
                  <a:pt x="31272" y="78048"/>
                </a:cubicBezTo>
                <a:cubicBezTo>
                  <a:pt x="31272" y="78048"/>
                  <a:pt x="31272" y="77365"/>
                  <a:pt x="30930" y="77302"/>
                </a:cubicBezTo>
                <a:cubicBezTo>
                  <a:pt x="18508" y="92396"/>
                  <a:pt x="11489" y="120005"/>
                  <a:pt x="14532" y="141310"/>
                </a:cubicBezTo>
                <a:cubicBezTo>
                  <a:pt x="16380" y="150422"/>
                  <a:pt x="18744" y="159422"/>
                  <a:pt x="21613" y="168267"/>
                </a:cubicBezTo>
                <a:close/>
                <a:moveTo>
                  <a:pt x="39533" y="121434"/>
                </a:moveTo>
                <a:cubicBezTo>
                  <a:pt x="39533" y="124540"/>
                  <a:pt x="39533" y="127242"/>
                  <a:pt x="39316" y="128950"/>
                </a:cubicBezTo>
                <a:lnTo>
                  <a:pt x="39316" y="128950"/>
                </a:lnTo>
                <a:cubicBezTo>
                  <a:pt x="39316" y="129136"/>
                  <a:pt x="39844" y="128950"/>
                  <a:pt x="39844" y="128950"/>
                </a:cubicBezTo>
                <a:lnTo>
                  <a:pt x="39844" y="128950"/>
                </a:lnTo>
                <a:cubicBezTo>
                  <a:pt x="46561" y="120422"/>
                  <a:pt x="54114" y="112589"/>
                  <a:pt x="62391" y="105564"/>
                </a:cubicBezTo>
                <a:cubicBezTo>
                  <a:pt x="68819" y="100253"/>
                  <a:pt x="75590" y="95160"/>
                  <a:pt x="81615" y="89415"/>
                </a:cubicBezTo>
                <a:cubicBezTo>
                  <a:pt x="89969" y="81402"/>
                  <a:pt x="94876" y="67892"/>
                  <a:pt x="96305" y="60594"/>
                </a:cubicBezTo>
                <a:cubicBezTo>
                  <a:pt x="96419" y="60137"/>
                  <a:pt x="96482" y="59668"/>
                  <a:pt x="96491" y="59196"/>
                </a:cubicBezTo>
                <a:cubicBezTo>
                  <a:pt x="96226" y="59187"/>
                  <a:pt x="95964" y="59264"/>
                  <a:pt x="95746" y="59414"/>
                </a:cubicBezTo>
                <a:lnTo>
                  <a:pt x="93199" y="62768"/>
                </a:lnTo>
                <a:cubicBezTo>
                  <a:pt x="88635" y="68805"/>
                  <a:pt x="82952" y="73908"/>
                  <a:pt x="76459" y="77799"/>
                </a:cubicBezTo>
                <a:cubicBezTo>
                  <a:pt x="65155" y="84942"/>
                  <a:pt x="57204" y="90222"/>
                  <a:pt x="50807" y="99042"/>
                </a:cubicBezTo>
                <a:lnTo>
                  <a:pt x="50651" y="99228"/>
                </a:lnTo>
                <a:cubicBezTo>
                  <a:pt x="50341" y="99756"/>
                  <a:pt x="49782" y="99508"/>
                  <a:pt x="49937" y="98949"/>
                </a:cubicBezTo>
                <a:cubicBezTo>
                  <a:pt x="51894" y="92738"/>
                  <a:pt x="52732" y="88731"/>
                  <a:pt x="54067" y="83172"/>
                </a:cubicBezTo>
                <a:cubicBezTo>
                  <a:pt x="56304" y="74042"/>
                  <a:pt x="57173" y="61961"/>
                  <a:pt x="60745" y="53917"/>
                </a:cubicBezTo>
                <a:cubicBezTo>
                  <a:pt x="62915" y="48890"/>
                  <a:pt x="66085" y="44357"/>
                  <a:pt x="70062" y="40594"/>
                </a:cubicBezTo>
                <a:cubicBezTo>
                  <a:pt x="70062" y="40594"/>
                  <a:pt x="70062" y="40594"/>
                  <a:pt x="70062" y="40594"/>
                </a:cubicBezTo>
                <a:cubicBezTo>
                  <a:pt x="70170" y="40325"/>
                  <a:pt x="70170" y="40024"/>
                  <a:pt x="70062" y="39755"/>
                </a:cubicBezTo>
                <a:cubicBezTo>
                  <a:pt x="69303" y="39968"/>
                  <a:pt x="68565" y="40249"/>
                  <a:pt x="67857" y="40594"/>
                </a:cubicBezTo>
                <a:cubicBezTo>
                  <a:pt x="56455" y="46428"/>
                  <a:pt x="47536" y="56174"/>
                  <a:pt x="42732" y="68048"/>
                </a:cubicBezTo>
                <a:cubicBezTo>
                  <a:pt x="39813" y="75228"/>
                  <a:pt x="38437" y="82942"/>
                  <a:pt x="38694" y="90688"/>
                </a:cubicBezTo>
                <a:cubicBezTo>
                  <a:pt x="38694" y="93297"/>
                  <a:pt x="38694" y="95936"/>
                  <a:pt x="38881" y="98545"/>
                </a:cubicBezTo>
                <a:cubicBezTo>
                  <a:pt x="39222" y="105005"/>
                  <a:pt x="39533" y="114415"/>
                  <a:pt x="39533" y="121434"/>
                </a:cubicBezTo>
                <a:close/>
                <a:moveTo>
                  <a:pt x="64099" y="76216"/>
                </a:moveTo>
                <a:cubicBezTo>
                  <a:pt x="64189" y="76253"/>
                  <a:pt x="64289" y="76253"/>
                  <a:pt x="64378" y="76216"/>
                </a:cubicBezTo>
                <a:lnTo>
                  <a:pt x="64378" y="76216"/>
                </a:lnTo>
                <a:cubicBezTo>
                  <a:pt x="67484" y="73700"/>
                  <a:pt x="80528" y="63793"/>
                  <a:pt x="85000" y="59165"/>
                </a:cubicBezTo>
                <a:cubicBezTo>
                  <a:pt x="91376" y="53097"/>
                  <a:pt x="96940" y="46228"/>
                  <a:pt x="101553" y="38730"/>
                </a:cubicBezTo>
                <a:cubicBezTo>
                  <a:pt x="106499" y="31071"/>
                  <a:pt x="112383" y="24060"/>
                  <a:pt x="119069" y="17860"/>
                </a:cubicBezTo>
                <a:cubicBezTo>
                  <a:pt x="119628" y="17332"/>
                  <a:pt x="120063" y="16990"/>
                  <a:pt x="120622" y="16494"/>
                </a:cubicBezTo>
                <a:cubicBezTo>
                  <a:pt x="120622" y="16494"/>
                  <a:pt x="120839" y="15935"/>
                  <a:pt x="120622" y="15686"/>
                </a:cubicBezTo>
                <a:cubicBezTo>
                  <a:pt x="108537" y="18557"/>
                  <a:pt x="97227" y="24038"/>
                  <a:pt x="87484" y="31742"/>
                </a:cubicBezTo>
                <a:cubicBezTo>
                  <a:pt x="70434" y="45221"/>
                  <a:pt x="64596" y="72427"/>
                  <a:pt x="63912" y="76153"/>
                </a:cubicBezTo>
                <a:cubicBezTo>
                  <a:pt x="63977" y="76163"/>
                  <a:pt x="64040" y="76184"/>
                  <a:pt x="64099" y="76216"/>
                </a:cubicBezTo>
                <a:close/>
                <a:moveTo>
                  <a:pt x="256091" y="224573"/>
                </a:moveTo>
                <a:cubicBezTo>
                  <a:pt x="257426" y="222585"/>
                  <a:pt x="254103" y="221467"/>
                  <a:pt x="253234" y="224791"/>
                </a:cubicBezTo>
                <a:cubicBezTo>
                  <a:pt x="252364" y="228114"/>
                  <a:pt x="254787" y="226592"/>
                  <a:pt x="256091" y="224573"/>
                </a:cubicBezTo>
                <a:close/>
                <a:moveTo>
                  <a:pt x="292427" y="140720"/>
                </a:moveTo>
                <a:cubicBezTo>
                  <a:pt x="291123" y="140037"/>
                  <a:pt x="285812" y="146528"/>
                  <a:pt x="286682" y="147553"/>
                </a:cubicBezTo>
                <a:cubicBezTo>
                  <a:pt x="289036" y="145615"/>
                  <a:pt x="290995" y="143242"/>
                  <a:pt x="292458" y="140565"/>
                </a:cubicBezTo>
                <a:close/>
                <a:moveTo>
                  <a:pt x="293576" y="139571"/>
                </a:moveTo>
                <a:cubicBezTo>
                  <a:pt x="294384" y="139975"/>
                  <a:pt x="297893" y="138080"/>
                  <a:pt x="297241" y="137552"/>
                </a:cubicBezTo>
                <a:cubicBezTo>
                  <a:pt x="296589" y="137024"/>
                  <a:pt x="292458" y="135099"/>
                  <a:pt x="292365" y="136279"/>
                </a:cubicBezTo>
                <a:cubicBezTo>
                  <a:pt x="292272" y="138018"/>
                  <a:pt x="292800" y="138981"/>
                  <a:pt x="293607" y="139416"/>
                </a:cubicBezTo>
                <a:close/>
                <a:moveTo>
                  <a:pt x="357584" y="195659"/>
                </a:moveTo>
                <a:cubicBezTo>
                  <a:pt x="355907" y="195659"/>
                  <a:pt x="354106" y="198175"/>
                  <a:pt x="354478" y="198206"/>
                </a:cubicBezTo>
                <a:cubicBezTo>
                  <a:pt x="355690" y="198206"/>
                  <a:pt x="356590" y="199107"/>
                  <a:pt x="357584" y="198889"/>
                </a:cubicBezTo>
                <a:cubicBezTo>
                  <a:pt x="359478" y="198361"/>
                  <a:pt x="359261" y="195442"/>
                  <a:pt x="357615" y="195504"/>
                </a:cubicBezTo>
                <a:close/>
                <a:moveTo>
                  <a:pt x="334385" y="135254"/>
                </a:moveTo>
                <a:cubicBezTo>
                  <a:pt x="332956" y="135254"/>
                  <a:pt x="332583" y="136869"/>
                  <a:pt x="333950" y="137583"/>
                </a:cubicBezTo>
                <a:cubicBezTo>
                  <a:pt x="335149" y="137826"/>
                  <a:pt x="336394" y="137627"/>
                  <a:pt x="337459" y="137024"/>
                </a:cubicBezTo>
                <a:cubicBezTo>
                  <a:pt x="338422" y="136434"/>
                  <a:pt x="339509" y="135689"/>
                  <a:pt x="339323" y="134229"/>
                </a:cubicBezTo>
                <a:cubicBezTo>
                  <a:pt x="339323" y="133329"/>
                  <a:pt x="337118" y="130844"/>
                  <a:pt x="338205" y="129881"/>
                </a:cubicBezTo>
                <a:cubicBezTo>
                  <a:pt x="339292" y="128919"/>
                  <a:pt x="340534" y="130471"/>
                  <a:pt x="341683" y="129881"/>
                </a:cubicBezTo>
                <a:cubicBezTo>
                  <a:pt x="342832" y="129291"/>
                  <a:pt x="342956" y="128546"/>
                  <a:pt x="342987" y="127366"/>
                </a:cubicBezTo>
                <a:cubicBezTo>
                  <a:pt x="343018" y="126186"/>
                  <a:pt x="342397" y="123577"/>
                  <a:pt x="340503" y="123577"/>
                </a:cubicBezTo>
                <a:cubicBezTo>
                  <a:pt x="339074" y="123577"/>
                  <a:pt x="336621" y="127366"/>
                  <a:pt x="336528" y="127614"/>
                </a:cubicBezTo>
                <a:cubicBezTo>
                  <a:pt x="336143" y="128614"/>
                  <a:pt x="336143" y="129720"/>
                  <a:pt x="336528" y="130720"/>
                </a:cubicBezTo>
                <a:cubicBezTo>
                  <a:pt x="337428" y="132739"/>
                  <a:pt x="337087" y="135037"/>
                  <a:pt x="334416" y="135099"/>
                </a:cubicBezTo>
                <a:close/>
                <a:moveTo>
                  <a:pt x="365814" y="135534"/>
                </a:moveTo>
                <a:cubicBezTo>
                  <a:pt x="365814" y="136403"/>
                  <a:pt x="368299" y="142459"/>
                  <a:pt x="368547" y="144136"/>
                </a:cubicBezTo>
                <a:cubicBezTo>
                  <a:pt x="368795" y="145813"/>
                  <a:pt x="369323" y="150751"/>
                  <a:pt x="370659" y="150348"/>
                </a:cubicBezTo>
                <a:cubicBezTo>
                  <a:pt x="371497" y="150037"/>
                  <a:pt x="371435" y="146994"/>
                  <a:pt x="371249" y="145813"/>
                </a:cubicBezTo>
                <a:cubicBezTo>
                  <a:pt x="370715" y="142310"/>
                  <a:pt x="369873" y="138860"/>
                  <a:pt x="368733" y="135503"/>
                </a:cubicBezTo>
                <a:cubicBezTo>
                  <a:pt x="368050" y="133453"/>
                  <a:pt x="365131" y="126714"/>
                  <a:pt x="364168" y="126931"/>
                </a:cubicBezTo>
                <a:cubicBezTo>
                  <a:pt x="363205" y="127148"/>
                  <a:pt x="365628" y="131838"/>
                  <a:pt x="365969" y="133391"/>
                </a:cubicBezTo>
                <a:cubicBezTo>
                  <a:pt x="366035" y="134055"/>
                  <a:pt x="365994" y="134726"/>
                  <a:pt x="365845" y="135378"/>
                </a:cubicBezTo>
                <a:close/>
                <a:moveTo>
                  <a:pt x="349261" y="54321"/>
                </a:moveTo>
                <a:cubicBezTo>
                  <a:pt x="350814" y="54911"/>
                  <a:pt x="350814" y="51991"/>
                  <a:pt x="348174" y="49848"/>
                </a:cubicBezTo>
                <a:cubicBezTo>
                  <a:pt x="345534" y="47706"/>
                  <a:pt x="341963" y="48761"/>
                  <a:pt x="343018" y="49848"/>
                </a:cubicBezTo>
                <a:cubicBezTo>
                  <a:pt x="344907" y="51592"/>
                  <a:pt x="347003" y="53094"/>
                  <a:pt x="349261" y="54321"/>
                </a:cubicBezTo>
                <a:close/>
                <a:moveTo>
                  <a:pt x="277831" y="33761"/>
                </a:moveTo>
                <a:cubicBezTo>
                  <a:pt x="274725" y="31742"/>
                  <a:pt x="277303" y="28978"/>
                  <a:pt x="274725" y="27115"/>
                </a:cubicBezTo>
                <a:cubicBezTo>
                  <a:pt x="272026" y="26144"/>
                  <a:pt x="269011" y="26727"/>
                  <a:pt x="266868" y="28637"/>
                </a:cubicBezTo>
                <a:cubicBezTo>
                  <a:pt x="264787" y="31370"/>
                  <a:pt x="269601" y="30469"/>
                  <a:pt x="271340" y="31245"/>
                </a:cubicBezTo>
                <a:cubicBezTo>
                  <a:pt x="273079" y="32022"/>
                  <a:pt x="277551" y="35718"/>
                  <a:pt x="278234" y="34972"/>
                </a:cubicBezTo>
                <a:cubicBezTo>
                  <a:pt x="278918" y="34227"/>
                  <a:pt x="278048" y="34072"/>
                  <a:pt x="277831" y="33761"/>
                </a:cubicBezTo>
                <a:close/>
                <a:moveTo>
                  <a:pt x="296775" y="24227"/>
                </a:moveTo>
                <a:cubicBezTo>
                  <a:pt x="292582" y="22301"/>
                  <a:pt x="276775" y="22394"/>
                  <a:pt x="277178" y="26494"/>
                </a:cubicBezTo>
                <a:cubicBezTo>
                  <a:pt x="277520" y="30034"/>
                  <a:pt x="286309" y="26711"/>
                  <a:pt x="288576" y="26494"/>
                </a:cubicBezTo>
                <a:cubicBezTo>
                  <a:pt x="290843" y="26276"/>
                  <a:pt x="300347" y="26121"/>
                  <a:pt x="296651" y="24227"/>
                </a:cubicBezTo>
                <a:close/>
                <a:moveTo>
                  <a:pt x="250532" y="208144"/>
                </a:moveTo>
                <a:cubicBezTo>
                  <a:pt x="250314" y="207368"/>
                  <a:pt x="248948" y="207492"/>
                  <a:pt x="249290" y="208144"/>
                </a:cubicBezTo>
                <a:cubicBezTo>
                  <a:pt x="249631" y="208796"/>
                  <a:pt x="248886" y="209604"/>
                  <a:pt x="249569" y="210504"/>
                </a:cubicBezTo>
                <a:cubicBezTo>
                  <a:pt x="250709" y="211430"/>
                  <a:pt x="252342" y="211430"/>
                  <a:pt x="253482" y="210504"/>
                </a:cubicBezTo>
                <a:cubicBezTo>
                  <a:pt x="253954" y="209868"/>
                  <a:pt x="253858" y="208976"/>
                  <a:pt x="253265" y="208455"/>
                </a:cubicBezTo>
                <a:cubicBezTo>
                  <a:pt x="252395" y="208206"/>
                  <a:pt x="250594" y="208921"/>
                  <a:pt x="250408" y="208144"/>
                </a:cubicBezTo>
                <a:close/>
                <a:moveTo>
                  <a:pt x="244320" y="176715"/>
                </a:moveTo>
                <a:cubicBezTo>
                  <a:pt x="245625" y="176715"/>
                  <a:pt x="245563" y="175721"/>
                  <a:pt x="246339" y="175783"/>
                </a:cubicBezTo>
                <a:cubicBezTo>
                  <a:pt x="247116" y="175845"/>
                  <a:pt x="246339" y="176746"/>
                  <a:pt x="247799" y="176746"/>
                </a:cubicBezTo>
                <a:cubicBezTo>
                  <a:pt x="249258" y="176746"/>
                  <a:pt x="250470" y="173392"/>
                  <a:pt x="246246" y="173392"/>
                </a:cubicBezTo>
                <a:cubicBezTo>
                  <a:pt x="242830" y="173392"/>
                  <a:pt x="243296" y="176653"/>
                  <a:pt x="244320" y="176715"/>
                </a:cubicBezTo>
                <a:close/>
                <a:moveTo>
                  <a:pt x="249786" y="180193"/>
                </a:moveTo>
                <a:cubicBezTo>
                  <a:pt x="247178" y="179541"/>
                  <a:pt x="247706" y="181032"/>
                  <a:pt x="246091" y="181187"/>
                </a:cubicBezTo>
                <a:cubicBezTo>
                  <a:pt x="243420" y="181498"/>
                  <a:pt x="245780" y="179230"/>
                  <a:pt x="244476" y="178081"/>
                </a:cubicBezTo>
                <a:cubicBezTo>
                  <a:pt x="243917" y="177615"/>
                  <a:pt x="242333" y="179883"/>
                  <a:pt x="242240" y="181187"/>
                </a:cubicBezTo>
                <a:cubicBezTo>
                  <a:pt x="242240" y="181870"/>
                  <a:pt x="242240" y="184293"/>
                  <a:pt x="243265" y="184293"/>
                </a:cubicBezTo>
                <a:cubicBezTo>
                  <a:pt x="244289" y="184293"/>
                  <a:pt x="250314" y="185038"/>
                  <a:pt x="252302" y="185473"/>
                </a:cubicBezTo>
                <a:cubicBezTo>
                  <a:pt x="254290" y="185908"/>
                  <a:pt x="252209" y="180814"/>
                  <a:pt x="249880" y="180193"/>
                </a:cubicBezTo>
                <a:close/>
                <a:moveTo>
                  <a:pt x="220562" y="211685"/>
                </a:moveTo>
                <a:cubicBezTo>
                  <a:pt x="221370" y="211685"/>
                  <a:pt x="221960" y="208827"/>
                  <a:pt x="221463" y="207430"/>
                </a:cubicBezTo>
                <a:cubicBezTo>
                  <a:pt x="220966" y="206032"/>
                  <a:pt x="218357" y="207057"/>
                  <a:pt x="218140" y="207709"/>
                </a:cubicBezTo>
                <a:cubicBezTo>
                  <a:pt x="217922" y="208362"/>
                  <a:pt x="219755" y="211685"/>
                  <a:pt x="220562" y="211685"/>
                </a:cubicBezTo>
                <a:close/>
                <a:moveTo>
                  <a:pt x="182300" y="211405"/>
                </a:moveTo>
                <a:cubicBezTo>
                  <a:pt x="182300" y="210163"/>
                  <a:pt x="182300" y="206560"/>
                  <a:pt x="181431" y="205877"/>
                </a:cubicBezTo>
                <a:cubicBezTo>
                  <a:pt x="180561" y="205194"/>
                  <a:pt x="180685" y="206498"/>
                  <a:pt x="180095" y="206405"/>
                </a:cubicBezTo>
                <a:cubicBezTo>
                  <a:pt x="179505" y="206312"/>
                  <a:pt x="179629" y="204697"/>
                  <a:pt x="179039" y="204697"/>
                </a:cubicBezTo>
                <a:cubicBezTo>
                  <a:pt x="178449" y="204697"/>
                  <a:pt x="179257" y="207554"/>
                  <a:pt x="179878" y="209200"/>
                </a:cubicBezTo>
                <a:cubicBezTo>
                  <a:pt x="180499" y="210846"/>
                  <a:pt x="182145" y="213610"/>
                  <a:pt x="182300" y="211405"/>
                </a:cubicBezTo>
                <a:close/>
                <a:moveTo>
                  <a:pt x="181369" y="202647"/>
                </a:moveTo>
                <a:cubicBezTo>
                  <a:pt x="182161" y="199815"/>
                  <a:pt x="182599" y="196892"/>
                  <a:pt x="182673" y="193951"/>
                </a:cubicBezTo>
                <a:cubicBezTo>
                  <a:pt x="182487" y="191653"/>
                  <a:pt x="181244" y="189510"/>
                  <a:pt x="180934" y="189665"/>
                </a:cubicBezTo>
                <a:cubicBezTo>
                  <a:pt x="180623" y="189821"/>
                  <a:pt x="181151" y="191249"/>
                  <a:pt x="181213" y="193454"/>
                </a:cubicBezTo>
                <a:cubicBezTo>
                  <a:pt x="181005" y="195895"/>
                  <a:pt x="180515" y="198302"/>
                  <a:pt x="179754" y="200628"/>
                </a:cubicBezTo>
                <a:cubicBezTo>
                  <a:pt x="179754" y="201653"/>
                  <a:pt x="180748" y="203951"/>
                  <a:pt x="181369" y="202647"/>
                </a:cubicBezTo>
                <a:close/>
                <a:moveTo>
                  <a:pt x="79068" y="181435"/>
                </a:moveTo>
                <a:cubicBezTo>
                  <a:pt x="79118" y="81181"/>
                  <a:pt x="160430" y="-50"/>
                  <a:pt x="260684" y="0"/>
                </a:cubicBezTo>
                <a:cubicBezTo>
                  <a:pt x="360938" y="50"/>
                  <a:pt x="442170" y="81362"/>
                  <a:pt x="442120" y="181616"/>
                </a:cubicBezTo>
                <a:cubicBezTo>
                  <a:pt x="442071" y="281870"/>
                  <a:pt x="360758" y="363101"/>
                  <a:pt x="260504" y="363052"/>
                </a:cubicBezTo>
                <a:cubicBezTo>
                  <a:pt x="212391" y="363027"/>
                  <a:pt x="166256" y="343905"/>
                  <a:pt x="132237" y="309886"/>
                </a:cubicBezTo>
                <a:cubicBezTo>
                  <a:pt x="98072" y="275888"/>
                  <a:pt x="78927" y="229635"/>
                  <a:pt x="79068" y="181435"/>
                </a:cubicBezTo>
                <a:close/>
                <a:moveTo>
                  <a:pt x="134970" y="301625"/>
                </a:moveTo>
                <a:lnTo>
                  <a:pt x="154722" y="281904"/>
                </a:lnTo>
                <a:cubicBezTo>
                  <a:pt x="150837" y="277807"/>
                  <a:pt x="147188" y="273494"/>
                  <a:pt x="143790" y="268984"/>
                </a:cubicBezTo>
                <a:cubicBezTo>
                  <a:pt x="142191" y="268413"/>
                  <a:pt x="140762" y="267453"/>
                  <a:pt x="139629" y="266189"/>
                </a:cubicBezTo>
                <a:cubicBezTo>
                  <a:pt x="137951" y="264077"/>
                  <a:pt x="137082" y="261003"/>
                  <a:pt x="136274" y="261003"/>
                </a:cubicBezTo>
                <a:cubicBezTo>
                  <a:pt x="135467" y="261003"/>
                  <a:pt x="136274" y="262959"/>
                  <a:pt x="134411" y="263239"/>
                </a:cubicBezTo>
                <a:cubicBezTo>
                  <a:pt x="131958" y="263580"/>
                  <a:pt x="128510" y="257524"/>
                  <a:pt x="127175" y="255288"/>
                </a:cubicBezTo>
                <a:cubicBezTo>
                  <a:pt x="125839" y="253052"/>
                  <a:pt x="122982" y="252679"/>
                  <a:pt x="121678" y="250226"/>
                </a:cubicBezTo>
                <a:cubicBezTo>
                  <a:pt x="121305" y="249512"/>
                  <a:pt x="120436" y="247369"/>
                  <a:pt x="119628" y="248642"/>
                </a:cubicBezTo>
                <a:cubicBezTo>
                  <a:pt x="118262" y="250816"/>
                  <a:pt x="113634" y="243890"/>
                  <a:pt x="112454" y="244387"/>
                </a:cubicBezTo>
                <a:cubicBezTo>
                  <a:pt x="111274" y="244884"/>
                  <a:pt x="112299" y="246282"/>
                  <a:pt x="111615" y="246903"/>
                </a:cubicBezTo>
                <a:cubicBezTo>
                  <a:pt x="110280" y="248083"/>
                  <a:pt x="106367" y="241592"/>
                  <a:pt x="104907" y="242275"/>
                </a:cubicBezTo>
                <a:cubicBezTo>
                  <a:pt x="103448" y="242959"/>
                  <a:pt x="103230" y="243735"/>
                  <a:pt x="103137" y="245381"/>
                </a:cubicBezTo>
                <a:cubicBezTo>
                  <a:pt x="103044" y="247027"/>
                  <a:pt x="105280" y="251592"/>
                  <a:pt x="104503" y="252089"/>
                </a:cubicBezTo>
                <a:cubicBezTo>
                  <a:pt x="103727" y="252586"/>
                  <a:pt x="97764" y="238238"/>
                  <a:pt x="98975" y="237586"/>
                </a:cubicBezTo>
                <a:cubicBezTo>
                  <a:pt x="99690" y="237213"/>
                  <a:pt x="99565" y="238238"/>
                  <a:pt x="100342" y="237772"/>
                </a:cubicBezTo>
                <a:cubicBezTo>
                  <a:pt x="101118" y="237306"/>
                  <a:pt x="99783" y="236281"/>
                  <a:pt x="99410" y="234667"/>
                </a:cubicBezTo>
                <a:cubicBezTo>
                  <a:pt x="99038" y="233052"/>
                  <a:pt x="97609" y="232989"/>
                  <a:pt x="97485" y="231188"/>
                </a:cubicBezTo>
                <a:cubicBezTo>
                  <a:pt x="97360" y="229387"/>
                  <a:pt x="99938" y="230008"/>
                  <a:pt x="99907" y="229138"/>
                </a:cubicBezTo>
                <a:cubicBezTo>
                  <a:pt x="99830" y="228213"/>
                  <a:pt x="100172" y="227300"/>
                  <a:pt x="100839" y="226654"/>
                </a:cubicBezTo>
                <a:cubicBezTo>
                  <a:pt x="101677" y="225909"/>
                  <a:pt x="103634" y="226654"/>
                  <a:pt x="103944" y="224138"/>
                </a:cubicBezTo>
                <a:cubicBezTo>
                  <a:pt x="104255" y="221623"/>
                  <a:pt x="105404" y="224138"/>
                  <a:pt x="105622" y="225598"/>
                </a:cubicBezTo>
                <a:cubicBezTo>
                  <a:pt x="105839" y="227058"/>
                  <a:pt x="110622" y="227927"/>
                  <a:pt x="110839" y="226654"/>
                </a:cubicBezTo>
                <a:cubicBezTo>
                  <a:pt x="110839" y="225846"/>
                  <a:pt x="108945" y="225877"/>
                  <a:pt x="108945" y="225163"/>
                </a:cubicBezTo>
                <a:cubicBezTo>
                  <a:pt x="108945" y="223797"/>
                  <a:pt x="111553" y="225163"/>
                  <a:pt x="113324" y="225163"/>
                </a:cubicBezTo>
                <a:cubicBezTo>
                  <a:pt x="114100" y="225163"/>
                  <a:pt x="115498" y="223983"/>
                  <a:pt x="117268" y="224884"/>
                </a:cubicBezTo>
                <a:cubicBezTo>
                  <a:pt x="118632" y="225688"/>
                  <a:pt x="120125" y="226256"/>
                  <a:pt x="121678" y="226561"/>
                </a:cubicBezTo>
                <a:cubicBezTo>
                  <a:pt x="117392" y="213219"/>
                  <a:pt x="115059" y="199327"/>
                  <a:pt x="114752" y="185318"/>
                </a:cubicBezTo>
                <a:lnTo>
                  <a:pt x="86956" y="185318"/>
                </a:lnTo>
                <a:cubicBezTo>
                  <a:pt x="87772" y="228744"/>
                  <a:pt x="104915" y="270270"/>
                  <a:pt x="134970" y="301625"/>
                </a:cubicBezTo>
                <a:close/>
                <a:moveTo>
                  <a:pt x="249880" y="140627"/>
                </a:moveTo>
                <a:cubicBezTo>
                  <a:pt x="250066" y="140938"/>
                  <a:pt x="248047" y="142770"/>
                  <a:pt x="247022" y="144540"/>
                </a:cubicBezTo>
                <a:cubicBezTo>
                  <a:pt x="250240" y="143332"/>
                  <a:pt x="253603" y="142546"/>
                  <a:pt x="257023" y="142211"/>
                </a:cubicBezTo>
                <a:lnTo>
                  <a:pt x="257023" y="114260"/>
                </a:lnTo>
                <a:cubicBezTo>
                  <a:pt x="241898" y="115129"/>
                  <a:pt x="227516" y="121095"/>
                  <a:pt x="216214" y="131186"/>
                </a:cubicBezTo>
                <a:lnTo>
                  <a:pt x="235904" y="150876"/>
                </a:lnTo>
                <a:cubicBezTo>
                  <a:pt x="238174" y="149006"/>
                  <a:pt x="240640" y="147391"/>
                  <a:pt x="243265" y="146062"/>
                </a:cubicBezTo>
                <a:cubicBezTo>
                  <a:pt x="243948" y="145720"/>
                  <a:pt x="244631" y="145410"/>
                  <a:pt x="245345" y="145130"/>
                </a:cubicBezTo>
                <a:cubicBezTo>
                  <a:pt x="246557" y="142863"/>
                  <a:pt x="249507" y="140254"/>
                  <a:pt x="249880" y="140627"/>
                </a:cubicBezTo>
                <a:close/>
                <a:moveTo>
                  <a:pt x="181182" y="244511"/>
                </a:moveTo>
                <a:cubicBezTo>
                  <a:pt x="181263" y="245046"/>
                  <a:pt x="181263" y="245592"/>
                  <a:pt x="181182" y="246126"/>
                </a:cubicBezTo>
                <a:cubicBezTo>
                  <a:pt x="182642" y="247897"/>
                  <a:pt x="184102" y="249636"/>
                  <a:pt x="185654" y="251313"/>
                </a:cubicBezTo>
                <a:lnTo>
                  <a:pt x="205375" y="231623"/>
                </a:lnTo>
                <a:cubicBezTo>
                  <a:pt x="195912" y="221163"/>
                  <a:pt x="189592" y="208247"/>
                  <a:pt x="187145" y="194355"/>
                </a:cubicBezTo>
                <a:cubicBezTo>
                  <a:pt x="186611" y="194585"/>
                  <a:pt x="185993" y="194370"/>
                  <a:pt x="185717" y="193858"/>
                </a:cubicBezTo>
                <a:cubicBezTo>
                  <a:pt x="185313" y="193175"/>
                  <a:pt x="185903" y="192461"/>
                  <a:pt x="186741" y="191777"/>
                </a:cubicBezTo>
                <a:cubicBezTo>
                  <a:pt x="186462" y="189665"/>
                  <a:pt x="186245" y="187554"/>
                  <a:pt x="186151" y="185411"/>
                </a:cubicBezTo>
                <a:lnTo>
                  <a:pt x="173014" y="185411"/>
                </a:lnTo>
                <a:cubicBezTo>
                  <a:pt x="173014" y="187523"/>
                  <a:pt x="174008" y="190504"/>
                  <a:pt x="172611" y="191622"/>
                </a:cubicBezTo>
                <a:cubicBezTo>
                  <a:pt x="171213" y="192740"/>
                  <a:pt x="169878" y="191622"/>
                  <a:pt x="168853" y="191622"/>
                </a:cubicBezTo>
                <a:cubicBezTo>
                  <a:pt x="166337" y="191964"/>
                  <a:pt x="165747" y="195007"/>
                  <a:pt x="166430" y="197057"/>
                </a:cubicBezTo>
                <a:cubicBezTo>
                  <a:pt x="167017" y="198296"/>
                  <a:pt x="167297" y="199663"/>
                  <a:pt x="167238" y="201032"/>
                </a:cubicBezTo>
                <a:cubicBezTo>
                  <a:pt x="166989" y="202430"/>
                  <a:pt x="166244" y="203548"/>
                  <a:pt x="168449" y="204728"/>
                </a:cubicBezTo>
                <a:cubicBezTo>
                  <a:pt x="170654" y="205908"/>
                  <a:pt x="173791" y="209976"/>
                  <a:pt x="173542" y="210691"/>
                </a:cubicBezTo>
                <a:cubicBezTo>
                  <a:pt x="173294" y="211405"/>
                  <a:pt x="171151" y="209821"/>
                  <a:pt x="171027" y="211498"/>
                </a:cubicBezTo>
                <a:cubicBezTo>
                  <a:pt x="171027" y="212523"/>
                  <a:pt x="174132" y="211219"/>
                  <a:pt x="173853" y="214604"/>
                </a:cubicBezTo>
                <a:cubicBezTo>
                  <a:pt x="173775" y="216539"/>
                  <a:pt x="174117" y="218464"/>
                  <a:pt x="174847" y="220256"/>
                </a:cubicBezTo>
                <a:cubicBezTo>
                  <a:pt x="176319" y="222716"/>
                  <a:pt x="177173" y="225499"/>
                  <a:pt x="177331" y="228362"/>
                </a:cubicBezTo>
                <a:cubicBezTo>
                  <a:pt x="176884" y="231114"/>
                  <a:pt x="177086" y="233930"/>
                  <a:pt x="177921" y="236592"/>
                </a:cubicBezTo>
                <a:cubicBezTo>
                  <a:pt x="178915" y="239294"/>
                  <a:pt x="181058" y="241437"/>
                  <a:pt x="181058" y="244511"/>
                </a:cubicBezTo>
                <a:close/>
                <a:moveTo>
                  <a:pt x="164691" y="197740"/>
                </a:moveTo>
                <a:cubicBezTo>
                  <a:pt x="163076" y="195877"/>
                  <a:pt x="165747" y="190597"/>
                  <a:pt x="166151" y="189572"/>
                </a:cubicBezTo>
                <a:cubicBezTo>
                  <a:pt x="166555" y="188547"/>
                  <a:pt x="169039" y="187057"/>
                  <a:pt x="169753" y="185411"/>
                </a:cubicBezTo>
                <a:lnTo>
                  <a:pt x="158107" y="185411"/>
                </a:lnTo>
                <a:cubicBezTo>
                  <a:pt x="158331" y="191457"/>
                  <a:pt x="159079" y="197473"/>
                  <a:pt x="160343" y="203392"/>
                </a:cubicBezTo>
                <a:cubicBezTo>
                  <a:pt x="163138" y="204324"/>
                  <a:pt x="168542" y="202057"/>
                  <a:pt x="164691" y="197740"/>
                </a:cubicBezTo>
                <a:close/>
                <a:moveTo>
                  <a:pt x="157362" y="272835"/>
                </a:moveTo>
                <a:lnTo>
                  <a:pt x="157082" y="272835"/>
                </a:lnTo>
                <a:cubicBezTo>
                  <a:pt x="158138" y="274015"/>
                  <a:pt x="159225" y="275226"/>
                  <a:pt x="160188" y="276376"/>
                </a:cubicBezTo>
                <a:lnTo>
                  <a:pt x="162424" y="274140"/>
                </a:lnTo>
                <a:cubicBezTo>
                  <a:pt x="160468" y="272866"/>
                  <a:pt x="158542" y="272028"/>
                  <a:pt x="157362" y="272742"/>
                </a:cubicBezTo>
                <a:close/>
                <a:moveTo>
                  <a:pt x="205127" y="131372"/>
                </a:moveTo>
                <a:lnTo>
                  <a:pt x="185468" y="111713"/>
                </a:lnTo>
                <a:cubicBezTo>
                  <a:pt x="168716" y="129686"/>
                  <a:pt x="159005" y="153093"/>
                  <a:pt x="158107" y="177647"/>
                </a:cubicBezTo>
                <a:lnTo>
                  <a:pt x="171865" y="177647"/>
                </a:lnTo>
                <a:cubicBezTo>
                  <a:pt x="174164" y="173951"/>
                  <a:pt x="173387" y="171125"/>
                  <a:pt x="174164" y="168951"/>
                </a:cubicBezTo>
                <a:cubicBezTo>
                  <a:pt x="174993" y="166923"/>
                  <a:pt x="176036" y="164985"/>
                  <a:pt x="177269" y="163174"/>
                </a:cubicBezTo>
                <a:cubicBezTo>
                  <a:pt x="178263" y="161528"/>
                  <a:pt x="179412" y="159696"/>
                  <a:pt x="181555" y="159696"/>
                </a:cubicBezTo>
                <a:cubicBezTo>
                  <a:pt x="186027" y="159696"/>
                  <a:pt x="187145" y="157304"/>
                  <a:pt x="190002" y="156000"/>
                </a:cubicBezTo>
                <a:cubicBezTo>
                  <a:pt x="192860" y="154696"/>
                  <a:pt x="197860" y="153919"/>
                  <a:pt x="197301" y="152460"/>
                </a:cubicBezTo>
                <a:cubicBezTo>
                  <a:pt x="196742" y="151000"/>
                  <a:pt x="186804" y="155379"/>
                  <a:pt x="186586" y="154602"/>
                </a:cubicBezTo>
                <a:cubicBezTo>
                  <a:pt x="186182" y="153267"/>
                  <a:pt x="189692" y="153391"/>
                  <a:pt x="191276" y="152025"/>
                </a:cubicBezTo>
                <a:cubicBezTo>
                  <a:pt x="191537" y="151786"/>
                  <a:pt x="191829" y="151587"/>
                  <a:pt x="192145" y="151435"/>
                </a:cubicBezTo>
                <a:cubicBezTo>
                  <a:pt x="195357" y="144059"/>
                  <a:pt x="199742" y="137254"/>
                  <a:pt x="205127" y="131279"/>
                </a:cubicBezTo>
                <a:close/>
                <a:moveTo>
                  <a:pt x="201587" y="149758"/>
                </a:moveTo>
                <a:lnTo>
                  <a:pt x="202394" y="149354"/>
                </a:lnTo>
                <a:cubicBezTo>
                  <a:pt x="205388" y="147801"/>
                  <a:pt x="208888" y="147531"/>
                  <a:pt x="212084" y="148609"/>
                </a:cubicBezTo>
                <a:cubicBezTo>
                  <a:pt x="214553" y="149997"/>
                  <a:pt x="216882" y="151618"/>
                  <a:pt x="219040" y="153453"/>
                </a:cubicBezTo>
                <a:cubicBezTo>
                  <a:pt x="219662" y="153919"/>
                  <a:pt x="219941" y="153081"/>
                  <a:pt x="222798" y="152646"/>
                </a:cubicBezTo>
                <a:cubicBezTo>
                  <a:pt x="224009" y="152460"/>
                  <a:pt x="224258" y="153671"/>
                  <a:pt x="225904" y="153888"/>
                </a:cubicBezTo>
                <a:cubicBezTo>
                  <a:pt x="226491" y="153978"/>
                  <a:pt x="227087" y="153978"/>
                  <a:pt x="227674" y="153888"/>
                </a:cubicBezTo>
                <a:lnTo>
                  <a:pt x="210562" y="136776"/>
                </a:lnTo>
                <a:cubicBezTo>
                  <a:pt x="207065" y="140695"/>
                  <a:pt x="204049" y="145025"/>
                  <a:pt x="201587" y="149664"/>
                </a:cubicBezTo>
                <a:close/>
                <a:moveTo>
                  <a:pt x="182269" y="170938"/>
                </a:moveTo>
                <a:cubicBezTo>
                  <a:pt x="179170" y="170572"/>
                  <a:pt x="176359" y="172786"/>
                  <a:pt x="175990" y="175886"/>
                </a:cubicBezTo>
                <a:cubicBezTo>
                  <a:pt x="175921" y="176473"/>
                  <a:pt x="175943" y="177066"/>
                  <a:pt x="176058" y="177647"/>
                </a:cubicBezTo>
                <a:lnTo>
                  <a:pt x="185996" y="177647"/>
                </a:lnTo>
                <a:cubicBezTo>
                  <a:pt x="185996" y="175783"/>
                  <a:pt x="186245" y="173920"/>
                  <a:pt x="186493" y="172087"/>
                </a:cubicBezTo>
                <a:cubicBezTo>
                  <a:pt x="185182" y="171398"/>
                  <a:pt x="183745" y="170976"/>
                  <a:pt x="182269" y="170845"/>
                </a:cubicBezTo>
                <a:close/>
                <a:moveTo>
                  <a:pt x="210624" y="226219"/>
                </a:moveTo>
                <a:lnTo>
                  <a:pt x="230314" y="206529"/>
                </a:lnTo>
                <a:cubicBezTo>
                  <a:pt x="228699" y="204601"/>
                  <a:pt x="227277" y="202520"/>
                  <a:pt x="226059" y="200318"/>
                </a:cubicBezTo>
                <a:lnTo>
                  <a:pt x="226059" y="200318"/>
                </a:lnTo>
                <a:cubicBezTo>
                  <a:pt x="225777" y="200638"/>
                  <a:pt x="225534" y="200992"/>
                  <a:pt x="225345" y="201374"/>
                </a:cubicBezTo>
                <a:cubicBezTo>
                  <a:pt x="224941" y="202274"/>
                  <a:pt x="225345" y="205194"/>
                  <a:pt x="224227" y="206467"/>
                </a:cubicBezTo>
                <a:cubicBezTo>
                  <a:pt x="223109" y="207740"/>
                  <a:pt x="218450" y="202864"/>
                  <a:pt x="217115" y="202430"/>
                </a:cubicBezTo>
                <a:cubicBezTo>
                  <a:pt x="215779" y="201995"/>
                  <a:pt x="214444" y="203858"/>
                  <a:pt x="214537" y="204448"/>
                </a:cubicBezTo>
                <a:cubicBezTo>
                  <a:pt x="214786" y="205939"/>
                  <a:pt x="214537" y="206529"/>
                  <a:pt x="213823" y="206684"/>
                </a:cubicBezTo>
                <a:cubicBezTo>
                  <a:pt x="213109" y="206840"/>
                  <a:pt x="209848" y="204573"/>
                  <a:pt x="211338" y="203983"/>
                </a:cubicBezTo>
                <a:cubicBezTo>
                  <a:pt x="212829" y="203392"/>
                  <a:pt x="210872" y="201871"/>
                  <a:pt x="210127" y="201281"/>
                </a:cubicBezTo>
                <a:cubicBezTo>
                  <a:pt x="208854" y="200318"/>
                  <a:pt x="207021" y="201281"/>
                  <a:pt x="205934" y="199914"/>
                </a:cubicBezTo>
                <a:cubicBezTo>
                  <a:pt x="205025" y="198774"/>
                  <a:pt x="203838" y="197886"/>
                  <a:pt x="202487" y="197336"/>
                </a:cubicBezTo>
                <a:cubicBezTo>
                  <a:pt x="201357" y="196815"/>
                  <a:pt x="200074" y="196725"/>
                  <a:pt x="198885" y="197088"/>
                </a:cubicBezTo>
                <a:cubicBezTo>
                  <a:pt x="197891" y="197616"/>
                  <a:pt x="196804" y="196529"/>
                  <a:pt x="196058" y="195784"/>
                </a:cubicBezTo>
                <a:cubicBezTo>
                  <a:pt x="195313" y="195038"/>
                  <a:pt x="195251" y="194914"/>
                  <a:pt x="194816" y="194479"/>
                </a:cubicBezTo>
                <a:cubicBezTo>
                  <a:pt x="197152" y="206256"/>
                  <a:pt x="202615" y="217185"/>
                  <a:pt x="210624" y="226126"/>
                </a:cubicBezTo>
                <a:close/>
                <a:moveTo>
                  <a:pt x="230314" y="192212"/>
                </a:moveTo>
                <a:cubicBezTo>
                  <a:pt x="230314" y="192057"/>
                  <a:pt x="230314" y="191870"/>
                  <a:pt x="230314" y="191684"/>
                </a:cubicBezTo>
                <a:cubicBezTo>
                  <a:pt x="230314" y="191684"/>
                  <a:pt x="230314" y="191405"/>
                  <a:pt x="230314" y="191280"/>
                </a:cubicBezTo>
                <a:cubicBezTo>
                  <a:pt x="230314" y="191156"/>
                  <a:pt x="230314" y="191280"/>
                  <a:pt x="230314" y="191094"/>
                </a:cubicBezTo>
                <a:lnTo>
                  <a:pt x="230314" y="190846"/>
                </a:lnTo>
                <a:cubicBezTo>
                  <a:pt x="230314" y="190846"/>
                  <a:pt x="230314" y="190846"/>
                  <a:pt x="230314" y="190846"/>
                </a:cubicBezTo>
                <a:lnTo>
                  <a:pt x="230314" y="190318"/>
                </a:lnTo>
                <a:lnTo>
                  <a:pt x="230314" y="190318"/>
                </a:lnTo>
                <a:cubicBezTo>
                  <a:pt x="230314" y="190162"/>
                  <a:pt x="230314" y="190007"/>
                  <a:pt x="230314" y="189852"/>
                </a:cubicBezTo>
                <a:lnTo>
                  <a:pt x="230314" y="189852"/>
                </a:lnTo>
                <a:lnTo>
                  <a:pt x="230314" y="189541"/>
                </a:lnTo>
                <a:lnTo>
                  <a:pt x="230314" y="189541"/>
                </a:lnTo>
                <a:cubicBezTo>
                  <a:pt x="230292" y="189448"/>
                  <a:pt x="230292" y="189355"/>
                  <a:pt x="230314" y="189262"/>
                </a:cubicBezTo>
                <a:lnTo>
                  <a:pt x="230314" y="189262"/>
                </a:lnTo>
                <a:lnTo>
                  <a:pt x="230500" y="188951"/>
                </a:lnTo>
                <a:cubicBezTo>
                  <a:pt x="230752" y="188675"/>
                  <a:pt x="231128" y="188544"/>
                  <a:pt x="231494" y="188609"/>
                </a:cubicBezTo>
                <a:cubicBezTo>
                  <a:pt x="232289" y="188849"/>
                  <a:pt x="233100" y="189047"/>
                  <a:pt x="233916" y="189200"/>
                </a:cubicBezTo>
                <a:cubicBezTo>
                  <a:pt x="234590" y="189252"/>
                  <a:pt x="235239" y="188945"/>
                  <a:pt x="235625" y="188392"/>
                </a:cubicBezTo>
                <a:cubicBezTo>
                  <a:pt x="235870" y="188088"/>
                  <a:pt x="236081" y="187752"/>
                  <a:pt x="236246" y="187398"/>
                </a:cubicBezTo>
                <a:cubicBezTo>
                  <a:pt x="236392" y="187109"/>
                  <a:pt x="236479" y="186790"/>
                  <a:pt x="236494" y="186467"/>
                </a:cubicBezTo>
                <a:cubicBezTo>
                  <a:pt x="236528" y="186345"/>
                  <a:pt x="236528" y="186215"/>
                  <a:pt x="236494" y="186094"/>
                </a:cubicBezTo>
                <a:cubicBezTo>
                  <a:pt x="236494" y="185814"/>
                  <a:pt x="235966" y="185721"/>
                  <a:pt x="235159" y="186094"/>
                </a:cubicBezTo>
                <a:lnTo>
                  <a:pt x="234693" y="186249"/>
                </a:lnTo>
                <a:lnTo>
                  <a:pt x="233730" y="186436"/>
                </a:lnTo>
                <a:lnTo>
                  <a:pt x="233264" y="186436"/>
                </a:lnTo>
                <a:cubicBezTo>
                  <a:pt x="232823" y="186392"/>
                  <a:pt x="232426" y="186153"/>
                  <a:pt x="232177" y="185783"/>
                </a:cubicBezTo>
                <a:cubicBezTo>
                  <a:pt x="232069" y="185644"/>
                  <a:pt x="231985" y="185485"/>
                  <a:pt x="231929" y="185318"/>
                </a:cubicBezTo>
                <a:cubicBezTo>
                  <a:pt x="231839" y="185097"/>
                  <a:pt x="231724" y="184889"/>
                  <a:pt x="231587" y="184696"/>
                </a:cubicBezTo>
                <a:cubicBezTo>
                  <a:pt x="231050" y="184057"/>
                  <a:pt x="230382" y="183538"/>
                  <a:pt x="229631" y="183175"/>
                </a:cubicBezTo>
                <a:cubicBezTo>
                  <a:pt x="229233" y="182954"/>
                  <a:pt x="228857" y="182696"/>
                  <a:pt x="228513" y="182398"/>
                </a:cubicBezTo>
                <a:lnTo>
                  <a:pt x="227954" y="181870"/>
                </a:lnTo>
                <a:lnTo>
                  <a:pt x="227550" y="181404"/>
                </a:lnTo>
                <a:lnTo>
                  <a:pt x="227395" y="181404"/>
                </a:lnTo>
                <a:lnTo>
                  <a:pt x="227115" y="181156"/>
                </a:lnTo>
                <a:lnTo>
                  <a:pt x="226898" y="180970"/>
                </a:lnTo>
                <a:lnTo>
                  <a:pt x="226680" y="180783"/>
                </a:lnTo>
                <a:lnTo>
                  <a:pt x="226432" y="180597"/>
                </a:lnTo>
                <a:lnTo>
                  <a:pt x="226214" y="180597"/>
                </a:lnTo>
                <a:lnTo>
                  <a:pt x="225935" y="180597"/>
                </a:lnTo>
                <a:lnTo>
                  <a:pt x="225749" y="180597"/>
                </a:lnTo>
                <a:lnTo>
                  <a:pt x="225438" y="180442"/>
                </a:lnTo>
                <a:lnTo>
                  <a:pt x="225438" y="180442"/>
                </a:lnTo>
                <a:lnTo>
                  <a:pt x="225065" y="180442"/>
                </a:lnTo>
                <a:lnTo>
                  <a:pt x="225065" y="180442"/>
                </a:lnTo>
                <a:cubicBezTo>
                  <a:pt x="224016" y="180268"/>
                  <a:pt x="222947" y="180640"/>
                  <a:pt x="222239" y="181435"/>
                </a:cubicBezTo>
                <a:lnTo>
                  <a:pt x="222239" y="181435"/>
                </a:lnTo>
                <a:cubicBezTo>
                  <a:pt x="222068" y="181575"/>
                  <a:pt x="221913" y="181730"/>
                  <a:pt x="221773" y="181901"/>
                </a:cubicBezTo>
                <a:lnTo>
                  <a:pt x="221773" y="181901"/>
                </a:lnTo>
                <a:cubicBezTo>
                  <a:pt x="221603" y="182091"/>
                  <a:pt x="221457" y="182299"/>
                  <a:pt x="221339" y="182522"/>
                </a:cubicBezTo>
                <a:lnTo>
                  <a:pt x="221339" y="182522"/>
                </a:lnTo>
                <a:cubicBezTo>
                  <a:pt x="221339" y="182771"/>
                  <a:pt x="221059" y="183019"/>
                  <a:pt x="220904" y="183268"/>
                </a:cubicBezTo>
                <a:cubicBezTo>
                  <a:pt x="220578" y="183892"/>
                  <a:pt x="220289" y="184535"/>
                  <a:pt x="220034" y="185193"/>
                </a:cubicBezTo>
                <a:cubicBezTo>
                  <a:pt x="217798" y="191125"/>
                  <a:pt x="215158" y="189293"/>
                  <a:pt x="215593" y="191405"/>
                </a:cubicBezTo>
                <a:cubicBezTo>
                  <a:pt x="215593" y="191653"/>
                  <a:pt x="216276" y="191839"/>
                  <a:pt x="217208" y="191901"/>
                </a:cubicBezTo>
                <a:lnTo>
                  <a:pt x="219817" y="191901"/>
                </a:lnTo>
                <a:lnTo>
                  <a:pt x="221276" y="191901"/>
                </a:lnTo>
                <a:lnTo>
                  <a:pt x="221960" y="191901"/>
                </a:lnTo>
                <a:lnTo>
                  <a:pt x="222363" y="191901"/>
                </a:lnTo>
                <a:lnTo>
                  <a:pt x="222736" y="191901"/>
                </a:lnTo>
                <a:lnTo>
                  <a:pt x="223078" y="191901"/>
                </a:lnTo>
                <a:lnTo>
                  <a:pt x="223481" y="191901"/>
                </a:lnTo>
                <a:lnTo>
                  <a:pt x="223730" y="191901"/>
                </a:lnTo>
                <a:lnTo>
                  <a:pt x="224289" y="191684"/>
                </a:lnTo>
                <a:lnTo>
                  <a:pt x="225221" y="191311"/>
                </a:lnTo>
                <a:lnTo>
                  <a:pt x="225221" y="191311"/>
                </a:lnTo>
                <a:cubicBezTo>
                  <a:pt x="225503" y="191209"/>
                  <a:pt x="225795" y="191137"/>
                  <a:pt x="226090" y="191094"/>
                </a:cubicBezTo>
                <a:cubicBezTo>
                  <a:pt x="227205" y="190777"/>
                  <a:pt x="228398" y="191218"/>
                  <a:pt x="229041" y="192181"/>
                </a:cubicBezTo>
                <a:cubicBezTo>
                  <a:pt x="229460" y="192110"/>
                  <a:pt x="229888" y="192091"/>
                  <a:pt x="230314" y="192119"/>
                </a:cubicBezTo>
                <a:close/>
                <a:moveTo>
                  <a:pt x="256898" y="106682"/>
                </a:moveTo>
                <a:lnTo>
                  <a:pt x="256898" y="78731"/>
                </a:lnTo>
                <a:cubicBezTo>
                  <a:pt x="232314" y="79641"/>
                  <a:pt x="208879" y="89365"/>
                  <a:pt x="190872" y="106123"/>
                </a:cubicBezTo>
                <a:lnTo>
                  <a:pt x="210531" y="125782"/>
                </a:lnTo>
                <a:cubicBezTo>
                  <a:pt x="223311" y="114229"/>
                  <a:pt x="239693" y="107449"/>
                  <a:pt x="256898" y="106589"/>
                </a:cubicBezTo>
                <a:close/>
                <a:moveTo>
                  <a:pt x="256898" y="71091"/>
                </a:moveTo>
                <a:lnTo>
                  <a:pt x="256898" y="43140"/>
                </a:lnTo>
                <a:cubicBezTo>
                  <a:pt x="222910" y="44056"/>
                  <a:pt x="190462" y="57519"/>
                  <a:pt x="165809" y="80936"/>
                </a:cubicBezTo>
                <a:lnTo>
                  <a:pt x="185468" y="100595"/>
                </a:lnTo>
                <a:cubicBezTo>
                  <a:pt x="204916" y="82414"/>
                  <a:pt x="230292" y="71902"/>
                  <a:pt x="256898" y="70998"/>
                </a:cubicBezTo>
                <a:close/>
                <a:moveTo>
                  <a:pt x="160312" y="86619"/>
                </a:moveTo>
                <a:cubicBezTo>
                  <a:pt x="136964" y="111251"/>
                  <a:pt x="123519" y="143627"/>
                  <a:pt x="122547" y="177553"/>
                </a:cubicBezTo>
                <a:lnTo>
                  <a:pt x="150498" y="177553"/>
                </a:lnTo>
                <a:cubicBezTo>
                  <a:pt x="151399" y="150941"/>
                  <a:pt x="161927" y="125558"/>
                  <a:pt x="180126" y="106123"/>
                </a:cubicBezTo>
                <a:close/>
                <a:moveTo>
                  <a:pt x="122547" y="185318"/>
                </a:moveTo>
                <a:cubicBezTo>
                  <a:pt x="122926" y="199389"/>
                  <a:pt x="125464" y="213318"/>
                  <a:pt x="130063" y="226623"/>
                </a:cubicBezTo>
                <a:lnTo>
                  <a:pt x="130560" y="226623"/>
                </a:lnTo>
                <a:cubicBezTo>
                  <a:pt x="133420" y="226850"/>
                  <a:pt x="136293" y="226359"/>
                  <a:pt x="138914" y="225194"/>
                </a:cubicBezTo>
                <a:cubicBezTo>
                  <a:pt x="141647" y="223082"/>
                  <a:pt x="139132" y="215536"/>
                  <a:pt x="140840" y="212399"/>
                </a:cubicBezTo>
                <a:cubicBezTo>
                  <a:pt x="142952" y="208486"/>
                  <a:pt x="148262" y="199262"/>
                  <a:pt x="149846" y="199200"/>
                </a:cubicBezTo>
                <a:cubicBezTo>
                  <a:pt x="151430" y="199138"/>
                  <a:pt x="151182" y="200194"/>
                  <a:pt x="151896" y="200380"/>
                </a:cubicBezTo>
                <a:cubicBezTo>
                  <a:pt x="151082" y="195398"/>
                  <a:pt x="150616" y="190364"/>
                  <a:pt x="150498" y="185318"/>
                </a:cubicBezTo>
                <a:close/>
                <a:moveTo>
                  <a:pt x="256929" y="327464"/>
                </a:moveTo>
                <a:cubicBezTo>
                  <a:pt x="220888" y="326517"/>
                  <a:pt x="186474" y="312243"/>
                  <a:pt x="160343" y="287401"/>
                </a:cubicBezTo>
                <a:lnTo>
                  <a:pt x="140622" y="307122"/>
                </a:lnTo>
                <a:cubicBezTo>
                  <a:pt x="171959" y="337222"/>
                  <a:pt x="213487" y="354412"/>
                  <a:pt x="256929" y="355259"/>
                </a:cubicBezTo>
                <a:close/>
                <a:moveTo>
                  <a:pt x="256929" y="291904"/>
                </a:moveTo>
                <a:cubicBezTo>
                  <a:pt x="232485" y="291100"/>
                  <a:pt x="209009" y="282158"/>
                  <a:pt x="190220" y="266500"/>
                </a:cubicBezTo>
                <a:cubicBezTo>
                  <a:pt x="190617" y="266969"/>
                  <a:pt x="190981" y="267469"/>
                  <a:pt x="191307" y="267990"/>
                </a:cubicBezTo>
                <a:cubicBezTo>
                  <a:pt x="192580" y="270195"/>
                  <a:pt x="197021" y="274699"/>
                  <a:pt x="194195" y="276469"/>
                </a:cubicBezTo>
                <a:cubicBezTo>
                  <a:pt x="191369" y="278239"/>
                  <a:pt x="187984" y="276966"/>
                  <a:pt x="185779" y="276935"/>
                </a:cubicBezTo>
                <a:cubicBezTo>
                  <a:pt x="183574" y="276904"/>
                  <a:pt x="179847" y="280506"/>
                  <a:pt x="177797" y="280848"/>
                </a:cubicBezTo>
                <a:cubicBezTo>
                  <a:pt x="175580" y="281338"/>
                  <a:pt x="173263" y="281074"/>
                  <a:pt x="171213" y="280102"/>
                </a:cubicBezTo>
                <a:cubicBezTo>
                  <a:pt x="170421" y="279742"/>
                  <a:pt x="169670" y="279295"/>
                  <a:pt x="168977" y="278767"/>
                </a:cubicBezTo>
                <a:lnTo>
                  <a:pt x="165871" y="281873"/>
                </a:lnTo>
                <a:cubicBezTo>
                  <a:pt x="190540" y="305264"/>
                  <a:pt x="222978" y="318724"/>
                  <a:pt x="256961" y="319669"/>
                </a:cubicBezTo>
                <a:close/>
                <a:moveTo>
                  <a:pt x="256929" y="282121"/>
                </a:moveTo>
                <a:cubicBezTo>
                  <a:pt x="253169" y="282602"/>
                  <a:pt x="249349" y="282338"/>
                  <a:pt x="245687" y="281345"/>
                </a:cubicBezTo>
                <a:cubicBezTo>
                  <a:pt x="242768" y="279326"/>
                  <a:pt x="239289" y="277338"/>
                  <a:pt x="238917" y="275786"/>
                </a:cubicBezTo>
                <a:cubicBezTo>
                  <a:pt x="238202" y="273021"/>
                  <a:pt x="234413" y="270910"/>
                  <a:pt x="234413" y="268332"/>
                </a:cubicBezTo>
                <a:cubicBezTo>
                  <a:pt x="234413" y="265754"/>
                  <a:pt x="238389" y="264481"/>
                  <a:pt x="237333" y="261530"/>
                </a:cubicBezTo>
                <a:cubicBezTo>
                  <a:pt x="236463" y="259201"/>
                  <a:pt x="238761" y="256282"/>
                  <a:pt x="242923" y="254232"/>
                </a:cubicBezTo>
                <a:cubicBezTo>
                  <a:pt x="230910" y="251276"/>
                  <a:pt x="219817" y="245400"/>
                  <a:pt x="210624" y="237120"/>
                </a:cubicBezTo>
                <a:lnTo>
                  <a:pt x="190872" y="256748"/>
                </a:lnTo>
                <a:cubicBezTo>
                  <a:pt x="208860" y="273506"/>
                  <a:pt x="232298" y="283202"/>
                  <a:pt x="256867" y="284047"/>
                </a:cubicBezTo>
                <a:close/>
                <a:moveTo>
                  <a:pt x="262923" y="244853"/>
                </a:moveTo>
                <a:cubicBezTo>
                  <a:pt x="266029" y="244356"/>
                  <a:pt x="269135" y="243487"/>
                  <a:pt x="271712" y="243238"/>
                </a:cubicBezTo>
                <a:cubicBezTo>
                  <a:pt x="274290" y="242990"/>
                  <a:pt x="271712" y="247089"/>
                  <a:pt x="273327" y="247275"/>
                </a:cubicBezTo>
                <a:cubicBezTo>
                  <a:pt x="274942" y="247462"/>
                  <a:pt x="283918" y="248921"/>
                  <a:pt x="284508" y="246996"/>
                </a:cubicBezTo>
                <a:cubicBezTo>
                  <a:pt x="285098" y="245070"/>
                  <a:pt x="285129" y="244698"/>
                  <a:pt x="286961" y="244294"/>
                </a:cubicBezTo>
                <a:cubicBezTo>
                  <a:pt x="290188" y="244101"/>
                  <a:pt x="293312" y="243108"/>
                  <a:pt x="296061" y="241406"/>
                </a:cubicBezTo>
                <a:cubicBezTo>
                  <a:pt x="297117" y="240629"/>
                  <a:pt x="299166" y="240319"/>
                  <a:pt x="299943" y="239139"/>
                </a:cubicBezTo>
                <a:cubicBezTo>
                  <a:pt x="300719" y="237959"/>
                  <a:pt x="299477" y="232275"/>
                  <a:pt x="297365" y="233207"/>
                </a:cubicBezTo>
                <a:cubicBezTo>
                  <a:pt x="296340" y="233642"/>
                  <a:pt x="295098" y="235132"/>
                  <a:pt x="292924" y="236313"/>
                </a:cubicBezTo>
                <a:cubicBezTo>
                  <a:pt x="290750" y="237493"/>
                  <a:pt x="289539" y="237772"/>
                  <a:pt x="288110" y="235878"/>
                </a:cubicBezTo>
                <a:cubicBezTo>
                  <a:pt x="286682" y="233983"/>
                  <a:pt x="288887" y="232772"/>
                  <a:pt x="289943" y="231654"/>
                </a:cubicBezTo>
                <a:cubicBezTo>
                  <a:pt x="291558" y="229884"/>
                  <a:pt x="293048" y="228051"/>
                  <a:pt x="294850" y="228051"/>
                </a:cubicBezTo>
                <a:cubicBezTo>
                  <a:pt x="295564" y="228051"/>
                  <a:pt x="299322" y="226188"/>
                  <a:pt x="298980" y="224480"/>
                </a:cubicBezTo>
                <a:cubicBezTo>
                  <a:pt x="298576" y="222275"/>
                  <a:pt x="294228" y="224697"/>
                  <a:pt x="293204" y="223797"/>
                </a:cubicBezTo>
                <a:cubicBezTo>
                  <a:pt x="292179" y="222896"/>
                  <a:pt x="293204" y="221561"/>
                  <a:pt x="292645" y="221312"/>
                </a:cubicBezTo>
                <a:cubicBezTo>
                  <a:pt x="292086" y="221064"/>
                  <a:pt x="290533" y="223300"/>
                  <a:pt x="291775" y="224418"/>
                </a:cubicBezTo>
                <a:cubicBezTo>
                  <a:pt x="292427" y="225039"/>
                  <a:pt x="290750" y="226747"/>
                  <a:pt x="288856" y="225505"/>
                </a:cubicBezTo>
                <a:cubicBezTo>
                  <a:pt x="286961" y="224263"/>
                  <a:pt x="287023" y="229853"/>
                  <a:pt x="287148" y="230847"/>
                </a:cubicBezTo>
                <a:cubicBezTo>
                  <a:pt x="287272" y="231840"/>
                  <a:pt x="289290" y="231530"/>
                  <a:pt x="287955" y="233269"/>
                </a:cubicBezTo>
                <a:cubicBezTo>
                  <a:pt x="286620" y="235008"/>
                  <a:pt x="286092" y="233735"/>
                  <a:pt x="285129" y="234604"/>
                </a:cubicBezTo>
                <a:cubicBezTo>
                  <a:pt x="284166" y="235474"/>
                  <a:pt x="283669" y="236033"/>
                  <a:pt x="285129" y="237555"/>
                </a:cubicBezTo>
                <a:cubicBezTo>
                  <a:pt x="286589" y="239077"/>
                  <a:pt x="284446" y="241033"/>
                  <a:pt x="284011" y="238890"/>
                </a:cubicBezTo>
                <a:cubicBezTo>
                  <a:pt x="283700" y="237493"/>
                  <a:pt x="280719" y="237896"/>
                  <a:pt x="280160" y="236313"/>
                </a:cubicBezTo>
                <a:cubicBezTo>
                  <a:pt x="279601" y="234729"/>
                  <a:pt x="277054" y="234822"/>
                  <a:pt x="274197" y="233207"/>
                </a:cubicBezTo>
                <a:cubicBezTo>
                  <a:pt x="271992" y="232058"/>
                  <a:pt x="272271" y="235443"/>
                  <a:pt x="276060" y="236313"/>
                </a:cubicBezTo>
                <a:cubicBezTo>
                  <a:pt x="279166" y="237027"/>
                  <a:pt x="279166" y="237431"/>
                  <a:pt x="278172" y="239418"/>
                </a:cubicBezTo>
                <a:cubicBezTo>
                  <a:pt x="277178" y="241406"/>
                  <a:pt x="277582" y="238145"/>
                  <a:pt x="273762" y="237120"/>
                </a:cubicBezTo>
                <a:cubicBezTo>
                  <a:pt x="271278" y="236468"/>
                  <a:pt x="271184" y="235163"/>
                  <a:pt x="269228" y="235194"/>
                </a:cubicBezTo>
                <a:cubicBezTo>
                  <a:pt x="267271" y="235226"/>
                  <a:pt x="267924" y="237058"/>
                  <a:pt x="265843" y="236592"/>
                </a:cubicBezTo>
                <a:cubicBezTo>
                  <a:pt x="264290" y="236219"/>
                  <a:pt x="264041" y="238331"/>
                  <a:pt x="262737" y="238921"/>
                </a:cubicBezTo>
                <a:cubicBezTo>
                  <a:pt x="261433" y="239511"/>
                  <a:pt x="261060" y="242865"/>
                  <a:pt x="259290" y="243735"/>
                </a:cubicBezTo>
                <a:cubicBezTo>
                  <a:pt x="256619" y="245039"/>
                  <a:pt x="251153" y="244077"/>
                  <a:pt x="251401" y="241437"/>
                </a:cubicBezTo>
                <a:cubicBezTo>
                  <a:pt x="251650" y="238797"/>
                  <a:pt x="251774" y="236809"/>
                  <a:pt x="253296" y="235878"/>
                </a:cubicBezTo>
                <a:cubicBezTo>
                  <a:pt x="254818" y="234946"/>
                  <a:pt x="256867" y="237462"/>
                  <a:pt x="258731" y="236623"/>
                </a:cubicBezTo>
                <a:cubicBezTo>
                  <a:pt x="260594" y="235785"/>
                  <a:pt x="260221" y="233517"/>
                  <a:pt x="259010" y="232337"/>
                </a:cubicBezTo>
                <a:cubicBezTo>
                  <a:pt x="258669" y="231871"/>
                  <a:pt x="257240" y="231157"/>
                  <a:pt x="257271" y="230722"/>
                </a:cubicBezTo>
                <a:cubicBezTo>
                  <a:pt x="257302" y="230288"/>
                  <a:pt x="260097" y="229915"/>
                  <a:pt x="261495" y="228952"/>
                </a:cubicBezTo>
                <a:cubicBezTo>
                  <a:pt x="262808" y="227694"/>
                  <a:pt x="264035" y="226343"/>
                  <a:pt x="265159" y="224915"/>
                </a:cubicBezTo>
                <a:cubicBezTo>
                  <a:pt x="265905" y="224325"/>
                  <a:pt x="267427" y="224169"/>
                  <a:pt x="267551" y="223610"/>
                </a:cubicBezTo>
                <a:cubicBezTo>
                  <a:pt x="267675" y="223051"/>
                  <a:pt x="266495" y="221623"/>
                  <a:pt x="266619" y="220753"/>
                </a:cubicBezTo>
                <a:cubicBezTo>
                  <a:pt x="266743" y="219884"/>
                  <a:pt x="267054" y="219200"/>
                  <a:pt x="267706" y="219262"/>
                </a:cubicBezTo>
                <a:cubicBezTo>
                  <a:pt x="268358" y="219325"/>
                  <a:pt x="269197" y="221250"/>
                  <a:pt x="268762" y="221716"/>
                </a:cubicBezTo>
                <a:cubicBezTo>
                  <a:pt x="268327" y="222182"/>
                  <a:pt x="269104" y="223144"/>
                  <a:pt x="270035" y="222772"/>
                </a:cubicBezTo>
                <a:cubicBezTo>
                  <a:pt x="270967" y="222399"/>
                  <a:pt x="274228" y="221126"/>
                  <a:pt x="275160" y="220877"/>
                </a:cubicBezTo>
                <a:cubicBezTo>
                  <a:pt x="276091" y="220629"/>
                  <a:pt x="274849" y="217585"/>
                  <a:pt x="275160" y="217057"/>
                </a:cubicBezTo>
                <a:cubicBezTo>
                  <a:pt x="275470" y="216529"/>
                  <a:pt x="275936" y="217244"/>
                  <a:pt x="276433" y="216747"/>
                </a:cubicBezTo>
                <a:cubicBezTo>
                  <a:pt x="276930" y="216250"/>
                  <a:pt x="275408" y="215753"/>
                  <a:pt x="275657" y="214666"/>
                </a:cubicBezTo>
                <a:cubicBezTo>
                  <a:pt x="275905" y="213579"/>
                  <a:pt x="279228" y="212958"/>
                  <a:pt x="278296" y="212337"/>
                </a:cubicBezTo>
                <a:cubicBezTo>
                  <a:pt x="277365" y="211716"/>
                  <a:pt x="276091" y="213517"/>
                  <a:pt x="275346" y="213827"/>
                </a:cubicBezTo>
                <a:cubicBezTo>
                  <a:pt x="273638" y="214604"/>
                  <a:pt x="272799" y="212741"/>
                  <a:pt x="272862" y="211312"/>
                </a:cubicBezTo>
                <a:cubicBezTo>
                  <a:pt x="272862" y="210629"/>
                  <a:pt x="273824" y="208206"/>
                  <a:pt x="273017" y="207740"/>
                </a:cubicBezTo>
                <a:cubicBezTo>
                  <a:pt x="272209" y="207275"/>
                  <a:pt x="271681" y="209976"/>
                  <a:pt x="271495" y="210535"/>
                </a:cubicBezTo>
                <a:cubicBezTo>
                  <a:pt x="270821" y="211902"/>
                  <a:pt x="270927" y="213523"/>
                  <a:pt x="271775" y="214790"/>
                </a:cubicBezTo>
                <a:cubicBezTo>
                  <a:pt x="272427" y="216064"/>
                  <a:pt x="272085" y="220318"/>
                  <a:pt x="270781" y="220784"/>
                </a:cubicBezTo>
                <a:cubicBezTo>
                  <a:pt x="269476" y="221250"/>
                  <a:pt x="268762" y="218610"/>
                  <a:pt x="268110" y="217523"/>
                </a:cubicBezTo>
                <a:cubicBezTo>
                  <a:pt x="268038" y="217359"/>
                  <a:pt x="267920" y="217216"/>
                  <a:pt x="267768" y="217120"/>
                </a:cubicBezTo>
                <a:lnTo>
                  <a:pt x="267551" y="217120"/>
                </a:lnTo>
                <a:lnTo>
                  <a:pt x="267365" y="217120"/>
                </a:lnTo>
                <a:lnTo>
                  <a:pt x="267365" y="217120"/>
                </a:lnTo>
                <a:lnTo>
                  <a:pt x="267147" y="217368"/>
                </a:lnTo>
                <a:lnTo>
                  <a:pt x="266712" y="218082"/>
                </a:lnTo>
                <a:cubicBezTo>
                  <a:pt x="266492" y="218523"/>
                  <a:pt x="266305" y="218980"/>
                  <a:pt x="266153" y="219449"/>
                </a:cubicBezTo>
                <a:cubicBezTo>
                  <a:pt x="266017" y="219905"/>
                  <a:pt x="265632" y="220244"/>
                  <a:pt x="265159" y="220318"/>
                </a:cubicBezTo>
                <a:cubicBezTo>
                  <a:pt x="263725" y="220480"/>
                  <a:pt x="262284" y="220564"/>
                  <a:pt x="260843" y="220567"/>
                </a:cubicBezTo>
                <a:lnTo>
                  <a:pt x="259197" y="220567"/>
                </a:lnTo>
                <a:cubicBezTo>
                  <a:pt x="259398" y="221396"/>
                  <a:pt x="259669" y="222203"/>
                  <a:pt x="260004" y="222989"/>
                </a:cubicBezTo>
                <a:cubicBezTo>
                  <a:pt x="260780" y="224449"/>
                  <a:pt x="262271" y="225629"/>
                  <a:pt x="262023" y="226685"/>
                </a:cubicBezTo>
                <a:cubicBezTo>
                  <a:pt x="261774" y="227741"/>
                  <a:pt x="257271" y="228766"/>
                  <a:pt x="256898" y="227958"/>
                </a:cubicBezTo>
                <a:cubicBezTo>
                  <a:pt x="256526" y="227151"/>
                  <a:pt x="258016" y="225008"/>
                  <a:pt x="257892" y="224107"/>
                </a:cubicBezTo>
                <a:cubicBezTo>
                  <a:pt x="257675" y="222492"/>
                  <a:pt x="256836" y="221530"/>
                  <a:pt x="256961" y="220380"/>
                </a:cubicBezTo>
                <a:cubicBezTo>
                  <a:pt x="249234" y="219613"/>
                  <a:pt x="241907" y="216576"/>
                  <a:pt x="235904" y="211654"/>
                </a:cubicBezTo>
                <a:lnTo>
                  <a:pt x="216214" y="231343"/>
                </a:lnTo>
                <a:cubicBezTo>
                  <a:pt x="226140" y="240198"/>
                  <a:pt x="238476" y="245906"/>
                  <a:pt x="251650" y="247741"/>
                </a:cubicBezTo>
                <a:cubicBezTo>
                  <a:pt x="253544" y="246561"/>
                  <a:pt x="254321" y="244480"/>
                  <a:pt x="255842" y="245629"/>
                </a:cubicBezTo>
                <a:cubicBezTo>
                  <a:pt x="258110" y="247710"/>
                  <a:pt x="260998" y="245288"/>
                  <a:pt x="262892" y="244977"/>
                </a:cubicBezTo>
                <a:close/>
                <a:moveTo>
                  <a:pt x="264694" y="291780"/>
                </a:moveTo>
                <a:lnTo>
                  <a:pt x="264694" y="319731"/>
                </a:lnTo>
                <a:cubicBezTo>
                  <a:pt x="275728" y="319423"/>
                  <a:pt x="286685" y="317799"/>
                  <a:pt x="297334" y="314886"/>
                </a:cubicBezTo>
                <a:cubicBezTo>
                  <a:pt x="295160" y="313022"/>
                  <a:pt x="294228" y="310041"/>
                  <a:pt x="291464" y="309109"/>
                </a:cubicBezTo>
                <a:cubicBezTo>
                  <a:pt x="286837" y="307525"/>
                  <a:pt x="285595" y="304699"/>
                  <a:pt x="288110" y="300569"/>
                </a:cubicBezTo>
                <a:cubicBezTo>
                  <a:pt x="289446" y="298333"/>
                  <a:pt x="288918" y="297463"/>
                  <a:pt x="287334" y="295103"/>
                </a:cubicBezTo>
                <a:cubicBezTo>
                  <a:pt x="285812" y="292851"/>
                  <a:pt x="283647" y="291109"/>
                  <a:pt x="281123" y="290103"/>
                </a:cubicBezTo>
                <a:cubicBezTo>
                  <a:pt x="275688" y="291100"/>
                  <a:pt x="270184" y="291702"/>
                  <a:pt x="264663" y="291904"/>
                </a:cubicBezTo>
                <a:close/>
                <a:moveTo>
                  <a:pt x="278017" y="282618"/>
                </a:moveTo>
                <a:cubicBezTo>
                  <a:pt x="276877" y="281714"/>
                  <a:pt x="275358" y="281447"/>
                  <a:pt x="273980" y="281904"/>
                </a:cubicBezTo>
                <a:cubicBezTo>
                  <a:pt x="269445" y="283146"/>
                  <a:pt x="270874" y="279543"/>
                  <a:pt x="264663" y="280475"/>
                </a:cubicBezTo>
                <a:lnTo>
                  <a:pt x="264663" y="284016"/>
                </a:lnTo>
                <a:cubicBezTo>
                  <a:pt x="269125" y="283879"/>
                  <a:pt x="273576" y="283453"/>
                  <a:pt x="277986" y="282742"/>
                </a:cubicBezTo>
                <a:close/>
                <a:moveTo>
                  <a:pt x="380970" y="306997"/>
                </a:moveTo>
                <a:lnTo>
                  <a:pt x="361249" y="287276"/>
                </a:lnTo>
                <a:cubicBezTo>
                  <a:pt x="351012" y="296966"/>
                  <a:pt x="339447" y="305143"/>
                  <a:pt x="326900" y="311563"/>
                </a:cubicBezTo>
                <a:cubicBezTo>
                  <a:pt x="322807" y="314398"/>
                  <a:pt x="318425" y="316793"/>
                  <a:pt x="313825" y="318706"/>
                </a:cubicBezTo>
                <a:cubicBezTo>
                  <a:pt x="312241" y="319619"/>
                  <a:pt x="310487" y="320190"/>
                  <a:pt x="308670" y="320383"/>
                </a:cubicBezTo>
                <a:cubicBezTo>
                  <a:pt x="308095" y="320370"/>
                  <a:pt x="307536" y="320196"/>
                  <a:pt x="307055" y="319886"/>
                </a:cubicBezTo>
                <a:cubicBezTo>
                  <a:pt x="293381" y="324448"/>
                  <a:pt x="279104" y="326961"/>
                  <a:pt x="264694" y="327340"/>
                </a:cubicBezTo>
                <a:lnTo>
                  <a:pt x="264694" y="355135"/>
                </a:lnTo>
                <a:cubicBezTo>
                  <a:pt x="308101" y="354318"/>
                  <a:pt x="349609" y="337175"/>
                  <a:pt x="380939" y="307122"/>
                </a:cubicBezTo>
                <a:close/>
                <a:moveTo>
                  <a:pt x="342087" y="105968"/>
                </a:moveTo>
                <a:cubicBezTo>
                  <a:pt x="342062" y="106098"/>
                  <a:pt x="341981" y="106210"/>
                  <a:pt x="341869" y="106278"/>
                </a:cubicBezTo>
                <a:cubicBezTo>
                  <a:pt x="346475" y="111241"/>
                  <a:pt x="350634" y="116605"/>
                  <a:pt x="354292" y="122304"/>
                </a:cubicBezTo>
                <a:cubicBezTo>
                  <a:pt x="354696" y="121776"/>
                  <a:pt x="355037" y="121310"/>
                  <a:pt x="355627" y="121962"/>
                </a:cubicBezTo>
                <a:cubicBezTo>
                  <a:pt x="356621" y="123080"/>
                  <a:pt x="354603" y="125068"/>
                  <a:pt x="357522" y="124602"/>
                </a:cubicBezTo>
                <a:cubicBezTo>
                  <a:pt x="359261" y="124260"/>
                  <a:pt x="358919" y="126527"/>
                  <a:pt x="357522" y="127707"/>
                </a:cubicBezTo>
                <a:cubicBezTo>
                  <a:pt x="358423" y="129353"/>
                  <a:pt x="359292" y="130968"/>
                  <a:pt x="360100" y="132645"/>
                </a:cubicBezTo>
                <a:cubicBezTo>
                  <a:pt x="361125" y="133111"/>
                  <a:pt x="361901" y="133670"/>
                  <a:pt x="362056" y="134322"/>
                </a:cubicBezTo>
                <a:cubicBezTo>
                  <a:pt x="362721" y="136357"/>
                  <a:pt x="363249" y="138431"/>
                  <a:pt x="363640" y="140534"/>
                </a:cubicBezTo>
                <a:cubicBezTo>
                  <a:pt x="365038" y="144043"/>
                  <a:pt x="366249" y="147615"/>
                  <a:pt x="367305" y="151279"/>
                </a:cubicBezTo>
                <a:cubicBezTo>
                  <a:pt x="368733" y="150068"/>
                  <a:pt x="370410" y="150720"/>
                  <a:pt x="370410" y="152770"/>
                </a:cubicBezTo>
                <a:cubicBezTo>
                  <a:pt x="370525" y="154925"/>
                  <a:pt x="370053" y="157071"/>
                  <a:pt x="369044" y="158981"/>
                </a:cubicBezTo>
                <a:cubicBezTo>
                  <a:pt x="370317" y="165118"/>
                  <a:pt x="371066" y="171351"/>
                  <a:pt x="371280" y="177615"/>
                </a:cubicBezTo>
                <a:lnTo>
                  <a:pt x="399231" y="177615"/>
                </a:lnTo>
                <a:cubicBezTo>
                  <a:pt x="398725" y="159637"/>
                  <a:pt x="394728" y="141925"/>
                  <a:pt x="387461" y="125471"/>
                </a:cubicBezTo>
                <a:cubicBezTo>
                  <a:pt x="386933" y="125906"/>
                  <a:pt x="386187" y="125937"/>
                  <a:pt x="385255" y="127117"/>
                </a:cubicBezTo>
                <a:cubicBezTo>
                  <a:pt x="383827" y="128919"/>
                  <a:pt x="381560" y="126683"/>
                  <a:pt x="380317" y="125130"/>
                </a:cubicBezTo>
                <a:cubicBezTo>
                  <a:pt x="377988" y="122273"/>
                  <a:pt x="372491" y="114167"/>
                  <a:pt x="370038" y="113763"/>
                </a:cubicBezTo>
                <a:cubicBezTo>
                  <a:pt x="367584" y="113359"/>
                  <a:pt x="366435" y="110657"/>
                  <a:pt x="364261" y="110316"/>
                </a:cubicBezTo>
                <a:cubicBezTo>
                  <a:pt x="362087" y="109974"/>
                  <a:pt x="359385" y="108639"/>
                  <a:pt x="359044" y="106340"/>
                </a:cubicBezTo>
                <a:cubicBezTo>
                  <a:pt x="359028" y="104331"/>
                  <a:pt x="357419" y="102694"/>
                  <a:pt x="355410" y="102645"/>
                </a:cubicBezTo>
                <a:cubicBezTo>
                  <a:pt x="352873" y="102309"/>
                  <a:pt x="350543" y="101064"/>
                  <a:pt x="348857" y="99135"/>
                </a:cubicBezTo>
                <a:lnTo>
                  <a:pt x="342211" y="105781"/>
                </a:lnTo>
                <a:cubicBezTo>
                  <a:pt x="342192" y="105899"/>
                  <a:pt x="342136" y="106005"/>
                  <a:pt x="342056" y="106092"/>
                </a:cubicBezTo>
                <a:close/>
                <a:moveTo>
                  <a:pt x="359727" y="274761"/>
                </a:moveTo>
                <a:lnTo>
                  <a:pt x="361249" y="276282"/>
                </a:lnTo>
                <a:cubicBezTo>
                  <a:pt x="384603" y="251648"/>
                  <a:pt x="398032" y="219250"/>
                  <a:pt x="398951" y="185318"/>
                </a:cubicBezTo>
                <a:lnTo>
                  <a:pt x="371000" y="185318"/>
                </a:lnTo>
                <a:cubicBezTo>
                  <a:pt x="370066" y="211921"/>
                  <a:pt x="359541" y="237291"/>
                  <a:pt x="341372" y="256748"/>
                </a:cubicBezTo>
                <a:lnTo>
                  <a:pt x="351404" y="266779"/>
                </a:lnTo>
                <a:lnTo>
                  <a:pt x="351590" y="266344"/>
                </a:lnTo>
                <a:cubicBezTo>
                  <a:pt x="352124" y="264500"/>
                  <a:pt x="352335" y="262577"/>
                  <a:pt x="352211" y="260661"/>
                </a:cubicBezTo>
                <a:cubicBezTo>
                  <a:pt x="352211" y="259636"/>
                  <a:pt x="356124" y="259884"/>
                  <a:pt x="356404" y="261624"/>
                </a:cubicBezTo>
                <a:cubicBezTo>
                  <a:pt x="357034" y="263742"/>
                  <a:pt x="357805" y="265816"/>
                  <a:pt x="358702" y="267835"/>
                </a:cubicBezTo>
                <a:cubicBezTo>
                  <a:pt x="359798" y="270012"/>
                  <a:pt x="360146" y="272490"/>
                  <a:pt x="359696" y="274885"/>
                </a:cubicBezTo>
                <a:close/>
                <a:moveTo>
                  <a:pt x="338608" y="292121"/>
                </a:moveTo>
                <a:cubicBezTo>
                  <a:pt x="337894" y="293892"/>
                  <a:pt x="334167" y="297059"/>
                  <a:pt x="334820" y="298084"/>
                </a:cubicBezTo>
                <a:cubicBezTo>
                  <a:pt x="342307" y="293326"/>
                  <a:pt x="349326" y="287867"/>
                  <a:pt x="355783" y="281779"/>
                </a:cubicBezTo>
                <a:lnTo>
                  <a:pt x="336124" y="262121"/>
                </a:lnTo>
                <a:cubicBezTo>
                  <a:pt x="334757" y="263425"/>
                  <a:pt x="333329" y="264636"/>
                  <a:pt x="331900" y="265847"/>
                </a:cubicBezTo>
                <a:cubicBezTo>
                  <a:pt x="331559" y="268115"/>
                  <a:pt x="331900" y="269885"/>
                  <a:pt x="334633" y="270723"/>
                </a:cubicBezTo>
                <a:cubicBezTo>
                  <a:pt x="337366" y="271562"/>
                  <a:pt x="342584" y="274667"/>
                  <a:pt x="341559" y="277618"/>
                </a:cubicBezTo>
                <a:cubicBezTo>
                  <a:pt x="340534" y="280568"/>
                  <a:pt x="337459" y="284202"/>
                  <a:pt x="336062" y="286935"/>
                </a:cubicBezTo>
                <a:cubicBezTo>
                  <a:pt x="334664" y="289668"/>
                  <a:pt x="339478" y="290134"/>
                  <a:pt x="338577" y="292246"/>
                </a:cubicBezTo>
                <a:close/>
                <a:moveTo>
                  <a:pt x="343205" y="177212"/>
                </a:moveTo>
                <a:cubicBezTo>
                  <a:pt x="343161" y="177336"/>
                  <a:pt x="343099" y="177451"/>
                  <a:pt x="343018" y="177553"/>
                </a:cubicBezTo>
                <a:lnTo>
                  <a:pt x="363485" y="177553"/>
                </a:lnTo>
                <a:cubicBezTo>
                  <a:pt x="363485" y="174603"/>
                  <a:pt x="363112" y="171684"/>
                  <a:pt x="362771" y="168795"/>
                </a:cubicBezTo>
                <a:cubicBezTo>
                  <a:pt x="362615" y="169106"/>
                  <a:pt x="362429" y="169385"/>
                  <a:pt x="362305" y="169696"/>
                </a:cubicBezTo>
                <a:cubicBezTo>
                  <a:pt x="360752" y="172802"/>
                  <a:pt x="360534" y="170969"/>
                  <a:pt x="360628" y="169696"/>
                </a:cubicBezTo>
                <a:cubicBezTo>
                  <a:pt x="360898" y="167901"/>
                  <a:pt x="361398" y="166146"/>
                  <a:pt x="362118" y="164478"/>
                </a:cubicBezTo>
                <a:cubicBezTo>
                  <a:pt x="362118" y="163516"/>
                  <a:pt x="361777" y="162584"/>
                  <a:pt x="361590" y="161652"/>
                </a:cubicBezTo>
                <a:cubicBezTo>
                  <a:pt x="360833" y="162621"/>
                  <a:pt x="359839" y="163382"/>
                  <a:pt x="358702" y="163857"/>
                </a:cubicBezTo>
                <a:cubicBezTo>
                  <a:pt x="357801" y="164292"/>
                  <a:pt x="356963" y="166435"/>
                  <a:pt x="356621" y="167243"/>
                </a:cubicBezTo>
                <a:cubicBezTo>
                  <a:pt x="356280" y="168050"/>
                  <a:pt x="353981" y="167025"/>
                  <a:pt x="352118" y="167895"/>
                </a:cubicBezTo>
                <a:cubicBezTo>
                  <a:pt x="349012" y="169479"/>
                  <a:pt x="345565" y="169727"/>
                  <a:pt x="347925" y="173081"/>
                </a:cubicBezTo>
                <a:cubicBezTo>
                  <a:pt x="349416" y="175100"/>
                  <a:pt x="344261" y="174479"/>
                  <a:pt x="343050" y="177212"/>
                </a:cubicBezTo>
                <a:close/>
                <a:moveTo>
                  <a:pt x="336124" y="111620"/>
                </a:moveTo>
                <a:lnTo>
                  <a:pt x="316465" y="131279"/>
                </a:lnTo>
                <a:cubicBezTo>
                  <a:pt x="319850" y="135037"/>
                  <a:pt x="322847" y="139124"/>
                  <a:pt x="325409" y="143484"/>
                </a:cubicBezTo>
                <a:cubicBezTo>
                  <a:pt x="328316" y="143801"/>
                  <a:pt x="331000" y="145199"/>
                  <a:pt x="332925" y="147397"/>
                </a:cubicBezTo>
                <a:cubicBezTo>
                  <a:pt x="334354" y="149261"/>
                  <a:pt x="338515" y="152956"/>
                  <a:pt x="337863" y="154634"/>
                </a:cubicBezTo>
                <a:cubicBezTo>
                  <a:pt x="337490" y="155627"/>
                  <a:pt x="338360" y="156901"/>
                  <a:pt x="339292" y="157584"/>
                </a:cubicBezTo>
                <a:cubicBezTo>
                  <a:pt x="340751" y="158578"/>
                  <a:pt x="341776" y="158547"/>
                  <a:pt x="342553" y="157584"/>
                </a:cubicBezTo>
                <a:cubicBezTo>
                  <a:pt x="344012" y="155721"/>
                  <a:pt x="344230" y="153236"/>
                  <a:pt x="346155" y="151652"/>
                </a:cubicBezTo>
                <a:cubicBezTo>
                  <a:pt x="348081" y="150068"/>
                  <a:pt x="353329" y="155317"/>
                  <a:pt x="353298" y="156342"/>
                </a:cubicBezTo>
                <a:cubicBezTo>
                  <a:pt x="353267" y="157367"/>
                  <a:pt x="352056" y="157615"/>
                  <a:pt x="351714" y="159447"/>
                </a:cubicBezTo>
                <a:cubicBezTo>
                  <a:pt x="351217" y="161932"/>
                  <a:pt x="349075" y="164913"/>
                  <a:pt x="351497" y="165659"/>
                </a:cubicBezTo>
                <a:cubicBezTo>
                  <a:pt x="355037" y="166870"/>
                  <a:pt x="355503" y="165472"/>
                  <a:pt x="357180" y="162988"/>
                </a:cubicBezTo>
                <a:cubicBezTo>
                  <a:pt x="357988" y="161839"/>
                  <a:pt x="357801" y="159882"/>
                  <a:pt x="358640" y="158857"/>
                </a:cubicBezTo>
                <a:cubicBezTo>
                  <a:pt x="359233" y="158245"/>
                  <a:pt x="359926" y="157742"/>
                  <a:pt x="360690" y="157367"/>
                </a:cubicBezTo>
                <a:cubicBezTo>
                  <a:pt x="359385" y="151894"/>
                  <a:pt x="357618" y="146543"/>
                  <a:pt x="355410" y="141372"/>
                </a:cubicBezTo>
                <a:cubicBezTo>
                  <a:pt x="354898" y="140829"/>
                  <a:pt x="354258" y="140425"/>
                  <a:pt x="353547" y="140192"/>
                </a:cubicBezTo>
                <a:cubicBezTo>
                  <a:pt x="352273" y="139788"/>
                  <a:pt x="352988" y="138639"/>
                  <a:pt x="351311" y="138111"/>
                </a:cubicBezTo>
                <a:cubicBezTo>
                  <a:pt x="349634" y="137583"/>
                  <a:pt x="348671" y="136962"/>
                  <a:pt x="348515" y="133639"/>
                </a:cubicBezTo>
                <a:cubicBezTo>
                  <a:pt x="348360" y="130937"/>
                  <a:pt x="350783" y="134509"/>
                  <a:pt x="351373" y="134043"/>
                </a:cubicBezTo>
                <a:cubicBezTo>
                  <a:pt x="351519" y="133919"/>
                  <a:pt x="351646" y="133773"/>
                  <a:pt x="351745" y="133608"/>
                </a:cubicBezTo>
                <a:cubicBezTo>
                  <a:pt x="347512" y="125627"/>
                  <a:pt x="342251" y="118232"/>
                  <a:pt x="336093" y="111620"/>
                </a:cubicBezTo>
                <a:close/>
                <a:moveTo>
                  <a:pt x="312272" y="138298"/>
                </a:moveTo>
                <a:cubicBezTo>
                  <a:pt x="311456" y="138298"/>
                  <a:pt x="310645" y="138149"/>
                  <a:pt x="309881" y="137863"/>
                </a:cubicBezTo>
                <a:lnTo>
                  <a:pt x="303390" y="144354"/>
                </a:lnTo>
                <a:cubicBezTo>
                  <a:pt x="304632" y="144664"/>
                  <a:pt x="305999" y="144354"/>
                  <a:pt x="307552" y="144913"/>
                </a:cubicBezTo>
                <a:cubicBezTo>
                  <a:pt x="309105" y="145472"/>
                  <a:pt x="308452" y="140068"/>
                  <a:pt x="311092" y="140596"/>
                </a:cubicBezTo>
                <a:cubicBezTo>
                  <a:pt x="313732" y="141124"/>
                  <a:pt x="314477" y="142832"/>
                  <a:pt x="312241" y="143702"/>
                </a:cubicBezTo>
                <a:cubicBezTo>
                  <a:pt x="310471" y="144292"/>
                  <a:pt x="312707" y="145782"/>
                  <a:pt x="310533" y="146528"/>
                </a:cubicBezTo>
                <a:cubicBezTo>
                  <a:pt x="308359" y="147273"/>
                  <a:pt x="312148" y="148919"/>
                  <a:pt x="312117" y="149633"/>
                </a:cubicBezTo>
                <a:cubicBezTo>
                  <a:pt x="312086" y="150348"/>
                  <a:pt x="309415" y="151124"/>
                  <a:pt x="313390" y="152366"/>
                </a:cubicBezTo>
                <a:cubicBezTo>
                  <a:pt x="317366" y="153609"/>
                  <a:pt x="313390" y="149012"/>
                  <a:pt x="314012" y="148360"/>
                </a:cubicBezTo>
                <a:cubicBezTo>
                  <a:pt x="314633" y="147708"/>
                  <a:pt x="316900" y="149602"/>
                  <a:pt x="317490" y="148702"/>
                </a:cubicBezTo>
                <a:cubicBezTo>
                  <a:pt x="317707" y="148360"/>
                  <a:pt x="318080" y="147801"/>
                  <a:pt x="318577" y="147149"/>
                </a:cubicBezTo>
                <a:cubicBezTo>
                  <a:pt x="316704" y="144034"/>
                  <a:pt x="314583" y="141074"/>
                  <a:pt x="312241" y="138298"/>
                </a:cubicBezTo>
                <a:close/>
                <a:moveTo>
                  <a:pt x="302148" y="241499"/>
                </a:moveTo>
                <a:cubicBezTo>
                  <a:pt x="302148" y="242865"/>
                  <a:pt x="300812" y="241778"/>
                  <a:pt x="300409" y="242244"/>
                </a:cubicBezTo>
                <a:cubicBezTo>
                  <a:pt x="304390" y="244754"/>
                  <a:pt x="308654" y="246785"/>
                  <a:pt x="313111" y="248300"/>
                </a:cubicBezTo>
                <a:cubicBezTo>
                  <a:pt x="315599" y="249005"/>
                  <a:pt x="318223" y="249089"/>
                  <a:pt x="320751" y="248549"/>
                </a:cubicBezTo>
                <a:cubicBezTo>
                  <a:pt x="323515" y="248021"/>
                  <a:pt x="324291" y="249294"/>
                  <a:pt x="325565" y="249232"/>
                </a:cubicBezTo>
                <a:cubicBezTo>
                  <a:pt x="327397" y="249232"/>
                  <a:pt x="328670" y="246685"/>
                  <a:pt x="329633" y="245164"/>
                </a:cubicBezTo>
                <a:cubicBezTo>
                  <a:pt x="332459" y="241157"/>
                  <a:pt x="331931" y="240629"/>
                  <a:pt x="332739" y="239977"/>
                </a:cubicBezTo>
                <a:cubicBezTo>
                  <a:pt x="333546" y="239325"/>
                  <a:pt x="336466" y="245350"/>
                  <a:pt x="336093" y="249294"/>
                </a:cubicBezTo>
                <a:cubicBezTo>
                  <a:pt x="336093" y="249915"/>
                  <a:pt x="336093" y="250474"/>
                  <a:pt x="335875" y="251033"/>
                </a:cubicBezTo>
                <a:lnTo>
                  <a:pt x="336186" y="251344"/>
                </a:lnTo>
                <a:cubicBezTo>
                  <a:pt x="352901" y="233319"/>
                  <a:pt x="362578" y="209883"/>
                  <a:pt x="363454" y="185318"/>
                </a:cubicBezTo>
                <a:lnTo>
                  <a:pt x="342304" y="185318"/>
                </a:lnTo>
                <a:cubicBezTo>
                  <a:pt x="343537" y="187072"/>
                  <a:pt x="344646" y="188908"/>
                  <a:pt x="345627" y="190815"/>
                </a:cubicBezTo>
                <a:cubicBezTo>
                  <a:pt x="346714" y="193020"/>
                  <a:pt x="347335" y="196498"/>
                  <a:pt x="349137" y="196684"/>
                </a:cubicBezTo>
                <a:cubicBezTo>
                  <a:pt x="352025" y="196964"/>
                  <a:pt x="355006" y="199355"/>
                  <a:pt x="355100" y="201374"/>
                </a:cubicBezTo>
                <a:cubicBezTo>
                  <a:pt x="355255" y="205566"/>
                  <a:pt x="342180" y="206591"/>
                  <a:pt x="340472" y="206063"/>
                </a:cubicBezTo>
                <a:cubicBezTo>
                  <a:pt x="338764" y="205535"/>
                  <a:pt x="338080" y="205504"/>
                  <a:pt x="337987" y="207771"/>
                </a:cubicBezTo>
                <a:cubicBezTo>
                  <a:pt x="337894" y="210039"/>
                  <a:pt x="333267" y="210349"/>
                  <a:pt x="331434" y="211871"/>
                </a:cubicBezTo>
                <a:cubicBezTo>
                  <a:pt x="329602" y="213393"/>
                  <a:pt x="329198" y="216747"/>
                  <a:pt x="327832" y="218952"/>
                </a:cubicBezTo>
                <a:cubicBezTo>
                  <a:pt x="325726" y="221427"/>
                  <a:pt x="323397" y="223704"/>
                  <a:pt x="320875" y="225753"/>
                </a:cubicBezTo>
                <a:cubicBezTo>
                  <a:pt x="317769" y="227927"/>
                  <a:pt x="311807" y="228051"/>
                  <a:pt x="314508" y="229480"/>
                </a:cubicBezTo>
                <a:cubicBezTo>
                  <a:pt x="316434" y="230536"/>
                  <a:pt x="320720" y="230878"/>
                  <a:pt x="320254" y="229884"/>
                </a:cubicBezTo>
                <a:cubicBezTo>
                  <a:pt x="319788" y="228890"/>
                  <a:pt x="320596" y="228579"/>
                  <a:pt x="321341" y="229542"/>
                </a:cubicBezTo>
                <a:cubicBezTo>
                  <a:pt x="322086" y="230505"/>
                  <a:pt x="323981" y="228859"/>
                  <a:pt x="323919" y="227523"/>
                </a:cubicBezTo>
                <a:cubicBezTo>
                  <a:pt x="323857" y="226188"/>
                  <a:pt x="323608" y="224231"/>
                  <a:pt x="324757" y="224169"/>
                </a:cubicBezTo>
                <a:cubicBezTo>
                  <a:pt x="326652" y="224169"/>
                  <a:pt x="328639" y="221964"/>
                  <a:pt x="329571" y="222151"/>
                </a:cubicBezTo>
                <a:cubicBezTo>
                  <a:pt x="330503" y="222337"/>
                  <a:pt x="332055" y="224728"/>
                  <a:pt x="330968" y="231902"/>
                </a:cubicBezTo>
                <a:cubicBezTo>
                  <a:pt x="330074" y="237092"/>
                  <a:pt x="328074" y="242030"/>
                  <a:pt x="325099" y="246375"/>
                </a:cubicBezTo>
                <a:cubicBezTo>
                  <a:pt x="323639" y="248797"/>
                  <a:pt x="322148" y="246934"/>
                  <a:pt x="320161" y="245909"/>
                </a:cubicBezTo>
                <a:cubicBezTo>
                  <a:pt x="317220" y="245002"/>
                  <a:pt x="314223" y="244294"/>
                  <a:pt x="311185" y="243797"/>
                </a:cubicBezTo>
                <a:cubicBezTo>
                  <a:pt x="309788" y="243362"/>
                  <a:pt x="302055" y="240443"/>
                  <a:pt x="302117" y="241499"/>
                </a:cubicBezTo>
                <a:close/>
                <a:moveTo>
                  <a:pt x="434573" y="185318"/>
                </a:moveTo>
                <a:lnTo>
                  <a:pt x="406778" y="185318"/>
                </a:lnTo>
                <a:cubicBezTo>
                  <a:pt x="405858" y="221365"/>
                  <a:pt x="391582" y="255788"/>
                  <a:pt x="366715" y="281904"/>
                </a:cubicBezTo>
                <a:lnTo>
                  <a:pt x="386436" y="301625"/>
                </a:lnTo>
                <a:cubicBezTo>
                  <a:pt x="416564" y="270304"/>
                  <a:pt x="433754" y="228766"/>
                  <a:pt x="434573" y="185318"/>
                </a:cubicBezTo>
                <a:close/>
                <a:moveTo>
                  <a:pt x="386529" y="61277"/>
                </a:moveTo>
                <a:lnTo>
                  <a:pt x="365938" y="81868"/>
                </a:lnTo>
                <a:cubicBezTo>
                  <a:pt x="368932" y="86393"/>
                  <a:pt x="372435" y="90561"/>
                  <a:pt x="376373" y="94290"/>
                </a:cubicBezTo>
                <a:cubicBezTo>
                  <a:pt x="378423" y="96371"/>
                  <a:pt x="380597" y="98421"/>
                  <a:pt x="382585" y="100284"/>
                </a:cubicBezTo>
                <a:cubicBezTo>
                  <a:pt x="384572" y="102148"/>
                  <a:pt x="395566" y="115999"/>
                  <a:pt x="393392" y="118018"/>
                </a:cubicBezTo>
                <a:cubicBezTo>
                  <a:pt x="393240" y="118179"/>
                  <a:pt x="393076" y="118325"/>
                  <a:pt x="392895" y="118453"/>
                </a:cubicBezTo>
                <a:cubicBezTo>
                  <a:pt x="401666" y="136922"/>
                  <a:pt x="406480" y="157022"/>
                  <a:pt x="407026" y="177460"/>
                </a:cubicBezTo>
                <a:lnTo>
                  <a:pt x="434822" y="177460"/>
                </a:lnTo>
                <a:cubicBezTo>
                  <a:pt x="433943" y="134031"/>
                  <a:pt x="416694" y="92536"/>
                  <a:pt x="386529" y="61277"/>
                </a:cubicBezTo>
                <a:close/>
                <a:moveTo>
                  <a:pt x="264756" y="35438"/>
                </a:moveTo>
                <a:cubicBezTo>
                  <a:pt x="287641" y="35977"/>
                  <a:pt x="310077" y="41926"/>
                  <a:pt x="330223" y="52799"/>
                </a:cubicBezTo>
                <a:cubicBezTo>
                  <a:pt x="331906" y="52638"/>
                  <a:pt x="333565" y="52273"/>
                  <a:pt x="335161" y="51712"/>
                </a:cubicBezTo>
                <a:cubicBezTo>
                  <a:pt x="337615" y="50532"/>
                  <a:pt x="342491" y="53171"/>
                  <a:pt x="344820" y="54538"/>
                </a:cubicBezTo>
                <a:cubicBezTo>
                  <a:pt x="347149" y="55904"/>
                  <a:pt x="348640" y="57644"/>
                  <a:pt x="351031" y="58917"/>
                </a:cubicBezTo>
                <a:cubicBezTo>
                  <a:pt x="354460" y="61049"/>
                  <a:pt x="356991" y="64364"/>
                  <a:pt x="358143" y="68234"/>
                </a:cubicBezTo>
                <a:cubicBezTo>
                  <a:pt x="359013" y="72147"/>
                  <a:pt x="361497" y="71868"/>
                  <a:pt x="360255" y="73451"/>
                </a:cubicBezTo>
                <a:cubicBezTo>
                  <a:pt x="359634" y="74259"/>
                  <a:pt x="360565" y="74538"/>
                  <a:pt x="361746" y="75253"/>
                </a:cubicBezTo>
                <a:lnTo>
                  <a:pt x="381094" y="55936"/>
                </a:lnTo>
                <a:cubicBezTo>
                  <a:pt x="349767" y="25822"/>
                  <a:pt x="308232" y="8632"/>
                  <a:pt x="264787" y="7798"/>
                </a:cubicBezTo>
                <a:close/>
                <a:moveTo>
                  <a:pt x="264756" y="70998"/>
                </a:moveTo>
                <a:cubicBezTo>
                  <a:pt x="287502" y="71805"/>
                  <a:pt x="309437" y="79663"/>
                  <a:pt x="327521" y="93483"/>
                </a:cubicBezTo>
                <a:cubicBezTo>
                  <a:pt x="325534" y="90843"/>
                  <a:pt x="323515" y="88141"/>
                  <a:pt x="322583" y="87116"/>
                </a:cubicBezTo>
                <a:cubicBezTo>
                  <a:pt x="320875" y="85315"/>
                  <a:pt x="314477" y="83079"/>
                  <a:pt x="315130" y="82054"/>
                </a:cubicBezTo>
                <a:cubicBezTo>
                  <a:pt x="315782" y="81029"/>
                  <a:pt x="321341" y="85533"/>
                  <a:pt x="322428" y="84725"/>
                </a:cubicBezTo>
                <a:cubicBezTo>
                  <a:pt x="323515" y="83918"/>
                  <a:pt x="319571" y="78514"/>
                  <a:pt x="319881" y="78514"/>
                </a:cubicBezTo>
                <a:cubicBezTo>
                  <a:pt x="323002" y="80713"/>
                  <a:pt x="325608" y="83564"/>
                  <a:pt x="327521" y="86868"/>
                </a:cubicBezTo>
                <a:cubicBezTo>
                  <a:pt x="328484" y="88328"/>
                  <a:pt x="331093" y="87613"/>
                  <a:pt x="333142" y="89011"/>
                </a:cubicBezTo>
                <a:cubicBezTo>
                  <a:pt x="335192" y="90408"/>
                  <a:pt x="335037" y="92272"/>
                  <a:pt x="336559" y="93576"/>
                </a:cubicBezTo>
                <a:cubicBezTo>
                  <a:pt x="336807" y="93794"/>
                  <a:pt x="339975" y="95626"/>
                  <a:pt x="338143" y="95409"/>
                </a:cubicBezTo>
                <a:cubicBezTo>
                  <a:pt x="337584" y="95409"/>
                  <a:pt x="336776" y="94228"/>
                  <a:pt x="336155" y="94787"/>
                </a:cubicBezTo>
                <a:cubicBezTo>
                  <a:pt x="335534" y="95346"/>
                  <a:pt x="336403" y="97117"/>
                  <a:pt x="337490" y="99228"/>
                </a:cubicBezTo>
                <a:lnTo>
                  <a:pt x="346807" y="89911"/>
                </a:lnTo>
                <a:cubicBezTo>
                  <a:pt x="345472" y="87210"/>
                  <a:pt x="342832" y="83700"/>
                  <a:pt x="341000" y="83141"/>
                </a:cubicBezTo>
                <a:cubicBezTo>
                  <a:pt x="339167" y="82582"/>
                  <a:pt x="337894" y="84290"/>
                  <a:pt x="336590" y="85377"/>
                </a:cubicBezTo>
                <a:cubicBezTo>
                  <a:pt x="335285" y="86464"/>
                  <a:pt x="333670" y="86837"/>
                  <a:pt x="333484" y="86092"/>
                </a:cubicBezTo>
                <a:cubicBezTo>
                  <a:pt x="333459" y="84859"/>
                  <a:pt x="333512" y="83623"/>
                  <a:pt x="333639" y="82396"/>
                </a:cubicBezTo>
                <a:cubicBezTo>
                  <a:pt x="333639" y="81340"/>
                  <a:pt x="332677" y="80501"/>
                  <a:pt x="332397" y="79476"/>
                </a:cubicBezTo>
                <a:cubicBezTo>
                  <a:pt x="331745" y="77054"/>
                  <a:pt x="332739" y="74383"/>
                  <a:pt x="331248" y="72768"/>
                </a:cubicBezTo>
                <a:cubicBezTo>
                  <a:pt x="329757" y="70740"/>
                  <a:pt x="328437" y="68588"/>
                  <a:pt x="327304" y="66340"/>
                </a:cubicBezTo>
                <a:cubicBezTo>
                  <a:pt x="325335" y="63890"/>
                  <a:pt x="323925" y="61038"/>
                  <a:pt x="323173" y="57985"/>
                </a:cubicBezTo>
                <a:cubicBezTo>
                  <a:pt x="304999" y="48807"/>
                  <a:pt x="285014" y="43779"/>
                  <a:pt x="264663" y="43264"/>
                </a:cubicBezTo>
                <a:close/>
                <a:moveTo>
                  <a:pt x="264756" y="106589"/>
                </a:moveTo>
                <a:cubicBezTo>
                  <a:pt x="281933" y="107455"/>
                  <a:pt x="298281" y="114238"/>
                  <a:pt x="311030" y="125782"/>
                </a:cubicBezTo>
                <a:lnTo>
                  <a:pt x="330627" y="106123"/>
                </a:lnTo>
                <a:cubicBezTo>
                  <a:pt x="312639" y="89396"/>
                  <a:pt x="289241" y="79688"/>
                  <a:pt x="264694" y="78762"/>
                </a:cubicBezTo>
                <a:close/>
                <a:moveTo>
                  <a:pt x="264756" y="142211"/>
                </a:moveTo>
                <a:cubicBezTo>
                  <a:pt x="267392" y="142472"/>
                  <a:pt x="269992" y="143003"/>
                  <a:pt x="272520" y="143795"/>
                </a:cubicBezTo>
                <a:cubicBezTo>
                  <a:pt x="273203" y="142180"/>
                  <a:pt x="274849" y="141372"/>
                  <a:pt x="276216" y="140441"/>
                </a:cubicBezTo>
                <a:cubicBezTo>
                  <a:pt x="277582" y="139509"/>
                  <a:pt x="278980" y="138111"/>
                  <a:pt x="278762" y="141093"/>
                </a:cubicBezTo>
                <a:cubicBezTo>
                  <a:pt x="278675" y="142739"/>
                  <a:pt x="277883" y="144267"/>
                  <a:pt x="276588" y="145285"/>
                </a:cubicBezTo>
                <a:cubicBezTo>
                  <a:pt x="279324" y="146472"/>
                  <a:pt x="281918" y="147963"/>
                  <a:pt x="284321" y="149727"/>
                </a:cubicBezTo>
                <a:lnTo>
                  <a:pt x="285874" y="150969"/>
                </a:lnTo>
                <a:lnTo>
                  <a:pt x="288545" y="148298"/>
                </a:lnTo>
                <a:cubicBezTo>
                  <a:pt x="288526" y="148195"/>
                  <a:pt x="288526" y="148090"/>
                  <a:pt x="288545" y="147987"/>
                </a:cubicBezTo>
                <a:cubicBezTo>
                  <a:pt x="288545" y="146466"/>
                  <a:pt x="290781" y="144664"/>
                  <a:pt x="293328" y="143546"/>
                </a:cubicBezTo>
                <a:lnTo>
                  <a:pt x="301993" y="134882"/>
                </a:lnTo>
                <a:lnTo>
                  <a:pt x="301340" y="134882"/>
                </a:lnTo>
                <a:cubicBezTo>
                  <a:pt x="300160" y="134882"/>
                  <a:pt x="298514" y="137149"/>
                  <a:pt x="297396" y="136465"/>
                </a:cubicBezTo>
                <a:cubicBezTo>
                  <a:pt x="296278" y="135782"/>
                  <a:pt x="301216" y="131217"/>
                  <a:pt x="303608" y="132086"/>
                </a:cubicBezTo>
                <a:lnTo>
                  <a:pt x="304632" y="132490"/>
                </a:lnTo>
                <a:lnTo>
                  <a:pt x="305719" y="131372"/>
                </a:lnTo>
                <a:cubicBezTo>
                  <a:pt x="294433" y="121279"/>
                  <a:pt x="280057" y="115310"/>
                  <a:pt x="264942" y="114446"/>
                </a:cubicBezTo>
                <a:close/>
                <a:moveTo>
                  <a:pt x="260874" y="149789"/>
                </a:moveTo>
                <a:cubicBezTo>
                  <a:pt x="257712" y="149792"/>
                  <a:pt x="254572" y="150273"/>
                  <a:pt x="251557" y="151217"/>
                </a:cubicBezTo>
                <a:cubicBezTo>
                  <a:pt x="251184" y="151652"/>
                  <a:pt x="250873" y="152025"/>
                  <a:pt x="251091" y="152335"/>
                </a:cubicBezTo>
                <a:cubicBezTo>
                  <a:pt x="251867" y="153453"/>
                  <a:pt x="254196" y="151124"/>
                  <a:pt x="254507" y="153267"/>
                </a:cubicBezTo>
                <a:cubicBezTo>
                  <a:pt x="254724" y="154851"/>
                  <a:pt x="251929" y="153671"/>
                  <a:pt x="252178" y="154851"/>
                </a:cubicBezTo>
                <a:cubicBezTo>
                  <a:pt x="252426" y="156031"/>
                  <a:pt x="254321" y="155379"/>
                  <a:pt x="254383" y="156652"/>
                </a:cubicBezTo>
                <a:cubicBezTo>
                  <a:pt x="254196" y="158211"/>
                  <a:pt x="253445" y="159646"/>
                  <a:pt x="252271" y="160690"/>
                </a:cubicBezTo>
                <a:cubicBezTo>
                  <a:pt x="251029" y="161497"/>
                  <a:pt x="244352" y="162367"/>
                  <a:pt x="243730" y="163795"/>
                </a:cubicBezTo>
                <a:cubicBezTo>
                  <a:pt x="243240" y="165159"/>
                  <a:pt x="242491" y="166413"/>
                  <a:pt x="241525" y="167491"/>
                </a:cubicBezTo>
                <a:cubicBezTo>
                  <a:pt x="240407" y="168671"/>
                  <a:pt x="235066" y="171839"/>
                  <a:pt x="235035" y="172677"/>
                </a:cubicBezTo>
                <a:cubicBezTo>
                  <a:pt x="235035" y="174634"/>
                  <a:pt x="237612" y="172149"/>
                  <a:pt x="238327" y="171373"/>
                </a:cubicBezTo>
                <a:cubicBezTo>
                  <a:pt x="239041" y="170597"/>
                  <a:pt x="241060" y="170162"/>
                  <a:pt x="242768" y="169199"/>
                </a:cubicBezTo>
                <a:cubicBezTo>
                  <a:pt x="245128" y="167833"/>
                  <a:pt x="246060" y="172553"/>
                  <a:pt x="243513" y="172709"/>
                </a:cubicBezTo>
                <a:cubicBezTo>
                  <a:pt x="241929" y="172709"/>
                  <a:pt x="240594" y="177274"/>
                  <a:pt x="238109" y="176435"/>
                </a:cubicBezTo>
                <a:cubicBezTo>
                  <a:pt x="237488" y="176187"/>
                  <a:pt x="235718" y="175100"/>
                  <a:pt x="235345" y="176249"/>
                </a:cubicBezTo>
                <a:cubicBezTo>
                  <a:pt x="234972" y="177398"/>
                  <a:pt x="239041" y="177615"/>
                  <a:pt x="240314" y="178485"/>
                </a:cubicBezTo>
                <a:cubicBezTo>
                  <a:pt x="243420" y="180628"/>
                  <a:pt x="237830" y="180473"/>
                  <a:pt x="236898" y="181063"/>
                </a:cubicBezTo>
                <a:cubicBezTo>
                  <a:pt x="235966" y="181653"/>
                  <a:pt x="236463" y="182926"/>
                  <a:pt x="237705" y="182398"/>
                </a:cubicBezTo>
                <a:cubicBezTo>
                  <a:pt x="238948" y="181870"/>
                  <a:pt x="240532" y="180659"/>
                  <a:pt x="241277" y="182678"/>
                </a:cubicBezTo>
                <a:cubicBezTo>
                  <a:pt x="242271" y="185442"/>
                  <a:pt x="236743" y="195504"/>
                  <a:pt x="235066" y="194448"/>
                </a:cubicBezTo>
                <a:cubicBezTo>
                  <a:pt x="234165" y="193889"/>
                  <a:pt x="233264" y="194697"/>
                  <a:pt x="232426" y="195038"/>
                </a:cubicBezTo>
                <a:cubicBezTo>
                  <a:pt x="233547" y="197308"/>
                  <a:pt x="234920" y="199445"/>
                  <a:pt x="236525" y="201405"/>
                </a:cubicBezTo>
                <a:cubicBezTo>
                  <a:pt x="237612" y="199604"/>
                  <a:pt x="239351" y="197057"/>
                  <a:pt x="240066" y="197026"/>
                </a:cubicBezTo>
                <a:cubicBezTo>
                  <a:pt x="240780" y="196995"/>
                  <a:pt x="240749" y="196187"/>
                  <a:pt x="241153" y="195473"/>
                </a:cubicBezTo>
                <a:cubicBezTo>
                  <a:pt x="241556" y="194759"/>
                  <a:pt x="242861" y="195473"/>
                  <a:pt x="242923" y="194324"/>
                </a:cubicBezTo>
                <a:cubicBezTo>
                  <a:pt x="242985" y="193175"/>
                  <a:pt x="246029" y="191405"/>
                  <a:pt x="246432" y="189634"/>
                </a:cubicBezTo>
                <a:cubicBezTo>
                  <a:pt x="246619" y="188703"/>
                  <a:pt x="245470" y="187740"/>
                  <a:pt x="245935" y="186963"/>
                </a:cubicBezTo>
                <a:cubicBezTo>
                  <a:pt x="246265" y="186318"/>
                  <a:pt x="246852" y="185845"/>
                  <a:pt x="247550" y="185659"/>
                </a:cubicBezTo>
                <a:cubicBezTo>
                  <a:pt x="248140" y="185442"/>
                  <a:pt x="249600" y="186901"/>
                  <a:pt x="250035" y="186280"/>
                </a:cubicBezTo>
                <a:cubicBezTo>
                  <a:pt x="250470" y="185659"/>
                  <a:pt x="252644" y="186280"/>
                  <a:pt x="254290" y="187181"/>
                </a:cubicBezTo>
                <a:cubicBezTo>
                  <a:pt x="255066" y="187647"/>
                  <a:pt x="256526" y="187181"/>
                  <a:pt x="257395" y="188361"/>
                </a:cubicBezTo>
                <a:cubicBezTo>
                  <a:pt x="258638" y="190131"/>
                  <a:pt x="257395" y="190287"/>
                  <a:pt x="257395" y="190659"/>
                </a:cubicBezTo>
                <a:cubicBezTo>
                  <a:pt x="257395" y="191032"/>
                  <a:pt x="258141" y="190442"/>
                  <a:pt x="258482" y="190659"/>
                </a:cubicBezTo>
                <a:cubicBezTo>
                  <a:pt x="258824" y="190877"/>
                  <a:pt x="255221" y="193765"/>
                  <a:pt x="255687" y="194914"/>
                </a:cubicBezTo>
                <a:cubicBezTo>
                  <a:pt x="256153" y="196063"/>
                  <a:pt x="252333" y="202337"/>
                  <a:pt x="251308" y="203330"/>
                </a:cubicBezTo>
                <a:cubicBezTo>
                  <a:pt x="250283" y="204324"/>
                  <a:pt x="247519" y="203175"/>
                  <a:pt x="246619" y="203330"/>
                </a:cubicBezTo>
                <a:cubicBezTo>
                  <a:pt x="245718" y="203486"/>
                  <a:pt x="245407" y="204448"/>
                  <a:pt x="243855" y="204076"/>
                </a:cubicBezTo>
                <a:cubicBezTo>
                  <a:pt x="242494" y="203930"/>
                  <a:pt x="241122" y="204225"/>
                  <a:pt x="239941" y="204914"/>
                </a:cubicBezTo>
                <a:cubicBezTo>
                  <a:pt x="245699" y="209983"/>
                  <a:pt x="253109" y="212775"/>
                  <a:pt x="260780" y="212772"/>
                </a:cubicBezTo>
                <a:cubicBezTo>
                  <a:pt x="262467" y="212768"/>
                  <a:pt x="264150" y="212623"/>
                  <a:pt x="265812" y="212337"/>
                </a:cubicBezTo>
                <a:cubicBezTo>
                  <a:pt x="266765" y="210989"/>
                  <a:pt x="267343" y="209414"/>
                  <a:pt x="267489" y="207771"/>
                </a:cubicBezTo>
                <a:cubicBezTo>
                  <a:pt x="267458" y="206790"/>
                  <a:pt x="267607" y="205812"/>
                  <a:pt x="267924" y="204883"/>
                </a:cubicBezTo>
                <a:cubicBezTo>
                  <a:pt x="268327" y="204200"/>
                  <a:pt x="271029" y="201032"/>
                  <a:pt x="271930" y="201094"/>
                </a:cubicBezTo>
                <a:cubicBezTo>
                  <a:pt x="272830" y="201156"/>
                  <a:pt x="273452" y="201902"/>
                  <a:pt x="274756" y="201498"/>
                </a:cubicBezTo>
                <a:cubicBezTo>
                  <a:pt x="277303" y="200722"/>
                  <a:pt x="278855" y="201498"/>
                  <a:pt x="278887" y="202461"/>
                </a:cubicBezTo>
                <a:cubicBezTo>
                  <a:pt x="278918" y="203424"/>
                  <a:pt x="275781" y="203548"/>
                  <a:pt x="275781" y="204417"/>
                </a:cubicBezTo>
                <a:cubicBezTo>
                  <a:pt x="275781" y="205287"/>
                  <a:pt x="278203" y="205908"/>
                  <a:pt x="278887" y="205038"/>
                </a:cubicBezTo>
                <a:cubicBezTo>
                  <a:pt x="279955" y="203924"/>
                  <a:pt x="280293" y="202296"/>
                  <a:pt x="279756" y="200846"/>
                </a:cubicBezTo>
                <a:cubicBezTo>
                  <a:pt x="278731" y="199572"/>
                  <a:pt x="278793" y="199045"/>
                  <a:pt x="280253" y="199541"/>
                </a:cubicBezTo>
                <a:cubicBezTo>
                  <a:pt x="281154" y="199852"/>
                  <a:pt x="281154" y="196436"/>
                  <a:pt x="281992" y="194945"/>
                </a:cubicBezTo>
                <a:cubicBezTo>
                  <a:pt x="283172" y="193113"/>
                  <a:pt x="279849" y="194417"/>
                  <a:pt x="278452" y="194603"/>
                </a:cubicBezTo>
                <a:cubicBezTo>
                  <a:pt x="277054" y="194790"/>
                  <a:pt x="276060" y="191995"/>
                  <a:pt x="276029" y="191032"/>
                </a:cubicBezTo>
                <a:cubicBezTo>
                  <a:pt x="275998" y="190069"/>
                  <a:pt x="278514" y="193516"/>
                  <a:pt x="279787" y="193579"/>
                </a:cubicBezTo>
                <a:cubicBezTo>
                  <a:pt x="281328" y="193442"/>
                  <a:pt x="282595" y="192302"/>
                  <a:pt x="282893" y="190783"/>
                </a:cubicBezTo>
                <a:cubicBezTo>
                  <a:pt x="282893" y="189572"/>
                  <a:pt x="280160" y="189417"/>
                  <a:pt x="279787" y="187926"/>
                </a:cubicBezTo>
                <a:cubicBezTo>
                  <a:pt x="279539" y="187119"/>
                  <a:pt x="281992" y="187926"/>
                  <a:pt x="281806" y="187119"/>
                </a:cubicBezTo>
                <a:cubicBezTo>
                  <a:pt x="281619" y="186311"/>
                  <a:pt x="282054" y="184759"/>
                  <a:pt x="280501" y="184013"/>
                </a:cubicBezTo>
                <a:cubicBezTo>
                  <a:pt x="278949" y="183268"/>
                  <a:pt x="277396" y="178392"/>
                  <a:pt x="276309" y="178050"/>
                </a:cubicBezTo>
                <a:cubicBezTo>
                  <a:pt x="275222" y="177709"/>
                  <a:pt x="274290" y="179261"/>
                  <a:pt x="273638" y="179789"/>
                </a:cubicBezTo>
                <a:cubicBezTo>
                  <a:pt x="272986" y="180317"/>
                  <a:pt x="271899" y="179417"/>
                  <a:pt x="272458" y="178889"/>
                </a:cubicBezTo>
                <a:cubicBezTo>
                  <a:pt x="273725" y="177923"/>
                  <a:pt x="274784" y="176709"/>
                  <a:pt x="275563" y="175317"/>
                </a:cubicBezTo>
                <a:cubicBezTo>
                  <a:pt x="276216" y="173205"/>
                  <a:pt x="278918" y="175317"/>
                  <a:pt x="278421" y="172491"/>
                </a:cubicBezTo>
                <a:cubicBezTo>
                  <a:pt x="277924" y="169665"/>
                  <a:pt x="275315" y="169944"/>
                  <a:pt x="276464" y="168392"/>
                </a:cubicBezTo>
                <a:cubicBezTo>
                  <a:pt x="277272" y="167482"/>
                  <a:pt x="277191" y="166087"/>
                  <a:pt x="276281" y="165280"/>
                </a:cubicBezTo>
                <a:cubicBezTo>
                  <a:pt x="275703" y="164767"/>
                  <a:pt x="274902" y="164593"/>
                  <a:pt x="274166" y="164820"/>
                </a:cubicBezTo>
                <a:cubicBezTo>
                  <a:pt x="272955" y="165038"/>
                  <a:pt x="271712" y="163081"/>
                  <a:pt x="271557" y="161404"/>
                </a:cubicBezTo>
                <a:cubicBezTo>
                  <a:pt x="271557" y="160441"/>
                  <a:pt x="268824" y="160596"/>
                  <a:pt x="268917" y="159603"/>
                </a:cubicBezTo>
                <a:cubicBezTo>
                  <a:pt x="269135" y="157584"/>
                  <a:pt x="266091" y="157367"/>
                  <a:pt x="264259" y="157522"/>
                </a:cubicBezTo>
                <a:cubicBezTo>
                  <a:pt x="261998" y="157037"/>
                  <a:pt x="259951" y="155839"/>
                  <a:pt x="258420" y="154106"/>
                </a:cubicBezTo>
                <a:cubicBezTo>
                  <a:pt x="258016" y="153391"/>
                  <a:pt x="255315" y="154727"/>
                  <a:pt x="256308" y="151994"/>
                </a:cubicBezTo>
                <a:cubicBezTo>
                  <a:pt x="257302" y="149261"/>
                  <a:pt x="259662" y="152491"/>
                  <a:pt x="260749" y="151714"/>
                </a:cubicBezTo>
                <a:cubicBezTo>
                  <a:pt x="261532" y="151233"/>
                  <a:pt x="261793" y="150217"/>
                  <a:pt x="261340" y="149416"/>
                </a:cubicBezTo>
                <a:close/>
                <a:moveTo>
                  <a:pt x="140684" y="55780"/>
                </a:moveTo>
                <a:lnTo>
                  <a:pt x="160405" y="75501"/>
                </a:lnTo>
                <a:cubicBezTo>
                  <a:pt x="186530" y="50647"/>
                  <a:pt x="220947" y="36371"/>
                  <a:pt x="256992" y="35438"/>
                </a:cubicBezTo>
                <a:lnTo>
                  <a:pt x="256992" y="7642"/>
                </a:lnTo>
                <a:cubicBezTo>
                  <a:pt x="213512" y="8453"/>
                  <a:pt x="171943" y="25645"/>
                  <a:pt x="140591" y="55780"/>
                </a:cubicBezTo>
                <a:close/>
                <a:moveTo>
                  <a:pt x="86956" y="177553"/>
                </a:moveTo>
                <a:lnTo>
                  <a:pt x="114752" y="177553"/>
                </a:lnTo>
                <a:cubicBezTo>
                  <a:pt x="115699" y="141518"/>
                  <a:pt x="129973" y="107117"/>
                  <a:pt x="154815" y="80998"/>
                </a:cubicBezTo>
                <a:lnTo>
                  <a:pt x="134970" y="61277"/>
                </a:lnTo>
                <a:cubicBezTo>
                  <a:pt x="104909" y="92617"/>
                  <a:pt x="87765" y="134136"/>
                  <a:pt x="86956" y="177553"/>
                </a:cubicBezTo>
                <a:close/>
                <a:moveTo>
                  <a:pt x="693337" y="25376"/>
                </a:moveTo>
                <a:lnTo>
                  <a:pt x="730140" y="25376"/>
                </a:lnTo>
                <a:lnTo>
                  <a:pt x="730140" y="142739"/>
                </a:lnTo>
                <a:cubicBezTo>
                  <a:pt x="730140" y="163444"/>
                  <a:pt x="723701" y="179137"/>
                  <a:pt x="710822" y="189821"/>
                </a:cubicBezTo>
                <a:cubicBezTo>
                  <a:pt x="697943" y="200504"/>
                  <a:pt x="681638" y="205837"/>
                  <a:pt x="661908" y="205815"/>
                </a:cubicBezTo>
                <a:cubicBezTo>
                  <a:pt x="641929" y="205815"/>
                  <a:pt x="625550" y="200482"/>
                  <a:pt x="612776" y="189821"/>
                </a:cubicBezTo>
                <a:cubicBezTo>
                  <a:pt x="600003" y="179159"/>
                  <a:pt x="593605" y="163463"/>
                  <a:pt x="593583" y="142739"/>
                </a:cubicBezTo>
                <a:lnTo>
                  <a:pt x="593583" y="25376"/>
                </a:lnTo>
                <a:lnTo>
                  <a:pt x="630386" y="25376"/>
                </a:lnTo>
                <a:lnTo>
                  <a:pt x="630386" y="142739"/>
                </a:lnTo>
                <a:cubicBezTo>
                  <a:pt x="630386" y="154478"/>
                  <a:pt x="633171" y="162997"/>
                  <a:pt x="638740" y="168298"/>
                </a:cubicBezTo>
                <a:cubicBezTo>
                  <a:pt x="652343" y="178898"/>
                  <a:pt x="671411" y="178898"/>
                  <a:pt x="685014" y="168298"/>
                </a:cubicBezTo>
                <a:cubicBezTo>
                  <a:pt x="690564" y="162978"/>
                  <a:pt x="693337" y="154457"/>
                  <a:pt x="693337" y="142739"/>
                </a:cubicBezTo>
                <a:close/>
                <a:moveTo>
                  <a:pt x="811601" y="97272"/>
                </a:moveTo>
                <a:cubicBezTo>
                  <a:pt x="802321" y="96843"/>
                  <a:pt x="793622" y="101784"/>
                  <a:pt x="789240" y="109974"/>
                </a:cubicBezTo>
                <a:lnTo>
                  <a:pt x="789240" y="203361"/>
                </a:lnTo>
                <a:lnTo>
                  <a:pt x="753898" y="203361"/>
                </a:lnTo>
                <a:lnTo>
                  <a:pt x="753898" y="71091"/>
                </a:lnTo>
                <a:lnTo>
                  <a:pt x="787159" y="71091"/>
                </a:lnTo>
                <a:lnTo>
                  <a:pt x="788371" y="86247"/>
                </a:lnTo>
                <a:cubicBezTo>
                  <a:pt x="797523" y="74653"/>
                  <a:pt x="811654" y="68113"/>
                  <a:pt x="826415" y="68638"/>
                </a:cubicBezTo>
                <a:cubicBezTo>
                  <a:pt x="837630" y="68135"/>
                  <a:pt x="848568" y="72203"/>
                  <a:pt x="856726" y="79911"/>
                </a:cubicBezTo>
                <a:cubicBezTo>
                  <a:pt x="864366" y="87387"/>
                  <a:pt x="868196" y="100461"/>
                  <a:pt x="868217" y="119136"/>
                </a:cubicBezTo>
                <a:lnTo>
                  <a:pt x="868217" y="203361"/>
                </a:lnTo>
                <a:lnTo>
                  <a:pt x="832626" y="203361"/>
                </a:lnTo>
                <a:lnTo>
                  <a:pt x="832626" y="119012"/>
                </a:lnTo>
                <a:cubicBezTo>
                  <a:pt x="832626" y="110542"/>
                  <a:pt x="830816" y="104797"/>
                  <a:pt x="827192" y="101775"/>
                </a:cubicBezTo>
                <a:cubicBezTo>
                  <a:pt x="822682" y="98492"/>
                  <a:pt x="817166" y="96899"/>
                  <a:pt x="811601" y="97272"/>
                </a:cubicBezTo>
                <a:close/>
                <a:moveTo>
                  <a:pt x="891230" y="36867"/>
                </a:moveTo>
                <a:cubicBezTo>
                  <a:pt x="891106" y="31950"/>
                  <a:pt x="893069" y="27211"/>
                  <a:pt x="896634" y="23823"/>
                </a:cubicBezTo>
                <a:cubicBezTo>
                  <a:pt x="904991" y="16864"/>
                  <a:pt x="917128" y="16864"/>
                  <a:pt x="925486" y="23823"/>
                </a:cubicBezTo>
                <a:cubicBezTo>
                  <a:pt x="932629" y="31076"/>
                  <a:pt x="932629" y="42719"/>
                  <a:pt x="925486" y="49973"/>
                </a:cubicBezTo>
                <a:cubicBezTo>
                  <a:pt x="917113" y="56894"/>
                  <a:pt x="905007" y="56894"/>
                  <a:pt x="896634" y="49973"/>
                </a:cubicBezTo>
                <a:cubicBezTo>
                  <a:pt x="893041" y="46579"/>
                  <a:pt x="891072" y="41808"/>
                  <a:pt x="891230" y="36867"/>
                </a:cubicBezTo>
                <a:close/>
                <a:moveTo>
                  <a:pt x="928902" y="71029"/>
                </a:moveTo>
                <a:lnTo>
                  <a:pt x="928902" y="203299"/>
                </a:lnTo>
                <a:lnTo>
                  <a:pt x="893435" y="203299"/>
                </a:lnTo>
                <a:lnTo>
                  <a:pt x="893435" y="71091"/>
                </a:lnTo>
                <a:close/>
                <a:moveTo>
                  <a:pt x="1020861" y="202461"/>
                </a:moveTo>
                <a:cubicBezTo>
                  <a:pt x="1014013" y="204737"/>
                  <a:pt x="1006832" y="205849"/>
                  <a:pt x="999618" y="205753"/>
                </a:cubicBezTo>
                <a:cubicBezTo>
                  <a:pt x="988024" y="205753"/>
                  <a:pt x="978810" y="202740"/>
                  <a:pt x="971978" y="196715"/>
                </a:cubicBezTo>
                <a:cubicBezTo>
                  <a:pt x="965145" y="190690"/>
                  <a:pt x="961720" y="180681"/>
                  <a:pt x="961698" y="166684"/>
                </a:cubicBezTo>
                <a:lnTo>
                  <a:pt x="961698" y="96899"/>
                </a:lnTo>
                <a:lnTo>
                  <a:pt x="942256" y="96899"/>
                </a:lnTo>
                <a:lnTo>
                  <a:pt x="942256" y="71091"/>
                </a:lnTo>
                <a:lnTo>
                  <a:pt x="961698" y="71091"/>
                </a:lnTo>
                <a:lnTo>
                  <a:pt x="961698" y="38451"/>
                </a:lnTo>
                <a:lnTo>
                  <a:pt x="997040" y="38451"/>
                </a:lnTo>
                <a:lnTo>
                  <a:pt x="997040" y="71091"/>
                </a:lnTo>
                <a:lnTo>
                  <a:pt x="1019525" y="71091"/>
                </a:lnTo>
                <a:lnTo>
                  <a:pt x="1019525" y="96899"/>
                </a:lnTo>
                <a:lnTo>
                  <a:pt x="997040" y="96899"/>
                </a:lnTo>
                <a:lnTo>
                  <a:pt x="997040" y="163019"/>
                </a:lnTo>
                <a:cubicBezTo>
                  <a:pt x="997040" y="168578"/>
                  <a:pt x="998189" y="172336"/>
                  <a:pt x="1000456" y="174044"/>
                </a:cubicBezTo>
                <a:cubicBezTo>
                  <a:pt x="1003457" y="176025"/>
                  <a:pt x="1007025" y="176963"/>
                  <a:pt x="1010612" y="176715"/>
                </a:cubicBezTo>
                <a:cubicBezTo>
                  <a:pt x="1012553" y="176730"/>
                  <a:pt x="1014491" y="176625"/>
                  <a:pt x="1016420" y="176404"/>
                </a:cubicBezTo>
                <a:cubicBezTo>
                  <a:pt x="1018159" y="176218"/>
                  <a:pt x="1019525" y="176001"/>
                  <a:pt x="1020861" y="175752"/>
                </a:cubicBezTo>
                <a:close/>
                <a:moveTo>
                  <a:pt x="1148566" y="181808"/>
                </a:moveTo>
                <a:cubicBezTo>
                  <a:pt x="1143392" y="188634"/>
                  <a:pt x="1136801" y="194262"/>
                  <a:pt x="1129248" y="198299"/>
                </a:cubicBezTo>
                <a:cubicBezTo>
                  <a:pt x="1119323" y="203576"/>
                  <a:pt x="1108183" y="206147"/>
                  <a:pt x="1096949" y="205753"/>
                </a:cubicBezTo>
                <a:cubicBezTo>
                  <a:pt x="1076244" y="205753"/>
                  <a:pt x="1060157" y="199541"/>
                  <a:pt x="1048687" y="187119"/>
                </a:cubicBezTo>
                <a:cubicBezTo>
                  <a:pt x="1037212" y="174870"/>
                  <a:pt x="1030982" y="158618"/>
                  <a:pt x="1031327" y="141838"/>
                </a:cubicBezTo>
                <a:lnTo>
                  <a:pt x="1031327" y="137055"/>
                </a:lnTo>
                <a:cubicBezTo>
                  <a:pt x="1031327" y="117095"/>
                  <a:pt x="1036886" y="100710"/>
                  <a:pt x="1048004" y="87893"/>
                </a:cubicBezTo>
                <a:cubicBezTo>
                  <a:pt x="1059122" y="75076"/>
                  <a:pt x="1074132" y="68678"/>
                  <a:pt x="1093036" y="68700"/>
                </a:cubicBezTo>
                <a:cubicBezTo>
                  <a:pt x="1112043" y="68700"/>
                  <a:pt x="1126537" y="74653"/>
                  <a:pt x="1136516" y="86557"/>
                </a:cubicBezTo>
                <a:cubicBezTo>
                  <a:pt x="1146494" y="98461"/>
                  <a:pt x="1151463" y="114198"/>
                  <a:pt x="1151423" y="133763"/>
                </a:cubicBezTo>
                <a:lnTo>
                  <a:pt x="1151423" y="148795"/>
                </a:lnTo>
                <a:lnTo>
                  <a:pt x="1067135" y="148795"/>
                </a:lnTo>
                <a:cubicBezTo>
                  <a:pt x="1068017" y="156668"/>
                  <a:pt x="1071607" y="163991"/>
                  <a:pt x="1077291" y="169510"/>
                </a:cubicBezTo>
                <a:cubicBezTo>
                  <a:pt x="1083219" y="174895"/>
                  <a:pt x="1091030" y="177727"/>
                  <a:pt x="1099030" y="177398"/>
                </a:cubicBezTo>
                <a:cubicBezTo>
                  <a:pt x="1111428" y="177883"/>
                  <a:pt x="1123307" y="172382"/>
                  <a:pt x="1130957" y="162615"/>
                </a:cubicBezTo>
                <a:close/>
                <a:moveTo>
                  <a:pt x="1092819" y="97086"/>
                </a:moveTo>
                <a:cubicBezTo>
                  <a:pt x="1086157" y="96704"/>
                  <a:pt x="1079710" y="99517"/>
                  <a:pt x="1075458" y="104663"/>
                </a:cubicBezTo>
                <a:cubicBezTo>
                  <a:pt x="1071070" y="110418"/>
                  <a:pt x="1068321" y="117254"/>
                  <a:pt x="1067508" y="124446"/>
                </a:cubicBezTo>
                <a:lnTo>
                  <a:pt x="1116639" y="124446"/>
                </a:lnTo>
                <a:lnTo>
                  <a:pt x="1116639" y="121776"/>
                </a:lnTo>
                <a:cubicBezTo>
                  <a:pt x="1116723" y="115384"/>
                  <a:pt x="1114630" y="109151"/>
                  <a:pt x="1110708" y="104104"/>
                </a:cubicBezTo>
                <a:cubicBezTo>
                  <a:pt x="1106919" y="99446"/>
                  <a:pt x="1100956" y="97126"/>
                  <a:pt x="1092819" y="97148"/>
                </a:cubicBezTo>
                <a:close/>
                <a:moveTo>
                  <a:pt x="1249903" y="203361"/>
                </a:moveTo>
                <a:lnTo>
                  <a:pt x="1248195" y="189324"/>
                </a:lnTo>
                <a:cubicBezTo>
                  <a:pt x="1244273" y="194330"/>
                  <a:pt x="1239341" y="198458"/>
                  <a:pt x="1233723" y="201436"/>
                </a:cubicBezTo>
                <a:cubicBezTo>
                  <a:pt x="1227716" y="204451"/>
                  <a:pt x="1221064" y="205955"/>
                  <a:pt x="1214344" y="205815"/>
                </a:cubicBezTo>
                <a:cubicBezTo>
                  <a:pt x="1199197" y="206442"/>
                  <a:pt x="1184793" y="199237"/>
                  <a:pt x="1176206" y="186746"/>
                </a:cubicBezTo>
                <a:cubicBezTo>
                  <a:pt x="1167159" y="174035"/>
                  <a:pt x="1162634" y="158059"/>
                  <a:pt x="1162634" y="138826"/>
                </a:cubicBezTo>
                <a:lnTo>
                  <a:pt x="1162634" y="136248"/>
                </a:lnTo>
                <a:cubicBezTo>
                  <a:pt x="1162634" y="116123"/>
                  <a:pt x="1167159" y="99828"/>
                  <a:pt x="1176206" y="87365"/>
                </a:cubicBezTo>
                <a:cubicBezTo>
                  <a:pt x="1185253" y="74902"/>
                  <a:pt x="1198048" y="68690"/>
                  <a:pt x="1214592" y="68731"/>
                </a:cubicBezTo>
                <a:cubicBezTo>
                  <a:pt x="1226735" y="68427"/>
                  <a:pt x="1238369" y="73604"/>
                  <a:pt x="1246270" y="82831"/>
                </a:cubicBezTo>
                <a:lnTo>
                  <a:pt x="1246270" y="15593"/>
                </a:lnTo>
                <a:lnTo>
                  <a:pt x="1281736" y="15593"/>
                </a:lnTo>
                <a:lnTo>
                  <a:pt x="1281736" y="203361"/>
                </a:lnTo>
                <a:close/>
                <a:moveTo>
                  <a:pt x="1197977" y="138733"/>
                </a:moveTo>
                <a:cubicBezTo>
                  <a:pt x="1197713" y="148077"/>
                  <a:pt x="1199648" y="157354"/>
                  <a:pt x="1203629" y="165814"/>
                </a:cubicBezTo>
                <a:cubicBezTo>
                  <a:pt x="1207356" y="173268"/>
                  <a:pt x="1213868" y="176994"/>
                  <a:pt x="1223164" y="176994"/>
                </a:cubicBezTo>
                <a:cubicBezTo>
                  <a:pt x="1232943" y="177584"/>
                  <a:pt x="1242096" y="172162"/>
                  <a:pt x="1246270" y="163298"/>
                </a:cubicBezTo>
                <a:lnTo>
                  <a:pt x="1246270" y="110937"/>
                </a:lnTo>
                <a:cubicBezTo>
                  <a:pt x="1242220" y="102083"/>
                  <a:pt x="1233127" y="96648"/>
                  <a:pt x="1223412" y="97272"/>
                </a:cubicBezTo>
                <a:cubicBezTo>
                  <a:pt x="1215182" y="96704"/>
                  <a:pt x="1207424" y="101173"/>
                  <a:pt x="1203784" y="108577"/>
                </a:cubicBezTo>
                <a:cubicBezTo>
                  <a:pt x="1199682" y="117210"/>
                  <a:pt x="1197691" y="126695"/>
                  <a:pt x="1197977" y="136248"/>
                </a:cubicBezTo>
                <a:close/>
                <a:moveTo>
                  <a:pt x="740171" y="238114"/>
                </a:moveTo>
                <a:lnTo>
                  <a:pt x="740171" y="416099"/>
                </a:lnTo>
                <a:lnTo>
                  <a:pt x="703493" y="416099"/>
                </a:lnTo>
                <a:lnTo>
                  <a:pt x="632063" y="298861"/>
                </a:lnTo>
                <a:lnTo>
                  <a:pt x="632063" y="416099"/>
                </a:lnTo>
                <a:lnTo>
                  <a:pt x="595292" y="416099"/>
                </a:lnTo>
                <a:lnTo>
                  <a:pt x="595292" y="238114"/>
                </a:lnTo>
                <a:lnTo>
                  <a:pt x="632094" y="238114"/>
                </a:lnTo>
                <a:lnTo>
                  <a:pt x="703524" y="355477"/>
                </a:lnTo>
                <a:lnTo>
                  <a:pt x="703524" y="238114"/>
                </a:lnTo>
                <a:close/>
                <a:moveTo>
                  <a:pt x="843279" y="416099"/>
                </a:moveTo>
                <a:cubicBezTo>
                  <a:pt x="841577" y="412332"/>
                  <a:pt x="840384" y="408351"/>
                  <a:pt x="839738" y="404267"/>
                </a:cubicBezTo>
                <a:cubicBezTo>
                  <a:pt x="835925" y="408407"/>
                  <a:pt x="831390" y="411817"/>
                  <a:pt x="826353" y="414329"/>
                </a:cubicBezTo>
                <a:cubicBezTo>
                  <a:pt x="820123" y="417326"/>
                  <a:pt x="813263" y="418773"/>
                  <a:pt x="806352" y="418553"/>
                </a:cubicBezTo>
                <a:cubicBezTo>
                  <a:pt x="794694" y="418898"/>
                  <a:pt x="783321" y="414916"/>
                  <a:pt x="774426" y="407373"/>
                </a:cubicBezTo>
                <a:cubicBezTo>
                  <a:pt x="766001" y="400372"/>
                  <a:pt x="761230" y="389906"/>
                  <a:pt x="761476" y="378956"/>
                </a:cubicBezTo>
                <a:cubicBezTo>
                  <a:pt x="760914" y="366294"/>
                  <a:pt x="766749" y="354197"/>
                  <a:pt x="777004" y="346750"/>
                </a:cubicBezTo>
                <a:cubicBezTo>
                  <a:pt x="787355" y="339110"/>
                  <a:pt x="802554" y="335290"/>
                  <a:pt x="822595" y="335290"/>
                </a:cubicBezTo>
                <a:lnTo>
                  <a:pt x="838372" y="335290"/>
                </a:lnTo>
                <a:lnTo>
                  <a:pt x="838372" y="327588"/>
                </a:lnTo>
                <a:cubicBezTo>
                  <a:pt x="838633" y="322315"/>
                  <a:pt x="836965" y="317125"/>
                  <a:pt x="833682" y="312991"/>
                </a:cubicBezTo>
                <a:cubicBezTo>
                  <a:pt x="830555" y="309348"/>
                  <a:pt x="825598" y="307535"/>
                  <a:pt x="818806" y="307556"/>
                </a:cubicBezTo>
                <a:cubicBezTo>
                  <a:pt x="806197" y="307556"/>
                  <a:pt x="799862" y="312836"/>
                  <a:pt x="799862" y="323457"/>
                </a:cubicBezTo>
                <a:lnTo>
                  <a:pt x="764426" y="323457"/>
                </a:lnTo>
                <a:cubicBezTo>
                  <a:pt x="764426" y="311966"/>
                  <a:pt x="769519" y="302081"/>
                  <a:pt x="779706" y="293798"/>
                </a:cubicBezTo>
                <a:cubicBezTo>
                  <a:pt x="789892" y="285516"/>
                  <a:pt x="803548" y="281376"/>
                  <a:pt x="820670" y="281376"/>
                </a:cubicBezTo>
                <a:cubicBezTo>
                  <a:pt x="834257" y="280876"/>
                  <a:pt x="847614" y="284969"/>
                  <a:pt x="858590" y="292991"/>
                </a:cubicBezTo>
                <a:cubicBezTo>
                  <a:pt x="868652" y="300755"/>
                  <a:pt x="873683" y="312370"/>
                  <a:pt x="873683" y="327836"/>
                </a:cubicBezTo>
                <a:lnTo>
                  <a:pt x="873683" y="383738"/>
                </a:lnTo>
                <a:cubicBezTo>
                  <a:pt x="873568" y="389844"/>
                  <a:pt x="874016" y="395947"/>
                  <a:pt x="875019" y="401969"/>
                </a:cubicBezTo>
                <a:cubicBezTo>
                  <a:pt x="875761" y="406127"/>
                  <a:pt x="877078" y="410161"/>
                  <a:pt x="878932" y="413956"/>
                </a:cubicBezTo>
                <a:lnTo>
                  <a:pt x="878932" y="416006"/>
                </a:lnTo>
                <a:close/>
                <a:moveTo>
                  <a:pt x="814055" y="391534"/>
                </a:moveTo>
                <a:cubicBezTo>
                  <a:pt x="819406" y="391704"/>
                  <a:pt x="824688" y="390322"/>
                  <a:pt x="829272" y="387558"/>
                </a:cubicBezTo>
                <a:cubicBezTo>
                  <a:pt x="832937" y="385431"/>
                  <a:pt x="836021" y="382434"/>
                  <a:pt x="838248" y="378831"/>
                </a:cubicBezTo>
                <a:lnTo>
                  <a:pt x="838248" y="355850"/>
                </a:lnTo>
                <a:lnTo>
                  <a:pt x="823837" y="355850"/>
                </a:lnTo>
                <a:cubicBezTo>
                  <a:pt x="814520" y="355850"/>
                  <a:pt x="807626" y="357806"/>
                  <a:pt x="803309" y="361781"/>
                </a:cubicBezTo>
                <a:cubicBezTo>
                  <a:pt x="799094" y="365449"/>
                  <a:pt x="796719" y="370794"/>
                  <a:pt x="796818" y="376378"/>
                </a:cubicBezTo>
                <a:cubicBezTo>
                  <a:pt x="796691" y="380493"/>
                  <a:pt x="798358" y="384459"/>
                  <a:pt x="801383" y="387248"/>
                </a:cubicBezTo>
                <a:cubicBezTo>
                  <a:pt x="804893" y="390260"/>
                  <a:pt x="809436" y="391798"/>
                  <a:pt x="814055" y="391534"/>
                </a:cubicBezTo>
                <a:close/>
                <a:moveTo>
                  <a:pt x="963872" y="415137"/>
                </a:moveTo>
                <a:cubicBezTo>
                  <a:pt x="960732" y="416152"/>
                  <a:pt x="957524" y="416950"/>
                  <a:pt x="954275" y="417528"/>
                </a:cubicBezTo>
                <a:cubicBezTo>
                  <a:pt x="950415" y="418155"/>
                  <a:pt x="946508" y="418457"/>
                  <a:pt x="942598" y="418429"/>
                </a:cubicBezTo>
                <a:cubicBezTo>
                  <a:pt x="931004" y="418429"/>
                  <a:pt x="921790" y="415416"/>
                  <a:pt x="914958" y="409391"/>
                </a:cubicBezTo>
                <a:cubicBezTo>
                  <a:pt x="908125" y="403366"/>
                  <a:pt x="904699" y="393344"/>
                  <a:pt x="904678" y="379328"/>
                </a:cubicBezTo>
                <a:lnTo>
                  <a:pt x="904678" y="309544"/>
                </a:lnTo>
                <a:lnTo>
                  <a:pt x="885236" y="309544"/>
                </a:lnTo>
                <a:lnTo>
                  <a:pt x="885236" y="283736"/>
                </a:lnTo>
                <a:lnTo>
                  <a:pt x="904678" y="283736"/>
                </a:lnTo>
                <a:lnTo>
                  <a:pt x="904678" y="251189"/>
                </a:lnTo>
                <a:lnTo>
                  <a:pt x="940020" y="251189"/>
                </a:lnTo>
                <a:lnTo>
                  <a:pt x="940020" y="283829"/>
                </a:lnTo>
                <a:lnTo>
                  <a:pt x="962505" y="283829"/>
                </a:lnTo>
                <a:lnTo>
                  <a:pt x="962505" y="309544"/>
                </a:lnTo>
                <a:lnTo>
                  <a:pt x="940020" y="309544"/>
                </a:lnTo>
                <a:lnTo>
                  <a:pt x="940020" y="375664"/>
                </a:lnTo>
                <a:cubicBezTo>
                  <a:pt x="940020" y="381223"/>
                  <a:pt x="941169" y="384981"/>
                  <a:pt x="943436" y="386689"/>
                </a:cubicBezTo>
                <a:cubicBezTo>
                  <a:pt x="946440" y="388667"/>
                  <a:pt x="950005" y="389605"/>
                  <a:pt x="953592" y="389360"/>
                </a:cubicBezTo>
                <a:cubicBezTo>
                  <a:pt x="955530" y="389369"/>
                  <a:pt x="957471" y="389276"/>
                  <a:pt x="959400" y="389080"/>
                </a:cubicBezTo>
                <a:cubicBezTo>
                  <a:pt x="961139" y="388863"/>
                  <a:pt x="962505" y="388645"/>
                  <a:pt x="963872" y="388397"/>
                </a:cubicBezTo>
                <a:close/>
                <a:moveTo>
                  <a:pt x="978686" y="249481"/>
                </a:moveTo>
                <a:cubicBezTo>
                  <a:pt x="978537" y="244533"/>
                  <a:pt x="980499" y="239754"/>
                  <a:pt x="984090" y="236344"/>
                </a:cubicBezTo>
                <a:cubicBezTo>
                  <a:pt x="992462" y="229421"/>
                  <a:pt x="1004568" y="229421"/>
                  <a:pt x="1012941" y="236344"/>
                </a:cubicBezTo>
                <a:cubicBezTo>
                  <a:pt x="1020084" y="243595"/>
                  <a:pt x="1020084" y="255242"/>
                  <a:pt x="1012941" y="262493"/>
                </a:cubicBezTo>
                <a:cubicBezTo>
                  <a:pt x="1004568" y="269416"/>
                  <a:pt x="992462" y="269416"/>
                  <a:pt x="984090" y="262493"/>
                </a:cubicBezTo>
                <a:cubicBezTo>
                  <a:pt x="980552" y="259152"/>
                  <a:pt x="978589" y="254471"/>
                  <a:pt x="978686" y="249605"/>
                </a:cubicBezTo>
                <a:close/>
                <a:moveTo>
                  <a:pt x="1016357" y="283643"/>
                </a:moveTo>
                <a:lnTo>
                  <a:pt x="1016357" y="415913"/>
                </a:lnTo>
                <a:lnTo>
                  <a:pt x="980891" y="415913"/>
                </a:lnTo>
                <a:lnTo>
                  <a:pt x="980891" y="283829"/>
                </a:lnTo>
                <a:close/>
                <a:moveTo>
                  <a:pt x="1036575" y="351129"/>
                </a:moveTo>
                <a:lnTo>
                  <a:pt x="1036575" y="348551"/>
                </a:lnTo>
                <a:cubicBezTo>
                  <a:pt x="1036575" y="329336"/>
                  <a:pt x="1042032" y="313302"/>
                  <a:pt x="1052942" y="300445"/>
                </a:cubicBezTo>
                <a:cubicBezTo>
                  <a:pt x="1063852" y="287587"/>
                  <a:pt x="1079257" y="281168"/>
                  <a:pt x="1099154" y="281189"/>
                </a:cubicBezTo>
                <a:cubicBezTo>
                  <a:pt x="1119279" y="281189"/>
                  <a:pt x="1134807" y="287609"/>
                  <a:pt x="1145739" y="300445"/>
                </a:cubicBezTo>
                <a:cubicBezTo>
                  <a:pt x="1156671" y="313280"/>
                  <a:pt x="1162097" y="329318"/>
                  <a:pt x="1162013" y="348551"/>
                </a:cubicBezTo>
                <a:lnTo>
                  <a:pt x="1162013" y="351129"/>
                </a:lnTo>
                <a:cubicBezTo>
                  <a:pt x="1162013" y="370384"/>
                  <a:pt x="1156588" y="386400"/>
                  <a:pt x="1145739" y="399174"/>
                </a:cubicBezTo>
                <a:cubicBezTo>
                  <a:pt x="1134891" y="411947"/>
                  <a:pt x="1119487" y="418345"/>
                  <a:pt x="1099527" y="418367"/>
                </a:cubicBezTo>
                <a:cubicBezTo>
                  <a:pt x="1079486" y="418367"/>
                  <a:pt x="1063958" y="411969"/>
                  <a:pt x="1052942" y="399174"/>
                </a:cubicBezTo>
                <a:cubicBezTo>
                  <a:pt x="1041926" y="386378"/>
                  <a:pt x="1036473" y="370424"/>
                  <a:pt x="1036575" y="351315"/>
                </a:cubicBezTo>
                <a:close/>
                <a:moveTo>
                  <a:pt x="1072011" y="348551"/>
                </a:moveTo>
                <a:lnTo>
                  <a:pt x="1072011" y="351129"/>
                </a:lnTo>
                <a:cubicBezTo>
                  <a:pt x="1071744" y="360657"/>
                  <a:pt x="1073878" y="370098"/>
                  <a:pt x="1078222" y="378583"/>
                </a:cubicBezTo>
                <a:cubicBezTo>
                  <a:pt x="1082353" y="386130"/>
                  <a:pt x="1089403" y="389888"/>
                  <a:pt x="1099434" y="389888"/>
                </a:cubicBezTo>
                <a:cubicBezTo>
                  <a:pt x="1109465" y="389888"/>
                  <a:pt x="1116298" y="386130"/>
                  <a:pt x="1120397" y="378583"/>
                </a:cubicBezTo>
                <a:cubicBezTo>
                  <a:pt x="1124754" y="370105"/>
                  <a:pt x="1126891" y="360657"/>
                  <a:pt x="1126608" y="351129"/>
                </a:cubicBezTo>
                <a:lnTo>
                  <a:pt x="1126608" y="348551"/>
                </a:lnTo>
                <a:cubicBezTo>
                  <a:pt x="1126841" y="339076"/>
                  <a:pt x="1124708" y="329694"/>
                  <a:pt x="1120397" y="321252"/>
                </a:cubicBezTo>
                <a:cubicBezTo>
                  <a:pt x="1116257" y="313550"/>
                  <a:pt x="1109186" y="309699"/>
                  <a:pt x="1099186" y="309699"/>
                </a:cubicBezTo>
                <a:cubicBezTo>
                  <a:pt x="1089185" y="309699"/>
                  <a:pt x="1082176" y="313550"/>
                  <a:pt x="1078160" y="321252"/>
                </a:cubicBezTo>
                <a:cubicBezTo>
                  <a:pt x="1073871" y="329765"/>
                  <a:pt x="1071756" y="339209"/>
                  <a:pt x="1072011" y="348738"/>
                </a:cubicBezTo>
                <a:close/>
                <a:moveTo>
                  <a:pt x="1237481" y="310010"/>
                </a:moveTo>
                <a:cubicBezTo>
                  <a:pt x="1228195" y="309584"/>
                  <a:pt x="1219486" y="314522"/>
                  <a:pt x="1215089" y="322712"/>
                </a:cubicBezTo>
                <a:lnTo>
                  <a:pt x="1215089" y="416099"/>
                </a:lnTo>
                <a:lnTo>
                  <a:pt x="1179778" y="416099"/>
                </a:lnTo>
                <a:lnTo>
                  <a:pt x="1179778" y="283829"/>
                </a:lnTo>
                <a:lnTo>
                  <a:pt x="1212915" y="283829"/>
                </a:lnTo>
                <a:lnTo>
                  <a:pt x="1214126" y="298985"/>
                </a:lnTo>
                <a:cubicBezTo>
                  <a:pt x="1223269" y="287394"/>
                  <a:pt x="1237388" y="280854"/>
                  <a:pt x="1252139" y="281376"/>
                </a:cubicBezTo>
                <a:cubicBezTo>
                  <a:pt x="1263363" y="280876"/>
                  <a:pt x="1274308" y="284941"/>
                  <a:pt x="1282482" y="292649"/>
                </a:cubicBezTo>
                <a:cubicBezTo>
                  <a:pt x="1290122" y="300143"/>
                  <a:pt x="1293951" y="313218"/>
                  <a:pt x="1293973" y="331874"/>
                </a:cubicBezTo>
                <a:lnTo>
                  <a:pt x="1293973" y="416099"/>
                </a:lnTo>
                <a:lnTo>
                  <a:pt x="1258506" y="416099"/>
                </a:lnTo>
                <a:lnTo>
                  <a:pt x="1258506" y="331750"/>
                </a:lnTo>
                <a:cubicBezTo>
                  <a:pt x="1258506" y="323262"/>
                  <a:pt x="1256696" y="317516"/>
                  <a:pt x="1253071" y="314513"/>
                </a:cubicBezTo>
                <a:cubicBezTo>
                  <a:pt x="1248562" y="311230"/>
                  <a:pt x="1243046" y="309637"/>
                  <a:pt x="1237481" y="310010"/>
                </a:cubicBezTo>
                <a:close/>
                <a:moveTo>
                  <a:pt x="1389006" y="379453"/>
                </a:moveTo>
                <a:cubicBezTo>
                  <a:pt x="1388966" y="375611"/>
                  <a:pt x="1387006" y="372046"/>
                  <a:pt x="1383789" y="369949"/>
                </a:cubicBezTo>
                <a:cubicBezTo>
                  <a:pt x="1380341" y="367403"/>
                  <a:pt x="1373074" y="364918"/>
                  <a:pt x="1362049" y="362558"/>
                </a:cubicBezTo>
                <a:cubicBezTo>
                  <a:pt x="1350014" y="360322"/>
                  <a:pt x="1338555" y="355685"/>
                  <a:pt x="1328352" y="348924"/>
                </a:cubicBezTo>
                <a:cubicBezTo>
                  <a:pt x="1319594" y="343029"/>
                  <a:pt x="1314529" y="333010"/>
                  <a:pt x="1314967" y="322464"/>
                </a:cubicBezTo>
                <a:cubicBezTo>
                  <a:pt x="1315066" y="311249"/>
                  <a:pt x="1320209" y="300674"/>
                  <a:pt x="1328974" y="293674"/>
                </a:cubicBezTo>
                <a:cubicBezTo>
                  <a:pt x="1338291" y="285391"/>
                  <a:pt x="1351188" y="281251"/>
                  <a:pt x="1367670" y="281251"/>
                </a:cubicBezTo>
                <a:cubicBezTo>
                  <a:pt x="1384876" y="281251"/>
                  <a:pt x="1398407" y="285289"/>
                  <a:pt x="1408261" y="293364"/>
                </a:cubicBezTo>
                <a:cubicBezTo>
                  <a:pt x="1417730" y="300649"/>
                  <a:pt x="1423212" y="311976"/>
                  <a:pt x="1423044" y="323923"/>
                </a:cubicBezTo>
                <a:lnTo>
                  <a:pt x="1387640" y="323923"/>
                </a:lnTo>
                <a:cubicBezTo>
                  <a:pt x="1387745" y="319296"/>
                  <a:pt x="1385987" y="314821"/>
                  <a:pt x="1382764" y="311501"/>
                </a:cubicBezTo>
                <a:cubicBezTo>
                  <a:pt x="1379512" y="308147"/>
                  <a:pt x="1374419" y="306469"/>
                  <a:pt x="1367484" y="306469"/>
                </a:cubicBezTo>
                <a:cubicBezTo>
                  <a:pt x="1362558" y="306174"/>
                  <a:pt x="1357685" y="307625"/>
                  <a:pt x="1353726" y="310569"/>
                </a:cubicBezTo>
                <a:cubicBezTo>
                  <a:pt x="1350574" y="313016"/>
                  <a:pt x="1348747" y="316796"/>
                  <a:pt x="1348788" y="320787"/>
                </a:cubicBezTo>
                <a:cubicBezTo>
                  <a:pt x="1348847" y="324628"/>
                  <a:pt x="1350906" y="328163"/>
                  <a:pt x="1354223" y="330104"/>
                </a:cubicBezTo>
                <a:cubicBezTo>
                  <a:pt x="1360198" y="333383"/>
                  <a:pt x="1366726" y="335538"/>
                  <a:pt x="1373478" y="336470"/>
                </a:cubicBezTo>
                <a:cubicBezTo>
                  <a:pt x="1386059" y="338663"/>
                  <a:pt x="1398143" y="343091"/>
                  <a:pt x="1409162" y="349545"/>
                </a:cubicBezTo>
                <a:cubicBezTo>
                  <a:pt x="1418643" y="355405"/>
                  <a:pt x="1423376" y="364896"/>
                  <a:pt x="1423355" y="378024"/>
                </a:cubicBezTo>
                <a:cubicBezTo>
                  <a:pt x="1423429" y="389596"/>
                  <a:pt x="1417793" y="400456"/>
                  <a:pt x="1408292" y="407062"/>
                </a:cubicBezTo>
                <a:cubicBezTo>
                  <a:pt x="1398252" y="414742"/>
                  <a:pt x="1384720" y="418575"/>
                  <a:pt x="1367701" y="418553"/>
                </a:cubicBezTo>
                <a:cubicBezTo>
                  <a:pt x="1349191" y="418553"/>
                  <a:pt x="1335051" y="413811"/>
                  <a:pt x="1325278" y="404329"/>
                </a:cubicBezTo>
                <a:cubicBezTo>
                  <a:pt x="1315504" y="394847"/>
                  <a:pt x="1310610" y="384710"/>
                  <a:pt x="1310588" y="373924"/>
                </a:cubicBezTo>
                <a:lnTo>
                  <a:pt x="1344222" y="373924"/>
                </a:lnTo>
                <a:cubicBezTo>
                  <a:pt x="1344017" y="379890"/>
                  <a:pt x="1346906" y="385540"/>
                  <a:pt x="1351862" y="388863"/>
                </a:cubicBezTo>
                <a:cubicBezTo>
                  <a:pt x="1356831" y="391931"/>
                  <a:pt x="1362580" y="393493"/>
                  <a:pt x="1368416" y="393366"/>
                </a:cubicBezTo>
                <a:cubicBezTo>
                  <a:pt x="1382143" y="393388"/>
                  <a:pt x="1389006" y="388748"/>
                  <a:pt x="1389006" y="379453"/>
                </a:cubicBezTo>
                <a:close/>
              </a:path>
            </a:pathLst>
          </a:custGeom>
          <a:solidFill>
            <a:schemeClr val="tx2">
              <a:lumMod val="50000"/>
            </a:schemeClr>
          </a:solidFill>
          <a:ln w="309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688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6FFFA49E-30E8-41AA-8417-DEBFAEEC1963}"/>
              </a:ext>
            </a:extLst>
          </p:cNvPr>
          <p:cNvCxnSpPr>
            <a:cxnSpLocks/>
          </p:cNvCxnSpPr>
          <p:nvPr userDrawn="1"/>
        </p:nvCxnSpPr>
        <p:spPr>
          <a:xfrm>
            <a:off x="11666572" y="3092398"/>
            <a:ext cx="0" cy="1926087"/>
          </a:xfrm>
          <a:prstGeom prst="line">
            <a:avLst/>
          </a:prstGeom>
          <a:ln w="444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ooter Placeholder 34">
            <a:extLst>
              <a:ext uri="{FF2B5EF4-FFF2-40B4-BE49-F238E27FC236}">
                <a16:creationId xmlns:a16="http://schemas.microsoft.com/office/drawing/2014/main" id="{7258CB6F-E296-482C-8F56-4945D46625A2}"/>
              </a:ext>
            </a:extLst>
          </p:cNvPr>
          <p:cNvSpPr>
            <a:spLocks noGrp="1"/>
          </p:cNvSpPr>
          <p:nvPr userDrawn="1">
            <p:ph type="ftr" sz="quarter" idx="12"/>
          </p:nvPr>
        </p:nvSpPr>
        <p:spPr>
          <a:xfrm>
            <a:off x="235363" y="140510"/>
            <a:ext cx="2700330" cy="10125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TOPIC</a:t>
            </a:r>
          </a:p>
        </p:txBody>
      </p:sp>
      <p:sp>
        <p:nvSpPr>
          <p:cNvPr id="36" name="Slide Number Placeholder 35">
            <a:extLst>
              <a:ext uri="{FF2B5EF4-FFF2-40B4-BE49-F238E27FC236}">
                <a16:creationId xmlns:a16="http://schemas.microsoft.com/office/drawing/2014/main" id="{29B2EE2B-3A51-455C-A5C0-0C5390B3F261}"/>
              </a:ext>
            </a:extLst>
          </p:cNvPr>
          <p:cNvSpPr>
            <a:spLocks noGrp="1"/>
          </p:cNvSpPr>
          <p:nvPr userDrawn="1">
            <p:ph type="sldNum" sz="quarter" idx="13"/>
          </p:nvPr>
        </p:nvSpPr>
        <p:spPr/>
        <p:txBody>
          <a:bodyPr/>
          <a:lstStyle/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735880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B39CB66-E20F-2DCA-12FC-2EBF24A790C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CA"/>
              <a:t>TOPIC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9BC032-483A-1407-C24F-F82E5A4F6EA5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23940" y="6468071"/>
            <a:ext cx="2530387" cy="253008"/>
          </a:xfrm>
          <a:prstGeom prst="rect">
            <a:avLst/>
          </a:prstGeom>
        </p:spPr>
        <p:txBody>
          <a:bodyPr/>
          <a:lstStyle/>
          <a:p>
            <a:r>
              <a:rPr lang="en-CA"/>
              <a:t>UNITED NATION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3FC045-CA53-AB13-F6B2-353604BC05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307D6DB-F040-C884-1C36-46AA3B1357E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253557"/>
            <a:ext cx="5156200" cy="36449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636346A1-6B5F-DB05-36ED-B0BBEA79A0AF}"/>
              </a:ext>
            </a:extLst>
          </p:cNvPr>
          <p:cNvSpPr txBox="1">
            <a:spLocks/>
          </p:cNvSpPr>
          <p:nvPr userDrawn="1"/>
        </p:nvSpPr>
        <p:spPr>
          <a:xfrm>
            <a:off x="4701958" y="4382263"/>
            <a:ext cx="6787392" cy="84534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 defTabSz="914514" rtl="0" eaLnBrk="1" latinLnBrk="0" hangingPunct="1">
              <a:spcBef>
                <a:spcPct val="0"/>
              </a:spcBef>
              <a:buNone/>
              <a:defRPr lang="en-CA" sz="2625" b="1" kern="800" cap="none" spc="19" baseline="0">
                <a:solidFill>
                  <a:schemeClr val="bg2"/>
                </a:solidFill>
                <a:latin typeface="+mn-lt"/>
                <a:ea typeface="Roboto Medium" panose="02000000000000000000" pitchFamily="2" charset="0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47">
            <a:extLst>
              <a:ext uri="{FF2B5EF4-FFF2-40B4-BE49-F238E27FC236}">
                <a16:creationId xmlns:a16="http://schemas.microsoft.com/office/drawing/2014/main" id="{33BF4CA0-9FA7-E0FD-8298-EF6A6EC10D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49836" y="4898457"/>
            <a:ext cx="5739513" cy="1390798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r">
              <a:buNone/>
              <a:defRPr lang="en-CA" sz="1875" b="0" kern="800" cap="none" spc="19" baseline="0" dirty="0">
                <a:solidFill>
                  <a:schemeClr val="bg2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+mj-cs"/>
              </a:defRPr>
            </a:lvl1pPr>
          </a:lstStyle>
          <a:p>
            <a:pPr lvl="0"/>
            <a:r>
              <a:rPr lang="en-CA"/>
              <a:t>Click to add Speaker / Organization / Date</a:t>
            </a:r>
          </a:p>
        </p:txBody>
      </p:sp>
    </p:spTree>
    <p:extLst>
      <p:ext uri="{BB962C8B-B14F-4D97-AF65-F5344CB8AC3E}">
        <p14:creationId xmlns:p14="http://schemas.microsoft.com/office/powerpoint/2010/main" val="9953784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FA3F1E-89F7-499F-8A00-0B051660F4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110475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9" imgH="290" progId="TCLayout.ActiveDocument.1">
                  <p:embed/>
                </p:oleObj>
              </mc:Choice>
              <mc:Fallback>
                <p:oleObj name="think-cell Slide" r:id="rId4" imgW="289" imgH="29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EFA3F1E-89F7-499F-8A00-0B051660F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EEB0B56-9EAB-4850-AB5E-F155665269B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1500" b="0" i="0" baseline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23939" y="561084"/>
            <a:ext cx="11138859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1500" b="0" spc="19" baseline="0">
                <a:solidFill>
                  <a:schemeClr val="tx2">
                    <a:lumMod val="50000"/>
                  </a:schemeClr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17A3D5A-A986-4385-A51A-0BC03A8E33B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CA"/>
              <a:t>TOPIC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915F58F-2909-48C7-AFD8-82106EA3207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3939" y="1232297"/>
            <a:ext cx="11138859" cy="87926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31" kern="700" spc="19" baseline="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165200" indent="-165200">
              <a:buFont typeface="Arial" panose="020B0604020202020204" pitchFamily="34" charset="0"/>
              <a:buChar char="●"/>
              <a:defRPr kern="700" baseline="0">
                <a:solidFill>
                  <a:schemeClr val="tx2">
                    <a:lumMod val="50000"/>
                  </a:schemeClr>
                </a:solidFill>
              </a:defRPr>
            </a:lvl2pPr>
            <a:lvl3pPr marL="337840" indent="-172641">
              <a:defRPr kern="700" baseline="0">
                <a:solidFill>
                  <a:schemeClr val="tx2">
                    <a:lumMod val="50000"/>
                  </a:schemeClr>
                </a:solidFill>
              </a:defRPr>
            </a:lvl3pPr>
            <a:lvl4pPr marL="0" indent="0">
              <a:buNone/>
              <a:defRPr sz="703" kern="700" baseline="0">
                <a:solidFill>
                  <a:schemeClr val="tx2">
                    <a:lumMod val="50000"/>
                  </a:schemeClr>
                </a:solidFill>
              </a:defRPr>
            </a:lvl4pPr>
            <a:lvl5pPr marL="678656" indent="-678656">
              <a:buNone/>
              <a:defRPr sz="70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CC855E-9C85-4BE7-8D80-7A30B4653696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523940" y="6468071"/>
            <a:ext cx="2530387" cy="253008"/>
          </a:xfrm>
          <a:prstGeom prst="rect">
            <a:avLst/>
          </a:prstGeom>
        </p:spPr>
        <p:txBody>
          <a:bodyPr/>
          <a:lstStyle/>
          <a:p>
            <a:r>
              <a:rPr lang="en-CA"/>
              <a:t>UNITED NATION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E6CFEB-CFEA-465E-8374-11C62EDDAF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3029B6B7-D927-4331-8F12-7553E2C82C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r="75842"/>
          <a:stretch/>
        </p:blipFill>
        <p:spPr>
          <a:xfrm>
            <a:off x="11742018" y="147161"/>
            <a:ext cx="303787" cy="248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10166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04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75-2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FA3F1E-89F7-499F-8A00-0B051660F4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1621592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9" imgH="290" progId="TCLayout.ActiveDocument.1">
                  <p:embed/>
                </p:oleObj>
              </mc:Choice>
              <mc:Fallback>
                <p:oleObj name="think-cell Slide" r:id="rId4" imgW="289" imgH="29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EFA3F1E-89F7-499F-8A00-0B051660F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C5A20EC-6FCC-45EE-ACE4-4D8383F4FDE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1500" b="0" i="0" baseline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3939" y="1232297"/>
            <a:ext cx="8275854" cy="87004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rtl="0">
              <a:defRPr lang="en-CA" sz="1031" spc="19" baseline="0" dirty="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rtl="0">
              <a:buClr>
                <a:schemeClr val="bg1"/>
              </a:buClr>
              <a:defRPr lang="en-CA" dirty="0"/>
            </a:lvl2pPr>
            <a:lvl3pPr rtl="0">
              <a:buClr>
                <a:schemeClr val="bg1"/>
              </a:buClr>
              <a:defRPr lang="en-CA" dirty="0"/>
            </a:lvl3pPr>
            <a:lvl4pPr rtl="0">
              <a:defRPr lang="en-CA" sz="703" dirty="0"/>
            </a:lvl4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  <a:p>
            <a:pPr marL="0" lvl="1" indent="0">
              <a:buNone/>
            </a:pPr>
            <a:r>
              <a:rPr lang="en-US"/>
              <a:t>Second level</a:t>
            </a:r>
          </a:p>
          <a:p>
            <a:pPr marL="0" lvl="2" indent="0">
              <a:buNone/>
            </a:pPr>
            <a:r>
              <a:rPr lang="en-US"/>
              <a:t>Third level</a:t>
            </a:r>
          </a:p>
          <a:p>
            <a:pPr marL="0" lvl="3" indent="0">
              <a:buNone/>
            </a:pPr>
            <a:r>
              <a:rPr lang="en-US"/>
              <a:t>Four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23939" y="561084"/>
            <a:ext cx="11138859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1500" b="0" spc="19" baseline="0">
                <a:solidFill>
                  <a:schemeClr val="tx2">
                    <a:lumMod val="50000"/>
                  </a:schemeClr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9AE0ADE-D5DA-48C7-9BEC-E23E046772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36185" y="1232297"/>
            <a:ext cx="2530387" cy="87004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CA" sz="1031" spc="19" baseline="0" dirty="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>
              <a:buClr>
                <a:schemeClr val="bg1"/>
              </a:buClr>
              <a:defRPr lang="en-CA" dirty="0"/>
            </a:lvl2pPr>
            <a:lvl3pPr>
              <a:buClr>
                <a:schemeClr val="bg1"/>
              </a:buClr>
              <a:defRPr lang="en-CA" dirty="0"/>
            </a:lvl3pPr>
            <a:lvl4pPr>
              <a:defRPr lang="en-CA" sz="703" dirty="0"/>
            </a:lvl4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  <a:p>
            <a:pPr marL="0" lvl="1" indent="0">
              <a:buNone/>
            </a:pPr>
            <a:r>
              <a:rPr lang="en-US"/>
              <a:t>Second level</a:t>
            </a:r>
          </a:p>
          <a:p>
            <a:pPr marL="0" lvl="2" indent="0">
              <a:buNone/>
            </a:pPr>
            <a:r>
              <a:rPr lang="en-US"/>
              <a:t>Third level</a:t>
            </a:r>
          </a:p>
          <a:p>
            <a:pPr marL="0" lvl="3" indent="0">
              <a:buNone/>
            </a:pPr>
            <a:r>
              <a:rPr lang="en-US"/>
              <a:t>Fourth level</a:t>
            </a:r>
          </a:p>
        </p:txBody>
      </p:sp>
      <p:sp>
        <p:nvSpPr>
          <p:cNvPr id="30" name="Date Placeholder 29">
            <a:extLst>
              <a:ext uri="{FF2B5EF4-FFF2-40B4-BE49-F238E27FC236}">
                <a16:creationId xmlns:a16="http://schemas.microsoft.com/office/drawing/2014/main" id="{3E1C0BD9-715A-41C7-824D-5C56B30F83A2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523940" y="6468071"/>
            <a:ext cx="2530387" cy="253008"/>
          </a:xfrm>
          <a:prstGeom prst="rect">
            <a:avLst/>
          </a:prstGeom>
        </p:spPr>
        <p:txBody>
          <a:bodyPr/>
          <a:lstStyle/>
          <a:p>
            <a:r>
              <a:rPr lang="en-CA"/>
              <a:t>UNITED NATIONS</a:t>
            </a:r>
          </a:p>
        </p:txBody>
      </p:sp>
      <p:sp>
        <p:nvSpPr>
          <p:cNvPr id="31" name="Footer Placeholder 30">
            <a:extLst>
              <a:ext uri="{FF2B5EF4-FFF2-40B4-BE49-F238E27FC236}">
                <a16:creationId xmlns:a16="http://schemas.microsoft.com/office/drawing/2014/main" id="{ED10B30B-F49E-438A-A9FF-7E7A3E18352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CA"/>
              <a:t>TOPIC</a:t>
            </a:r>
          </a:p>
        </p:txBody>
      </p:sp>
      <p:sp>
        <p:nvSpPr>
          <p:cNvPr id="32" name="Slide Number Placeholder 31">
            <a:extLst>
              <a:ext uri="{FF2B5EF4-FFF2-40B4-BE49-F238E27FC236}">
                <a16:creationId xmlns:a16="http://schemas.microsoft.com/office/drawing/2014/main" id="{22355562-172D-4B3D-BBE6-B077AD0B8CC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CED80935-3BD3-41DE-A59E-A3C617497D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r="75842"/>
          <a:stretch/>
        </p:blipFill>
        <p:spPr>
          <a:xfrm>
            <a:off x="11742018" y="147161"/>
            <a:ext cx="303787" cy="248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111818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s 75-2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FA3F1E-89F7-499F-8A00-0B051660F4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5826195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9" imgH="290" progId="TCLayout.ActiveDocument.1">
                  <p:embed/>
                </p:oleObj>
              </mc:Choice>
              <mc:Fallback>
                <p:oleObj name="think-cell Slide" r:id="rId4" imgW="289" imgH="29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EFA3F1E-89F7-499F-8A00-0B051660F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C5A20EC-6FCC-45EE-ACE4-4D8383F4FDE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1500" b="0" i="0" baseline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01409" y="1240956"/>
            <a:ext cx="8275854" cy="87004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rtl="0">
              <a:defRPr lang="en-CA" sz="1031" spc="19" baseline="0" dirty="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rtl="0">
              <a:buClr>
                <a:schemeClr val="bg1"/>
              </a:buClr>
              <a:defRPr lang="en-CA" dirty="0"/>
            </a:lvl2pPr>
            <a:lvl3pPr rtl="0">
              <a:buClr>
                <a:schemeClr val="bg1"/>
              </a:buClr>
              <a:defRPr lang="en-CA" dirty="0"/>
            </a:lvl3pPr>
            <a:lvl4pPr rtl="0">
              <a:defRPr lang="en-CA" sz="703" dirty="0"/>
            </a:lvl4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  <a:p>
            <a:pPr marL="0" lvl="1" indent="0">
              <a:buNone/>
            </a:pPr>
            <a:r>
              <a:rPr lang="en-US"/>
              <a:t>Second level</a:t>
            </a:r>
          </a:p>
          <a:p>
            <a:pPr marL="0" lvl="2" indent="0">
              <a:buNone/>
            </a:pPr>
            <a:r>
              <a:rPr lang="en-US"/>
              <a:t>Third level</a:t>
            </a:r>
          </a:p>
          <a:p>
            <a:pPr marL="0" lvl="3" indent="0">
              <a:buNone/>
            </a:pPr>
            <a:r>
              <a:rPr lang="en-US"/>
              <a:t>Four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23939" y="561084"/>
            <a:ext cx="11138859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1500" b="0" spc="19" baseline="0">
                <a:solidFill>
                  <a:schemeClr val="tx2">
                    <a:lumMod val="50000"/>
                  </a:schemeClr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9AE0ADE-D5DA-48C7-9BEC-E23E046772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2600" y="1232297"/>
            <a:ext cx="2530387" cy="87004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CA" sz="1031" spc="19" baseline="0" dirty="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>
              <a:buClr>
                <a:schemeClr val="bg1"/>
              </a:buClr>
              <a:defRPr lang="en-CA" dirty="0"/>
            </a:lvl2pPr>
            <a:lvl3pPr>
              <a:buClr>
                <a:schemeClr val="bg1"/>
              </a:buClr>
              <a:defRPr lang="en-CA" dirty="0"/>
            </a:lvl3pPr>
            <a:lvl4pPr>
              <a:defRPr lang="en-CA" sz="703" dirty="0"/>
            </a:lvl4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  <a:p>
            <a:pPr marL="0" lvl="1" indent="0">
              <a:buNone/>
            </a:pPr>
            <a:r>
              <a:rPr lang="en-US"/>
              <a:t>Second level</a:t>
            </a:r>
          </a:p>
          <a:p>
            <a:pPr marL="0" lvl="2" indent="0">
              <a:buNone/>
            </a:pPr>
            <a:r>
              <a:rPr lang="en-US"/>
              <a:t>Third level</a:t>
            </a:r>
          </a:p>
          <a:p>
            <a:pPr marL="0" lvl="3" indent="0">
              <a:buNone/>
            </a:pPr>
            <a:r>
              <a:rPr lang="en-US"/>
              <a:t>Fourth level</a:t>
            </a:r>
          </a:p>
        </p:txBody>
      </p:sp>
      <p:sp>
        <p:nvSpPr>
          <p:cNvPr id="30" name="Date Placeholder 29">
            <a:extLst>
              <a:ext uri="{FF2B5EF4-FFF2-40B4-BE49-F238E27FC236}">
                <a16:creationId xmlns:a16="http://schemas.microsoft.com/office/drawing/2014/main" id="{3E1C0BD9-715A-41C7-824D-5C56B30F83A2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523940" y="6468071"/>
            <a:ext cx="2530387" cy="253008"/>
          </a:xfrm>
          <a:prstGeom prst="rect">
            <a:avLst/>
          </a:prstGeom>
        </p:spPr>
        <p:txBody>
          <a:bodyPr/>
          <a:lstStyle/>
          <a:p>
            <a:r>
              <a:rPr lang="en-CA"/>
              <a:t>UNITED NATIONS</a:t>
            </a:r>
          </a:p>
        </p:txBody>
      </p:sp>
      <p:sp>
        <p:nvSpPr>
          <p:cNvPr id="31" name="Footer Placeholder 30">
            <a:extLst>
              <a:ext uri="{FF2B5EF4-FFF2-40B4-BE49-F238E27FC236}">
                <a16:creationId xmlns:a16="http://schemas.microsoft.com/office/drawing/2014/main" id="{ED10B30B-F49E-438A-A9FF-7E7A3E18352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CA"/>
              <a:t>TOPIC</a:t>
            </a:r>
          </a:p>
        </p:txBody>
      </p:sp>
      <p:sp>
        <p:nvSpPr>
          <p:cNvPr id="32" name="Slide Number Placeholder 31">
            <a:extLst>
              <a:ext uri="{FF2B5EF4-FFF2-40B4-BE49-F238E27FC236}">
                <a16:creationId xmlns:a16="http://schemas.microsoft.com/office/drawing/2014/main" id="{22355562-172D-4B3D-BBE6-B077AD0B8CC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CED80935-3BD3-41DE-A59E-A3C617497D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r="75842"/>
          <a:stretch/>
        </p:blipFill>
        <p:spPr>
          <a:xfrm>
            <a:off x="11742018" y="147161"/>
            <a:ext cx="303787" cy="248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78498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25-25-25-2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FA3F1E-89F7-499F-8A00-0B051660F4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2701959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9" imgH="290" progId="TCLayout.ActiveDocument.1">
                  <p:embed/>
                </p:oleObj>
              </mc:Choice>
              <mc:Fallback>
                <p:oleObj name="think-cell Slide" r:id="rId4" imgW="289" imgH="29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EFA3F1E-89F7-499F-8A00-0B051660F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26D59A5-2746-4A0D-B017-EF262E57FE0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1500" b="0" i="0" baseline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23939" y="561084"/>
            <a:ext cx="11138859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b="0" spc="19" baseline="0">
                <a:solidFill>
                  <a:schemeClr val="tx2">
                    <a:lumMod val="50000"/>
                  </a:schemeClr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17A3D5A-A986-4385-A51A-0BC03A8E33B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CA"/>
              <a:t>TOPIC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9AE0ADE-D5DA-48C7-9BEC-E23E046772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36185" y="1232297"/>
            <a:ext cx="2530387" cy="87004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en-CA" sz="1031" dirty="0"/>
            </a:lvl1pPr>
            <a:lvl2pPr>
              <a:defRPr lang="en-CA" dirty="0"/>
            </a:lvl2pPr>
            <a:lvl3pPr>
              <a:buClr>
                <a:schemeClr val="bg1"/>
              </a:buClr>
              <a:defRPr lang="en-CA" dirty="0"/>
            </a:lvl3pPr>
            <a:lvl4pPr>
              <a:defRPr lang="en-CA" dirty="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52FCCA7-9A34-4D0E-B91C-F68A8A8CFEE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26916" y="1232297"/>
            <a:ext cx="2530387" cy="87004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en-CA" sz="1031" dirty="0"/>
            </a:lvl1pPr>
            <a:lvl2pPr>
              <a:defRPr lang="en-CA" dirty="0"/>
            </a:lvl2pPr>
            <a:lvl3pPr>
              <a:defRPr lang="en-CA" dirty="0"/>
            </a:lvl3pPr>
            <a:lvl4pPr>
              <a:defRPr lang="en-CA" dirty="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068AC442-3F2F-4A13-8D83-CD6C7950D2A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96672" y="1232297"/>
            <a:ext cx="2530387" cy="87004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en-CA" sz="1031" dirty="0"/>
            </a:lvl1pPr>
            <a:lvl2pPr>
              <a:defRPr lang="en-CA" dirty="0"/>
            </a:lvl2pPr>
            <a:lvl3pPr>
              <a:defRPr lang="en-CA" dirty="0"/>
            </a:lvl3pPr>
            <a:lvl4pPr>
              <a:defRPr lang="en-CA" dirty="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7D6A9695-47B6-42F6-945F-22F5441AC0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66429" y="1232297"/>
            <a:ext cx="2530387" cy="87004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en-CA" sz="1031" dirty="0"/>
            </a:lvl1pPr>
            <a:lvl2pPr>
              <a:defRPr lang="en-CA" dirty="0"/>
            </a:lvl2pPr>
            <a:lvl3pPr>
              <a:defRPr lang="en-CA" dirty="0"/>
            </a:lvl3pPr>
            <a:lvl4pPr>
              <a:defRPr lang="en-CA" dirty="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1714EF9-67A2-4C6A-9C83-B384DCA0233E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523940" y="6468071"/>
            <a:ext cx="2530387" cy="253008"/>
          </a:xfrm>
          <a:prstGeom prst="rect">
            <a:avLst/>
          </a:prstGeom>
        </p:spPr>
        <p:txBody>
          <a:bodyPr/>
          <a:lstStyle/>
          <a:p>
            <a:r>
              <a:rPr lang="en-CA"/>
              <a:t>UNITED NATION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181E288-E698-4923-BCA0-965F738F268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0ADB0EBD-AA01-4253-B2D8-56ACF702F3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r="75842"/>
          <a:stretch/>
        </p:blipFill>
        <p:spPr>
          <a:xfrm>
            <a:off x="11742018" y="147161"/>
            <a:ext cx="303787" cy="248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82622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E3AF2CAA-F70C-1323-4649-B0AC0A0F07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434818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AF2CAA-F70C-1323-4649-B0AC0A0F07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blue and white background&#10;&#10;Description automatically generated">
            <a:extLst>
              <a:ext uri="{FF2B5EF4-FFF2-40B4-BE49-F238E27FC236}">
                <a16:creationId xmlns:a16="http://schemas.microsoft.com/office/drawing/2014/main" id="{68C9F936-B3FD-EDBC-B341-9E6F7F2C101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947CB1F-9039-C2E9-D0A2-7F214E7D71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1589" y="2976466"/>
            <a:ext cx="6182833" cy="1371600"/>
          </a:xfrm>
        </p:spPr>
        <p:txBody>
          <a:bodyPr vert="horz" anchor="b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slide without picture: Click to edit section slide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3A51C68-0A4D-4E95-C49C-1A2078BE386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081589" y="4576665"/>
            <a:ext cx="6182833" cy="571502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section slide text/subtitle</a:t>
            </a:r>
          </a:p>
        </p:txBody>
      </p:sp>
      <p:pic>
        <p:nvPicPr>
          <p:cNvPr id="14" name="Picture 13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0EE175D9-AC03-B75A-7AFC-39D8D040026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40241" y="415513"/>
            <a:ext cx="1836233" cy="390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237887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50-50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FA3F1E-89F7-499F-8A00-0B051660F4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8569359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9" imgH="290" progId="TCLayout.ActiveDocument.1">
                  <p:embed/>
                </p:oleObj>
              </mc:Choice>
              <mc:Fallback>
                <p:oleObj name="think-cell Slide" r:id="rId4" imgW="289" imgH="29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EFA3F1E-89F7-499F-8A00-0B051660F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B2DD5D5-0398-4EC7-B95E-99A655944ED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1500" b="0" i="0" baseline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23939" y="561084"/>
            <a:ext cx="11138859" cy="230832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>
              <a:defRPr b="0" spc="19" baseline="0">
                <a:solidFill>
                  <a:schemeClr val="tx2">
                    <a:lumMod val="50000"/>
                  </a:schemeClr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17A3D5A-A986-4385-A51A-0BC03A8E33B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CA"/>
              <a:t>TOPIC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52FCCA7-9A34-4D0E-B91C-F68A8A8CFEE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26916" y="1232297"/>
            <a:ext cx="5398655" cy="87004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en-CA" sz="1031" dirty="0"/>
            </a:lvl1pPr>
            <a:lvl2pPr>
              <a:defRPr lang="en-CA" dirty="0"/>
            </a:lvl2pPr>
            <a:lvl3pPr>
              <a:defRPr lang="en-CA" dirty="0"/>
            </a:lvl3pPr>
            <a:lvl4pPr>
              <a:defRPr lang="en-CA" dirty="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7D6A9695-47B6-42F6-945F-22F5441AC0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66429" y="1232297"/>
            <a:ext cx="5396369" cy="87004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en-CA" sz="1031" dirty="0"/>
            </a:lvl1pPr>
            <a:lvl2pPr>
              <a:defRPr lang="en-CA" dirty="0"/>
            </a:lvl2pPr>
            <a:lvl3pPr>
              <a:defRPr lang="en-CA" dirty="0"/>
            </a:lvl3pPr>
            <a:lvl4pPr>
              <a:defRPr lang="en-CA" dirty="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735CB66-AC9B-4357-989E-5B09C60E4311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en-CA"/>
              <a:t>UNITED NATION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F1674D-D3A0-4800-A342-9835BD06DEC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1017360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AE5F38E-2AC8-4CDF-901A-1000B0F55A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7558920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AE5F38E-2AC8-4CDF-901A-1000B0F55A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0343023-64CF-45B5-BAA8-C8F6FAA4B84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6750" b="1" i="0" baseline="0">
              <a:latin typeface="Roboto" panose="02000000000000000000" pitchFamily="2" charset="0"/>
              <a:ea typeface="Roboto" panose="02000000000000000000" pitchFamily="2" charset="0"/>
              <a:cs typeface="+mj-cs"/>
              <a:sym typeface="Roboto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3940" y="4503109"/>
            <a:ext cx="11142633" cy="1154162"/>
          </a:xfrm>
          <a:prstGeom prst="rect">
            <a:avLst/>
          </a:prstGeom>
        </p:spPr>
        <p:txBody>
          <a:bodyPr wrap="square" tIns="0" bIns="0" anchor="b">
            <a:noAutofit/>
          </a:bodyPr>
          <a:lstStyle>
            <a:lvl1pPr algn="l">
              <a:defRPr sz="6750" b="1" cap="none" baseline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CA"/>
              <a:t>Click to edit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FB9616-F4AE-44AB-8C7C-82A947677E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3939" y="5711890"/>
            <a:ext cx="5738200" cy="1580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031" b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sym typeface="Roboto Black" panose="02000000000000000000" pitchFamily="2" charset="0"/>
              </a:defRPr>
            </a:lvl1pPr>
            <a:lvl2pPr marL="166688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2pPr>
            <a:lvl3pPr marL="333375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3pPr>
            <a:lvl4pPr marL="500063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4pPr>
            <a:lvl5pPr marL="678656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DB22D3-6B0F-4B54-A479-2938434664C0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23940" y="6468071"/>
            <a:ext cx="2530387" cy="2530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UNITED NATIONS</a:t>
            </a:r>
          </a:p>
        </p:txBody>
      </p:sp>
      <p:sp>
        <p:nvSpPr>
          <p:cNvPr id="24" name="Footer Placeholder 23">
            <a:extLst>
              <a:ext uri="{FF2B5EF4-FFF2-40B4-BE49-F238E27FC236}">
                <a16:creationId xmlns:a16="http://schemas.microsoft.com/office/drawing/2014/main" id="{3275653B-D25C-40FF-BE6C-498978EA41C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TOPIC</a:t>
            </a:r>
          </a:p>
        </p:txBody>
      </p:sp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id="{0FB59214-EFD3-4636-9918-09EAFF9B581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3539072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AE5F38E-2AC8-4CDF-901A-1000B0F55A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0663369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AE5F38E-2AC8-4CDF-901A-1000B0F55A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0343023-64CF-45B5-BAA8-C8F6FAA4B84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6750" b="1" i="0" baseline="0">
              <a:latin typeface="Roboto" panose="02000000000000000000" pitchFamily="2" charset="0"/>
              <a:ea typeface="Roboto" panose="02000000000000000000" pitchFamily="2" charset="0"/>
              <a:cs typeface="+mj-cs"/>
              <a:sym typeface="Roboto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3940" y="4503109"/>
            <a:ext cx="11142633" cy="1154162"/>
          </a:xfrm>
          <a:prstGeom prst="rect">
            <a:avLst/>
          </a:prstGeom>
        </p:spPr>
        <p:txBody>
          <a:bodyPr wrap="square" tIns="0" bIns="0" anchor="b">
            <a:noAutofit/>
          </a:bodyPr>
          <a:lstStyle>
            <a:lvl1pPr algn="l">
              <a:defRPr sz="6750" b="1" cap="none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CA"/>
              <a:t>Click to edit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FB9616-F4AE-44AB-8C7C-82A947677E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3939" y="5711890"/>
            <a:ext cx="5738200" cy="1580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031" b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sym typeface="Roboto Black" panose="02000000000000000000" pitchFamily="2" charset="0"/>
              </a:defRPr>
            </a:lvl1pPr>
            <a:lvl2pPr marL="166688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2pPr>
            <a:lvl3pPr marL="333375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3pPr>
            <a:lvl4pPr marL="500063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4pPr>
            <a:lvl5pPr marL="678656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DB22D3-6B0F-4B54-A479-2938434664C0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23940" y="6468071"/>
            <a:ext cx="2530387" cy="2530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CA"/>
              <a:t>UNITED NATIONS</a:t>
            </a:r>
          </a:p>
        </p:txBody>
      </p:sp>
      <p:sp>
        <p:nvSpPr>
          <p:cNvPr id="24" name="Footer Placeholder 23">
            <a:extLst>
              <a:ext uri="{FF2B5EF4-FFF2-40B4-BE49-F238E27FC236}">
                <a16:creationId xmlns:a16="http://schemas.microsoft.com/office/drawing/2014/main" id="{3275653B-D25C-40FF-BE6C-498978EA41C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CA"/>
              <a:t>TOPIC</a:t>
            </a:r>
          </a:p>
        </p:txBody>
      </p:sp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id="{0FB59214-EFD3-4636-9918-09EAFF9B581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r">
              <a:defRPr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fld id="{73A950B1-DE82-4A29-B648-3078557F46E8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79683171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AE5F38E-2AC8-4CDF-901A-1000B0F55A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4637851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AE5F38E-2AC8-4CDF-901A-1000B0F55A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0343023-64CF-45B5-BAA8-C8F6FAA4B84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6750" b="1" i="0" baseline="0">
              <a:latin typeface="Roboto" panose="02000000000000000000" pitchFamily="2" charset="0"/>
              <a:ea typeface="Roboto" panose="02000000000000000000" pitchFamily="2" charset="0"/>
              <a:cs typeface="+mj-cs"/>
              <a:sym typeface="Roboto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3940" y="4589696"/>
            <a:ext cx="11142633" cy="1154162"/>
          </a:xfrm>
          <a:prstGeom prst="rect">
            <a:avLst/>
          </a:prstGeom>
        </p:spPr>
        <p:txBody>
          <a:bodyPr wrap="square" tIns="0" bIns="0" anchor="b">
            <a:noAutofit/>
          </a:bodyPr>
          <a:lstStyle>
            <a:lvl1pPr algn="l">
              <a:defRPr sz="6750" b="1" cap="none" baseline="0">
                <a:solidFill>
                  <a:schemeClr val="bg2">
                    <a:lumMod val="6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CA"/>
              <a:t>Click to edit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FB9616-F4AE-44AB-8C7C-82A947677E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3939" y="5755183"/>
            <a:ext cx="5738200" cy="1580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031" b="0">
                <a:solidFill>
                  <a:schemeClr val="bg2">
                    <a:lumMod val="6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sym typeface="Roboto Black" panose="02000000000000000000" pitchFamily="2" charset="0"/>
              </a:defRPr>
            </a:lvl1pPr>
            <a:lvl2pPr marL="166688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2pPr>
            <a:lvl3pPr marL="333375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3pPr>
            <a:lvl4pPr marL="500063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4pPr>
            <a:lvl5pPr marL="678656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DB22D3-6B0F-4B54-A479-2938434664C0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23940" y="6468071"/>
            <a:ext cx="2530387" cy="2530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CA"/>
              <a:t>UNITED NATIONS</a:t>
            </a:r>
          </a:p>
        </p:txBody>
      </p:sp>
      <p:sp>
        <p:nvSpPr>
          <p:cNvPr id="24" name="Footer Placeholder 23">
            <a:extLst>
              <a:ext uri="{FF2B5EF4-FFF2-40B4-BE49-F238E27FC236}">
                <a16:creationId xmlns:a16="http://schemas.microsoft.com/office/drawing/2014/main" id="{3275653B-D25C-40FF-BE6C-498978EA41C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r>
              <a:rPr lang="en-CA"/>
              <a:t>TOPIC</a:t>
            </a:r>
          </a:p>
        </p:txBody>
      </p:sp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id="{0FB59214-EFD3-4636-9918-09EAFF9B581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r">
              <a:defRPr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fld id="{73A950B1-DE82-4A29-B648-3078557F46E8}" type="slidenum">
              <a:rPr lang="en-CA" smtClean="0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3108067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Bright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AE5F38E-2AC8-4CDF-901A-1000B0F55A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2679147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AE5F38E-2AC8-4CDF-901A-1000B0F55A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0343023-64CF-45B5-BAA8-C8F6FAA4B84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6750" b="1" i="0" baseline="0">
              <a:latin typeface="Roboto" panose="02000000000000000000" pitchFamily="2" charset="0"/>
              <a:ea typeface="Roboto" panose="02000000000000000000" pitchFamily="2" charset="0"/>
              <a:cs typeface="+mj-cs"/>
              <a:sym typeface="Roboto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3940" y="4589696"/>
            <a:ext cx="11142633" cy="1154162"/>
          </a:xfrm>
          <a:prstGeom prst="rect">
            <a:avLst/>
          </a:prstGeom>
        </p:spPr>
        <p:txBody>
          <a:bodyPr wrap="square" tIns="0" bIns="0" anchor="b">
            <a:noAutofit/>
          </a:bodyPr>
          <a:lstStyle>
            <a:lvl1pPr algn="l">
              <a:defRPr sz="6750" b="1" cap="none" baseline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CA"/>
              <a:t>Click to edit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FB9616-F4AE-44AB-8C7C-82A947677E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3939" y="5755183"/>
            <a:ext cx="5401632" cy="1580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031" b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sym typeface="Roboto Black" panose="02000000000000000000" pitchFamily="2" charset="0"/>
              </a:defRPr>
            </a:lvl1pPr>
            <a:lvl2pPr marL="166688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2pPr>
            <a:lvl3pPr marL="333375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3pPr>
            <a:lvl4pPr marL="500063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4pPr>
            <a:lvl5pPr marL="678656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DB22D3-6B0F-4B54-A479-2938434664C0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23940" y="6468071"/>
            <a:ext cx="2530387" cy="2530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UNITED NATIONS</a:t>
            </a:r>
          </a:p>
        </p:txBody>
      </p:sp>
      <p:sp>
        <p:nvSpPr>
          <p:cNvPr id="24" name="Footer Placeholder 23">
            <a:extLst>
              <a:ext uri="{FF2B5EF4-FFF2-40B4-BE49-F238E27FC236}">
                <a16:creationId xmlns:a16="http://schemas.microsoft.com/office/drawing/2014/main" id="{3275653B-D25C-40FF-BE6C-498978EA41C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TOPIC</a:t>
            </a:r>
          </a:p>
        </p:txBody>
      </p:sp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id="{FBAD3670-B74A-421F-AF10-EFCA565D24E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3343647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s 75-25 Br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FA3F1E-89F7-499F-8A00-0B051660F4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8035045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9" imgH="290" progId="TCLayout.ActiveDocument.1">
                  <p:embed/>
                </p:oleObj>
              </mc:Choice>
              <mc:Fallback>
                <p:oleObj name="think-cell Slide" r:id="rId4" imgW="289" imgH="29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EFA3F1E-89F7-499F-8A00-0B051660F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C5A20EC-6FCC-45EE-ACE4-4D8383F4FDE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1500" b="0" i="0" baseline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3939" y="1232297"/>
            <a:ext cx="8275854" cy="87004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rtl="0">
              <a:defRPr lang="en-CA" sz="1031" spc="19" baseline="0" dirty="0">
                <a:solidFill>
                  <a:schemeClr val="tx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rtl="0">
              <a:buClr>
                <a:schemeClr val="tx1"/>
              </a:buClr>
              <a:defRPr lang="en-CA" dirty="0"/>
            </a:lvl2pPr>
            <a:lvl3pPr rtl="0">
              <a:buClr>
                <a:schemeClr val="tx1"/>
              </a:buClr>
              <a:defRPr lang="en-CA" dirty="0"/>
            </a:lvl3pPr>
            <a:lvl4pPr rtl="0">
              <a:defRPr lang="en-CA" sz="703" dirty="0"/>
            </a:lvl4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  <a:p>
            <a:pPr marL="0" lvl="1" indent="0">
              <a:buNone/>
            </a:pPr>
            <a:r>
              <a:rPr lang="en-US"/>
              <a:t>Second level</a:t>
            </a:r>
          </a:p>
          <a:p>
            <a:pPr marL="0" lvl="2" indent="0">
              <a:buNone/>
            </a:pPr>
            <a:r>
              <a:rPr lang="en-US"/>
              <a:t>Third level</a:t>
            </a:r>
          </a:p>
          <a:p>
            <a:pPr marL="0" lvl="3" indent="0">
              <a:buNone/>
            </a:pPr>
            <a:r>
              <a:rPr lang="en-US"/>
              <a:t>Four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23939" y="561084"/>
            <a:ext cx="11138859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1500" b="0" spc="19" baseline="0">
                <a:solidFill>
                  <a:schemeClr val="tx2">
                    <a:lumMod val="50000"/>
                  </a:schemeClr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9AE0ADE-D5DA-48C7-9BEC-E23E046772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36185" y="1232297"/>
            <a:ext cx="2530387" cy="87004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CA" dirty="0">
                <a:solidFill>
                  <a:schemeClr val="tx1"/>
                </a:solidFill>
              </a:defRPr>
            </a:lvl1pPr>
            <a:lvl2pPr>
              <a:defRPr lang="en-CA" dirty="0"/>
            </a:lvl2pPr>
            <a:lvl3pPr>
              <a:defRPr lang="en-CA" dirty="0"/>
            </a:lvl3pPr>
            <a:lvl4pPr>
              <a:defRPr lang="en-CA" dirty="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0" name="Date Placeholder 29">
            <a:extLst>
              <a:ext uri="{FF2B5EF4-FFF2-40B4-BE49-F238E27FC236}">
                <a16:creationId xmlns:a16="http://schemas.microsoft.com/office/drawing/2014/main" id="{3E1C0BD9-715A-41C7-824D-5C56B30F83A2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523940" y="6468071"/>
            <a:ext cx="2530387" cy="253008"/>
          </a:xfrm>
          <a:prstGeom prst="rect">
            <a:avLst/>
          </a:prstGeom>
        </p:spPr>
        <p:txBody>
          <a:bodyPr/>
          <a:lstStyle/>
          <a:p>
            <a:r>
              <a:rPr lang="en-CA"/>
              <a:t>UNITED NATIONS</a:t>
            </a:r>
          </a:p>
        </p:txBody>
      </p:sp>
      <p:sp>
        <p:nvSpPr>
          <p:cNvPr id="31" name="Footer Placeholder 30">
            <a:extLst>
              <a:ext uri="{FF2B5EF4-FFF2-40B4-BE49-F238E27FC236}">
                <a16:creationId xmlns:a16="http://schemas.microsoft.com/office/drawing/2014/main" id="{ED10B30B-F49E-438A-A9FF-7E7A3E18352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CA"/>
              <a:t>TOPIC</a:t>
            </a:r>
          </a:p>
        </p:txBody>
      </p:sp>
      <p:sp>
        <p:nvSpPr>
          <p:cNvPr id="32" name="Slide Number Placeholder 31">
            <a:extLst>
              <a:ext uri="{FF2B5EF4-FFF2-40B4-BE49-F238E27FC236}">
                <a16:creationId xmlns:a16="http://schemas.microsoft.com/office/drawing/2014/main" id="{22355562-172D-4B3D-BBE6-B077AD0B8CC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76702521-B3D6-4F0B-BEB4-A6233F579C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r="75842"/>
          <a:stretch/>
        </p:blipFill>
        <p:spPr>
          <a:xfrm>
            <a:off x="11742018" y="147161"/>
            <a:ext cx="303787" cy="248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407057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lumns 75-25 Br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FA3F1E-89F7-499F-8A00-0B051660F4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6640088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9" imgH="290" progId="TCLayout.ActiveDocument.1">
                  <p:embed/>
                </p:oleObj>
              </mc:Choice>
              <mc:Fallback>
                <p:oleObj name="think-cell Slide" r:id="rId4" imgW="289" imgH="29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EFA3F1E-89F7-499F-8A00-0B051660F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C5A20EC-6FCC-45EE-ACE4-4D8383F4FDE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1500" b="0" i="0" baseline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68787" y="1240956"/>
            <a:ext cx="7908475" cy="87004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rtl="0">
              <a:defRPr lang="en-CA" sz="1031" spc="19" baseline="0" dirty="0">
                <a:solidFill>
                  <a:schemeClr val="tx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rtl="0">
              <a:buClr>
                <a:schemeClr val="tx1"/>
              </a:buClr>
              <a:defRPr lang="en-CA" dirty="0"/>
            </a:lvl2pPr>
            <a:lvl3pPr rtl="0">
              <a:buClr>
                <a:schemeClr val="tx1"/>
              </a:buClr>
              <a:defRPr lang="en-CA" dirty="0"/>
            </a:lvl3pPr>
            <a:lvl4pPr rtl="0">
              <a:defRPr lang="en-CA" sz="703" dirty="0"/>
            </a:lvl4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  <a:p>
            <a:pPr marL="0" lvl="1" indent="0">
              <a:buNone/>
            </a:pPr>
            <a:r>
              <a:rPr lang="en-US"/>
              <a:t>Second level</a:t>
            </a:r>
          </a:p>
          <a:p>
            <a:pPr marL="0" lvl="2" indent="0">
              <a:buNone/>
            </a:pPr>
            <a:r>
              <a:rPr lang="en-US"/>
              <a:t>Third level</a:t>
            </a:r>
          </a:p>
          <a:p>
            <a:pPr marL="0" lvl="3" indent="0">
              <a:buNone/>
            </a:pPr>
            <a:r>
              <a:rPr lang="en-US"/>
              <a:t>Four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23939" y="561084"/>
            <a:ext cx="11138859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z="1500" b="0" spc="19" baseline="0">
                <a:solidFill>
                  <a:schemeClr val="tx2">
                    <a:lumMod val="50000"/>
                  </a:schemeClr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9AE0ADE-D5DA-48C7-9BEC-E23E046772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2599" y="1232297"/>
            <a:ext cx="2861096" cy="87004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CA" dirty="0">
                <a:solidFill>
                  <a:schemeClr val="tx1"/>
                </a:solidFill>
              </a:defRPr>
            </a:lvl1pPr>
            <a:lvl2pPr>
              <a:defRPr lang="en-CA" dirty="0"/>
            </a:lvl2pPr>
            <a:lvl3pPr>
              <a:defRPr lang="en-CA" dirty="0"/>
            </a:lvl3pPr>
            <a:lvl4pPr>
              <a:defRPr lang="en-CA" dirty="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0" name="Date Placeholder 29">
            <a:extLst>
              <a:ext uri="{FF2B5EF4-FFF2-40B4-BE49-F238E27FC236}">
                <a16:creationId xmlns:a16="http://schemas.microsoft.com/office/drawing/2014/main" id="{3E1C0BD9-715A-41C7-824D-5C56B30F83A2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523940" y="6468071"/>
            <a:ext cx="2530387" cy="253008"/>
          </a:xfrm>
          <a:prstGeom prst="rect">
            <a:avLst/>
          </a:prstGeom>
        </p:spPr>
        <p:txBody>
          <a:bodyPr/>
          <a:lstStyle/>
          <a:p>
            <a:r>
              <a:rPr lang="en-CA"/>
              <a:t>UNITED NATIONS</a:t>
            </a:r>
          </a:p>
        </p:txBody>
      </p:sp>
      <p:sp>
        <p:nvSpPr>
          <p:cNvPr id="31" name="Footer Placeholder 30">
            <a:extLst>
              <a:ext uri="{FF2B5EF4-FFF2-40B4-BE49-F238E27FC236}">
                <a16:creationId xmlns:a16="http://schemas.microsoft.com/office/drawing/2014/main" id="{ED10B30B-F49E-438A-A9FF-7E7A3E18352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CA"/>
              <a:t>TOPIC</a:t>
            </a:r>
          </a:p>
        </p:txBody>
      </p:sp>
      <p:sp>
        <p:nvSpPr>
          <p:cNvPr id="32" name="Slide Number Placeholder 31">
            <a:extLst>
              <a:ext uri="{FF2B5EF4-FFF2-40B4-BE49-F238E27FC236}">
                <a16:creationId xmlns:a16="http://schemas.microsoft.com/office/drawing/2014/main" id="{22355562-172D-4B3D-BBE6-B077AD0B8CC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76702521-B3D6-4F0B-BEB4-A6233F579C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r="75842"/>
          <a:stretch/>
        </p:blipFill>
        <p:spPr>
          <a:xfrm>
            <a:off x="11742018" y="147161"/>
            <a:ext cx="303787" cy="248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501217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Magenta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AE5F38E-2AC8-4CDF-901A-1000B0F55A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0886095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AE5F38E-2AC8-4CDF-901A-1000B0F55A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0343023-64CF-45B5-BAA8-C8F6FAA4B84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6750" b="1" i="0" baseline="0">
              <a:latin typeface="Roboto" panose="02000000000000000000" pitchFamily="2" charset="0"/>
              <a:ea typeface="Roboto" panose="02000000000000000000" pitchFamily="2" charset="0"/>
              <a:cs typeface="+mj-cs"/>
              <a:sym typeface="Roboto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3940" y="4421521"/>
            <a:ext cx="11142633" cy="1154162"/>
          </a:xfrm>
          <a:prstGeom prst="rect">
            <a:avLst/>
          </a:prstGeom>
        </p:spPr>
        <p:txBody>
          <a:bodyPr wrap="square" tIns="0" bIns="0" anchor="b">
            <a:noAutofit/>
          </a:bodyPr>
          <a:lstStyle>
            <a:lvl1pPr algn="l">
              <a:defRPr sz="6750" b="1" cap="none" baseline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CA"/>
              <a:t>Click to edit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FB9616-F4AE-44AB-8C7C-82A947677E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3939" y="5587008"/>
            <a:ext cx="5401632" cy="1580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031" b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sym typeface="Roboto Black" panose="02000000000000000000" pitchFamily="2" charset="0"/>
              </a:defRPr>
            </a:lvl1pPr>
            <a:lvl2pPr marL="166688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2pPr>
            <a:lvl3pPr marL="333375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3pPr>
            <a:lvl4pPr marL="500063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4pPr>
            <a:lvl5pPr marL="678656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DB22D3-6B0F-4B54-A479-2938434664C0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23940" y="6468071"/>
            <a:ext cx="2530387" cy="2530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UNITED NATIONS</a:t>
            </a:r>
          </a:p>
        </p:txBody>
      </p:sp>
      <p:sp>
        <p:nvSpPr>
          <p:cNvPr id="24" name="Footer Placeholder 23">
            <a:extLst>
              <a:ext uri="{FF2B5EF4-FFF2-40B4-BE49-F238E27FC236}">
                <a16:creationId xmlns:a16="http://schemas.microsoft.com/office/drawing/2014/main" id="{3275653B-D25C-40FF-BE6C-498978EA41C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TOPIC</a:t>
            </a:r>
          </a:p>
        </p:txBody>
      </p:sp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id="{463C03AD-3ABF-4B51-8670-2814B0C7EC3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35170924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Golden Yellow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AE5F38E-2AC8-4CDF-901A-1000B0F55A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3198290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AE5F38E-2AC8-4CDF-901A-1000B0F55A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0343023-64CF-45B5-BAA8-C8F6FAA4B84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6750" b="1" i="0" baseline="0">
              <a:latin typeface="Roboto" panose="02000000000000000000" pitchFamily="2" charset="0"/>
              <a:ea typeface="Roboto" panose="02000000000000000000" pitchFamily="2" charset="0"/>
              <a:cs typeface="+mj-cs"/>
              <a:sym typeface="Roboto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3940" y="4421521"/>
            <a:ext cx="11142633" cy="1154162"/>
          </a:xfrm>
          <a:prstGeom prst="rect">
            <a:avLst/>
          </a:prstGeom>
        </p:spPr>
        <p:txBody>
          <a:bodyPr wrap="square" tIns="0" bIns="0" anchor="b">
            <a:noAutofit/>
          </a:bodyPr>
          <a:lstStyle>
            <a:lvl1pPr algn="l">
              <a:defRPr sz="6750" b="1" cap="none" baseline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CA"/>
              <a:t>Click to edit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FB9616-F4AE-44AB-8C7C-82A947677E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3939" y="5587008"/>
            <a:ext cx="5401632" cy="1580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031" b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sym typeface="Roboto Black" panose="02000000000000000000" pitchFamily="2" charset="0"/>
              </a:defRPr>
            </a:lvl1pPr>
            <a:lvl2pPr marL="166688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2pPr>
            <a:lvl3pPr marL="333375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3pPr>
            <a:lvl4pPr marL="500063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4pPr>
            <a:lvl5pPr marL="678656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DB22D3-6B0F-4B54-A479-2938434664C0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23940" y="6468071"/>
            <a:ext cx="2530387" cy="2530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UNITED NATIONS</a:t>
            </a:r>
          </a:p>
        </p:txBody>
      </p:sp>
      <p:sp>
        <p:nvSpPr>
          <p:cNvPr id="24" name="Footer Placeholder 23">
            <a:extLst>
              <a:ext uri="{FF2B5EF4-FFF2-40B4-BE49-F238E27FC236}">
                <a16:creationId xmlns:a16="http://schemas.microsoft.com/office/drawing/2014/main" id="{3275653B-D25C-40FF-BE6C-498978EA41C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TOPIC</a:t>
            </a:r>
          </a:p>
        </p:txBody>
      </p:sp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id="{0F1B5508-636A-432A-B9AE-0EDC573E63D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976344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Slide Gre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AE5F38E-2AC8-4CDF-901A-1000B0F55A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9671116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AE5F38E-2AC8-4CDF-901A-1000B0F55A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0343023-64CF-45B5-BAA8-C8F6FAA4B84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6750" b="1" i="0" baseline="0">
              <a:latin typeface="Roboto" panose="02000000000000000000" pitchFamily="2" charset="0"/>
              <a:ea typeface="Roboto" panose="02000000000000000000" pitchFamily="2" charset="0"/>
              <a:cs typeface="+mj-cs"/>
              <a:sym typeface="Roboto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3940" y="4421521"/>
            <a:ext cx="11142633" cy="1154162"/>
          </a:xfrm>
          <a:prstGeom prst="rect">
            <a:avLst/>
          </a:prstGeom>
        </p:spPr>
        <p:txBody>
          <a:bodyPr wrap="square" tIns="0" bIns="0" anchor="b">
            <a:noAutofit/>
          </a:bodyPr>
          <a:lstStyle>
            <a:lvl1pPr algn="l">
              <a:defRPr sz="6750" b="1" cap="none" baseline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CA"/>
              <a:t>Click to edit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FB9616-F4AE-44AB-8C7C-82A947677E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3939" y="5587008"/>
            <a:ext cx="5401632" cy="1580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031" b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sym typeface="Roboto Black" panose="02000000000000000000" pitchFamily="2" charset="0"/>
              </a:defRPr>
            </a:lvl1pPr>
            <a:lvl2pPr marL="166688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2pPr>
            <a:lvl3pPr marL="333375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3pPr>
            <a:lvl4pPr marL="500063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4pPr>
            <a:lvl5pPr marL="678656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DB22D3-6B0F-4B54-A479-2938434664C0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23940" y="6468071"/>
            <a:ext cx="2530387" cy="2530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UNITED NATIONS</a:t>
            </a:r>
          </a:p>
        </p:txBody>
      </p:sp>
      <p:sp>
        <p:nvSpPr>
          <p:cNvPr id="24" name="Footer Placeholder 23">
            <a:extLst>
              <a:ext uri="{FF2B5EF4-FFF2-40B4-BE49-F238E27FC236}">
                <a16:creationId xmlns:a16="http://schemas.microsoft.com/office/drawing/2014/main" id="{3275653B-D25C-40FF-BE6C-498978EA41C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TOPIC</a:t>
            </a:r>
          </a:p>
        </p:txBody>
      </p:sp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id="{CAAAFCB5-4C71-476A-9A8D-FF7F94A7D3B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037454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E3AF2CAA-F70C-1323-4649-B0AC0A0F07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928491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AF2CAA-F70C-1323-4649-B0AC0A0F07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blue and white background with white stars&#10;&#10;Description automatically generated">
            <a:extLst>
              <a:ext uri="{FF2B5EF4-FFF2-40B4-BE49-F238E27FC236}">
                <a16:creationId xmlns:a16="http://schemas.microsoft.com/office/drawing/2014/main" id="{91482C5D-C893-2CD8-25E2-41DEBD4EC2AC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67975A3E-683F-DFA4-B2D1-9FEB01F4F2E6}"/>
              </a:ext>
            </a:extLst>
          </p:cNvPr>
          <p:cNvSpPr/>
          <p:nvPr userDrawn="1"/>
        </p:nvSpPr>
        <p:spPr>
          <a:xfrm>
            <a:off x="8750300" y="254000"/>
            <a:ext cx="3581400" cy="906272"/>
          </a:xfrm>
          <a:prstGeom prst="roundRect">
            <a:avLst/>
          </a:prstGeom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947CB1F-9039-C2E9-D0A2-7F214E7D71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81589" y="2976466"/>
            <a:ext cx="6182833" cy="1371600"/>
          </a:xfrm>
        </p:spPr>
        <p:txBody>
          <a:bodyPr vert="horz" anchor="b">
            <a:no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Section slide without picture: Click to edit section slide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3A51C68-0A4D-4E95-C49C-1A2078BE386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081589" y="4576665"/>
            <a:ext cx="6182833" cy="571502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section slide text/subtit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EE175D9-AC03-B75A-7AFC-39D8D040026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9003914" y="415512"/>
            <a:ext cx="2706119" cy="575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532001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Slide Grey">
    <p:bg>
      <p:bgPr>
        <a:solidFill>
          <a:schemeClr val="bg2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AE5F38E-2AC8-4CDF-901A-1000B0F55A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5421056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AE5F38E-2AC8-4CDF-901A-1000B0F55A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0343023-64CF-45B5-BAA8-C8F6FAA4B84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6750" b="1" i="0" baseline="0">
              <a:latin typeface="Roboto" panose="02000000000000000000" pitchFamily="2" charset="0"/>
              <a:ea typeface="Roboto" panose="02000000000000000000" pitchFamily="2" charset="0"/>
              <a:cs typeface="+mj-cs"/>
              <a:sym typeface="Roboto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3940" y="4421521"/>
            <a:ext cx="11142633" cy="1154162"/>
          </a:xfrm>
          <a:prstGeom prst="rect">
            <a:avLst/>
          </a:prstGeom>
        </p:spPr>
        <p:txBody>
          <a:bodyPr wrap="square" tIns="0" bIns="0" anchor="b">
            <a:noAutofit/>
          </a:bodyPr>
          <a:lstStyle>
            <a:lvl1pPr algn="l">
              <a:defRPr sz="6750" b="1" cap="none" baseline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CA"/>
              <a:t>Click to edit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FB9616-F4AE-44AB-8C7C-82A947677E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3939" y="5587008"/>
            <a:ext cx="5401632" cy="1580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031" b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sym typeface="Roboto Black" panose="02000000000000000000" pitchFamily="2" charset="0"/>
              </a:defRPr>
            </a:lvl1pPr>
            <a:lvl2pPr marL="166688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2pPr>
            <a:lvl3pPr marL="333375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3pPr>
            <a:lvl4pPr marL="500063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4pPr>
            <a:lvl5pPr marL="678656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DB22D3-6B0F-4B54-A479-2938434664C0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23940" y="6468071"/>
            <a:ext cx="2530387" cy="2530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UNITED NATIONS</a:t>
            </a:r>
          </a:p>
        </p:txBody>
      </p:sp>
      <p:sp>
        <p:nvSpPr>
          <p:cNvPr id="24" name="Footer Placeholder 23">
            <a:extLst>
              <a:ext uri="{FF2B5EF4-FFF2-40B4-BE49-F238E27FC236}">
                <a16:creationId xmlns:a16="http://schemas.microsoft.com/office/drawing/2014/main" id="{3275653B-D25C-40FF-BE6C-498978EA41C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TOPIC</a:t>
            </a:r>
          </a:p>
        </p:txBody>
      </p:sp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id="{CAAAFCB5-4C71-476A-9A8D-FF7F94A7D3B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2738356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 Red 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AE5F38E-2AC8-4CDF-901A-1000B0F55A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4143462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AE5F38E-2AC8-4CDF-901A-1000B0F55A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0343023-64CF-45B5-BAA8-C8F6FAA4B84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6750" b="1" i="0" baseline="0">
              <a:latin typeface="Roboto" panose="02000000000000000000" pitchFamily="2" charset="0"/>
              <a:ea typeface="Roboto" panose="02000000000000000000" pitchFamily="2" charset="0"/>
              <a:cs typeface="+mj-cs"/>
              <a:sym typeface="Roboto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3940" y="4536937"/>
            <a:ext cx="11142633" cy="1038746"/>
          </a:xfrm>
          <a:prstGeom prst="rect">
            <a:avLst/>
          </a:prstGeom>
        </p:spPr>
        <p:txBody>
          <a:bodyPr wrap="square" tIns="0" bIns="0" anchor="b">
            <a:spAutoFit/>
          </a:bodyPr>
          <a:lstStyle>
            <a:lvl1pPr algn="l">
              <a:defRPr sz="6750" b="1" cap="none" baseline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CA"/>
              <a:t>Click to edit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FB9616-F4AE-44AB-8C7C-82A947677E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3939" y="5587008"/>
            <a:ext cx="5401632" cy="1580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031" b="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sym typeface="Roboto Black" panose="02000000000000000000" pitchFamily="2" charset="0"/>
              </a:defRPr>
            </a:lvl1pPr>
            <a:lvl2pPr marL="166688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2pPr>
            <a:lvl3pPr marL="333375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3pPr>
            <a:lvl4pPr marL="500063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4pPr>
            <a:lvl5pPr marL="678656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BF7DFD-8DC8-48AD-8855-00CE98F179C5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23940" y="6468071"/>
            <a:ext cx="2530387" cy="2530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UNITED NATIONS</a:t>
            </a:r>
          </a:p>
        </p:txBody>
      </p:sp>
      <p:sp>
        <p:nvSpPr>
          <p:cNvPr id="24" name="Footer Placeholder 23">
            <a:extLst>
              <a:ext uri="{FF2B5EF4-FFF2-40B4-BE49-F238E27FC236}">
                <a16:creationId xmlns:a16="http://schemas.microsoft.com/office/drawing/2014/main" id="{BE7BDDE7-7C12-4D1D-A484-3FC82905F45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TOPIC</a:t>
            </a:r>
          </a:p>
        </p:txBody>
      </p:sp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id="{53FA4059-A641-40BC-AA6A-641380C4103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7379084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loss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FA3F1E-89F7-499F-8A00-0B051660F4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5494674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9" imgH="290" progId="TCLayout.ActiveDocument.1">
                  <p:embed/>
                </p:oleObj>
              </mc:Choice>
              <mc:Fallback>
                <p:oleObj name="think-cell Slide" r:id="rId3" imgW="289" imgH="29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EFA3F1E-89F7-499F-8A00-0B051660F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523939" y="561084"/>
            <a:ext cx="11138859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spc="19" baseline="0">
                <a:solidFill>
                  <a:schemeClr val="tx2">
                    <a:lumMod val="50000"/>
                  </a:schemeClr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r>
              <a:rPr lang="en-CA"/>
              <a:t>Glossary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17A3D5A-A986-4385-A51A-0BC03A8E33B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CA"/>
              <a:t>TOPIC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52FCCA7-9A34-4D0E-B91C-F68A8A8CFEE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23939" y="1232297"/>
            <a:ext cx="11138859" cy="129843"/>
          </a:xfrm>
          <a:prstGeom prst="rect">
            <a:avLst/>
          </a:prstGeom>
        </p:spPr>
        <p:txBody>
          <a:bodyPr vert="horz" wrap="square" lIns="0" tIns="0" rIns="0" bIns="0" numCol="4" spcCol="360000" rtlCol="0">
            <a:spAutoFit/>
          </a:bodyPr>
          <a:lstStyle>
            <a:lvl1pPr marL="0" indent="0">
              <a:lnSpc>
                <a:spcPct val="100000"/>
              </a:lnSpc>
              <a:spcBef>
                <a:spcPts val="563"/>
              </a:spcBef>
              <a:buNone/>
              <a:defRPr lang="en-US" sz="844" b="1" spc="9" baseline="0" dirty="0" smtClean="0"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lang="en-US" sz="844" spc="9" dirty="0" smtClean="0">
                <a:latin typeface="Roboto" panose="02000000000000000000" pitchFamily="2" charset="0"/>
                <a:ea typeface="Roboto" panose="02000000000000000000" pitchFamily="2" charset="0"/>
              </a:defRPr>
            </a:lvl2pPr>
            <a:lvl3pPr>
              <a:defRPr lang="en-US" sz="844" dirty="0" smtClean="0"/>
            </a:lvl3pPr>
            <a:lvl4pPr>
              <a:defRPr lang="en-US" sz="844" dirty="0" smtClean="0"/>
            </a:lvl4pPr>
            <a:lvl5pPr>
              <a:defRPr lang="en-US" sz="844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E2D8C76-5B8B-40EE-A2AF-05A2D8218112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523940" y="6468071"/>
            <a:ext cx="2530387" cy="253008"/>
          </a:xfrm>
          <a:prstGeom prst="rect">
            <a:avLst/>
          </a:prstGeom>
        </p:spPr>
        <p:txBody>
          <a:bodyPr/>
          <a:lstStyle/>
          <a:p>
            <a:r>
              <a:rPr lang="en-CA"/>
              <a:t>UNITED NATION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DB3446D-21BF-4333-8A7B-77EBCEB13C0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B7B179DD-EBA5-4FD2-9912-F8C2898DC4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r="75842"/>
          <a:stretch/>
        </p:blipFill>
        <p:spPr>
          <a:xfrm>
            <a:off x="11742018" y="147161"/>
            <a:ext cx="303787" cy="248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60279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Section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AE5F38E-2AC8-4CDF-901A-1000B0F55A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5248501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AE5F38E-2AC8-4CDF-901A-1000B0F55A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5A63924-71A6-4953-91A3-203DFDFF682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3563" b="0" i="0" baseline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FB9616-F4AE-44AB-8C7C-82A947677EF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85877" y="1248601"/>
            <a:ext cx="3779207" cy="44242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en-CA" sz="1125" kern="700" spc="19" baseline="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  <a:lvl2pPr>
              <a:buClr>
                <a:schemeClr val="bg1"/>
              </a:buClr>
              <a:defRPr lang="en-CA" sz="1031" kern="700" spc="9" baseline="0"/>
            </a:lvl2pPr>
          </a:lstStyle>
          <a:p>
            <a:pPr marL="0" lvl="0" indent="0">
              <a:buNone/>
            </a:pPr>
            <a:r>
              <a:rPr lang="en-CA"/>
              <a:t>HEADING</a:t>
            </a:r>
          </a:p>
          <a:p>
            <a:pPr marL="165200" lvl="1" indent="-165200">
              <a:buChar char="●"/>
            </a:pPr>
            <a:r>
              <a:rPr lang="en-CA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CAF9827-8752-417E-ACB0-DC6FD0D50375}"/>
              </a:ext>
            </a:extLst>
          </p:cNvPr>
          <p:cNvSpPr/>
          <p:nvPr userDrawn="1"/>
        </p:nvSpPr>
        <p:spPr>
          <a:xfrm>
            <a:off x="0" y="0"/>
            <a:ext cx="754799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688">
              <a:solidFill>
                <a:schemeClr val="bg2"/>
              </a:solidFill>
              <a:latin typeface="Roboto" panose="02000000000000000000" pitchFamily="2" charset="0"/>
              <a:sym typeface="Roboto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3940" y="5397773"/>
            <a:ext cx="6688726" cy="730970"/>
          </a:xfrm>
          <a:prstGeom prst="rect">
            <a:avLst/>
          </a:prstGeom>
        </p:spPr>
        <p:txBody>
          <a:bodyPr wrap="square" tIns="0" bIns="0" anchor="b">
            <a:spAutoFit/>
          </a:bodyPr>
          <a:lstStyle>
            <a:lvl1pPr algn="l">
              <a:lnSpc>
                <a:spcPct val="150000"/>
              </a:lnSpc>
              <a:defRPr sz="3563" b="0" cap="none" baseline="0">
                <a:solidFill>
                  <a:schemeClr val="bg2"/>
                </a:solidFill>
              </a:defRPr>
            </a:lvl1pPr>
          </a:lstStyle>
          <a:p>
            <a:r>
              <a:rPr lang="en-CA"/>
              <a:t>Click to edit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5EA907-4C08-409E-B91D-04C8822B5BAB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23940" y="6468071"/>
            <a:ext cx="2530387" cy="2530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UNITED NATION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652407B-60BE-44D1-942F-C38AE6AC859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TOPIC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8E1BE4A-34D9-480C-BD98-8D9BCA04756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8144537A-D9FF-4C35-897F-074078756C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r="75842"/>
          <a:stretch/>
        </p:blipFill>
        <p:spPr>
          <a:xfrm>
            <a:off x="11742018" y="147161"/>
            <a:ext cx="303787" cy="248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82841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Section Slide Bright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AE5F38E-2AC8-4CDF-901A-1000B0F55A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0528817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AE5F38E-2AC8-4CDF-901A-1000B0F55A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3C44B10-F872-431E-85D5-7F6E32FBED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3563" b="0" i="0" baseline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FB9616-F4AE-44AB-8C7C-82A947677EF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88854" y="1248600"/>
            <a:ext cx="3779207" cy="44802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en-CA" sz="1125" dirty="0">
                <a:solidFill>
                  <a:srgbClr val="1CAFD2"/>
                </a:solidFill>
              </a:defRPr>
            </a:lvl1pPr>
            <a:lvl2pPr>
              <a:buClr>
                <a:schemeClr val="tx1"/>
              </a:buClr>
              <a:defRPr lang="en-CA" sz="1031" dirty="0"/>
            </a:lvl2pPr>
          </a:lstStyle>
          <a:p>
            <a:pPr lvl="0"/>
            <a:r>
              <a:rPr lang="en-CA"/>
              <a:t>HEADING</a:t>
            </a:r>
          </a:p>
          <a:p>
            <a:pPr lvl="1"/>
            <a:r>
              <a:rPr lang="en-CA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CAF9827-8752-417E-ACB0-DC6FD0D50375}"/>
              </a:ext>
            </a:extLst>
          </p:cNvPr>
          <p:cNvSpPr/>
          <p:nvPr userDrawn="1"/>
        </p:nvSpPr>
        <p:spPr>
          <a:xfrm>
            <a:off x="0" y="0"/>
            <a:ext cx="7547996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688">
              <a:solidFill>
                <a:schemeClr val="tx1"/>
              </a:solidFill>
              <a:latin typeface="Roboto" panose="02000000000000000000" pitchFamily="2" charset="0"/>
              <a:sym typeface="Roboto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3940" y="5397773"/>
            <a:ext cx="6688726" cy="730970"/>
          </a:xfrm>
          <a:prstGeom prst="rect">
            <a:avLst/>
          </a:prstGeom>
        </p:spPr>
        <p:txBody>
          <a:bodyPr wrap="square" tIns="0" bIns="0" anchor="b">
            <a:spAutoFit/>
          </a:bodyPr>
          <a:lstStyle>
            <a:lvl1pPr algn="l">
              <a:lnSpc>
                <a:spcPct val="150000"/>
              </a:lnSpc>
              <a:defRPr sz="3563" b="0" cap="none" baseline="0">
                <a:solidFill>
                  <a:schemeClr val="bg2"/>
                </a:solidFill>
              </a:defRPr>
            </a:lvl1pPr>
          </a:lstStyle>
          <a:p>
            <a:r>
              <a:rPr lang="en-CA"/>
              <a:t>Click to edit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14EE29-FED8-4FA9-88C4-984C16F35843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23940" y="6468071"/>
            <a:ext cx="2530387" cy="2530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UNITED NATION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006A1B-DAD7-4DFB-A50B-6695BC994C5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TOPIC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91BDC24-FD10-434C-AAFC-630E0CA828D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003F8A23-08D6-49F4-A92C-AD6C9A1FE9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r="75842"/>
          <a:stretch/>
        </p:blipFill>
        <p:spPr>
          <a:xfrm>
            <a:off x="11742018" y="147161"/>
            <a:ext cx="303787" cy="248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45025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Section Slide Magenta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AE5F38E-2AC8-4CDF-901A-1000B0F55A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1461358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AE5F38E-2AC8-4CDF-901A-1000B0F55A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7A9EDDB-84AF-4461-AEE4-2201E3AEB9A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3563" b="1" i="0" baseline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FB9616-F4AE-44AB-8C7C-82A947677EF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85877" y="1248600"/>
            <a:ext cx="3779207" cy="44802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en-CA" sz="1125" dirty="0">
                <a:solidFill>
                  <a:schemeClr val="accent4"/>
                </a:solidFill>
              </a:defRPr>
            </a:lvl1pPr>
            <a:lvl2pPr>
              <a:buClr>
                <a:schemeClr val="accent4"/>
              </a:buClr>
              <a:defRPr lang="en-CA" sz="1031" dirty="0"/>
            </a:lvl2pPr>
          </a:lstStyle>
          <a:p>
            <a:pPr lvl="0"/>
            <a:r>
              <a:rPr lang="en-CA"/>
              <a:t>HEADING</a:t>
            </a:r>
          </a:p>
          <a:p>
            <a:pPr lvl="1"/>
            <a:r>
              <a:rPr lang="en-CA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CAF9827-8752-417E-ACB0-DC6FD0D50375}"/>
              </a:ext>
            </a:extLst>
          </p:cNvPr>
          <p:cNvSpPr/>
          <p:nvPr userDrawn="1"/>
        </p:nvSpPr>
        <p:spPr>
          <a:xfrm>
            <a:off x="0" y="0"/>
            <a:ext cx="7547996" cy="685800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688">
              <a:solidFill>
                <a:schemeClr val="tx1"/>
              </a:solidFill>
              <a:latin typeface="Roboto" panose="02000000000000000000" pitchFamily="2" charset="0"/>
              <a:sym typeface="Roboto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3939" y="5397773"/>
            <a:ext cx="6688726" cy="730970"/>
          </a:xfrm>
          <a:prstGeom prst="rect">
            <a:avLst/>
          </a:prstGeom>
        </p:spPr>
        <p:txBody>
          <a:bodyPr wrap="square" tIns="0" bIns="0" anchor="b">
            <a:spAutoFit/>
          </a:bodyPr>
          <a:lstStyle>
            <a:lvl1pPr algn="l">
              <a:lnSpc>
                <a:spcPct val="150000"/>
              </a:lnSpc>
              <a:defRPr sz="3563" b="1" cap="none" baseline="0">
                <a:solidFill>
                  <a:schemeClr val="bg2"/>
                </a:solidFill>
              </a:defRPr>
            </a:lvl1pPr>
          </a:lstStyle>
          <a:p>
            <a:r>
              <a:rPr lang="en-CA"/>
              <a:t>Click to edit style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8FFC7093-9B05-460A-BD17-336F1298249C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23940" y="6468071"/>
            <a:ext cx="2530387" cy="2530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UNITED NATIONS</a:t>
            </a:r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69F5D900-6253-4DC5-AD5D-E8350CF1F3C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TOPIC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47E51CAB-BDA9-4614-9CBB-DF74F24C9DFF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5D4E6167-BA89-4678-A53C-446D39B719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r="75842"/>
          <a:stretch/>
        </p:blipFill>
        <p:spPr>
          <a:xfrm>
            <a:off x="11742018" y="147161"/>
            <a:ext cx="303787" cy="248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031040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Section Slide Golden Yellow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AE5F38E-2AC8-4CDF-901A-1000B0F55A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4761629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AE5F38E-2AC8-4CDF-901A-1000B0F55A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D31D9CB-5004-4F68-AAEA-CF836B2EDEC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3563" b="1" i="0" baseline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FB9616-F4AE-44AB-8C7C-82A947677EF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85877" y="1248600"/>
            <a:ext cx="3779207" cy="44802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en-CA" sz="1125" dirty="0">
                <a:solidFill>
                  <a:schemeClr val="accent6">
                    <a:lumMod val="75000"/>
                  </a:schemeClr>
                </a:solidFill>
              </a:defRPr>
            </a:lvl1pPr>
            <a:lvl2pPr>
              <a:buClr>
                <a:schemeClr val="accent6">
                  <a:lumMod val="75000"/>
                </a:schemeClr>
              </a:buClr>
              <a:defRPr lang="en-CA" sz="1031" dirty="0"/>
            </a:lvl2pPr>
          </a:lstStyle>
          <a:p>
            <a:pPr lvl="0"/>
            <a:r>
              <a:rPr lang="en-CA"/>
              <a:t>HEADING</a:t>
            </a:r>
          </a:p>
          <a:p>
            <a:pPr lvl="1"/>
            <a:r>
              <a:rPr lang="en-CA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CAF9827-8752-417E-ACB0-DC6FD0D50375}"/>
              </a:ext>
            </a:extLst>
          </p:cNvPr>
          <p:cNvSpPr/>
          <p:nvPr userDrawn="1"/>
        </p:nvSpPr>
        <p:spPr>
          <a:xfrm>
            <a:off x="0" y="0"/>
            <a:ext cx="7547996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688">
              <a:solidFill>
                <a:schemeClr val="tx1"/>
              </a:solidFill>
              <a:latin typeface="Roboto" panose="02000000000000000000" pitchFamily="2" charset="0"/>
              <a:sym typeface="Roboto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3940" y="5397773"/>
            <a:ext cx="6688726" cy="730970"/>
          </a:xfrm>
          <a:prstGeom prst="rect">
            <a:avLst/>
          </a:prstGeom>
        </p:spPr>
        <p:txBody>
          <a:bodyPr wrap="square" tIns="0" bIns="0" anchor="b">
            <a:spAutoFit/>
          </a:bodyPr>
          <a:lstStyle>
            <a:lvl1pPr algn="l">
              <a:lnSpc>
                <a:spcPct val="150000"/>
              </a:lnSpc>
              <a:defRPr sz="3563" b="1" cap="none" baseline="0">
                <a:solidFill>
                  <a:schemeClr val="bg2"/>
                </a:solidFill>
              </a:defRPr>
            </a:lvl1pPr>
          </a:lstStyle>
          <a:p>
            <a:r>
              <a:rPr lang="en-CA"/>
              <a:t>Click to edit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8FA1F7-DB30-4FC9-85CF-92A193FB97BF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23940" y="6468071"/>
            <a:ext cx="2530387" cy="2530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UNITED NATION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710187F-5E40-419E-B7B4-F605D92117E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TOPIC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F93A014-CE8E-479A-AB50-AD9534C778D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8C1527A9-5DE0-4ED0-9A29-EB0424AA4E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r="75842"/>
          <a:stretch/>
        </p:blipFill>
        <p:spPr>
          <a:xfrm>
            <a:off x="11742018" y="147161"/>
            <a:ext cx="303787" cy="248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059695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ub-Section Slide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AE5F38E-2AC8-4CDF-901A-1000B0F55A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9689687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AE5F38E-2AC8-4CDF-901A-1000B0F55A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9A897F1-4D5C-4AF3-9EEB-8235EBAFFDA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3563" b="1" i="0" baseline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FB9616-F4AE-44AB-8C7C-82A947677EF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85877" y="1248600"/>
            <a:ext cx="3779207" cy="44802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en-CA" sz="1125" dirty="0">
                <a:solidFill>
                  <a:schemeClr val="tx2"/>
                </a:solidFill>
              </a:defRPr>
            </a:lvl1pPr>
            <a:lvl2pPr>
              <a:buClr>
                <a:schemeClr val="bg2">
                  <a:lumMod val="65000"/>
                </a:schemeClr>
              </a:buClr>
              <a:defRPr lang="en-CA" sz="1031" dirty="0"/>
            </a:lvl2pPr>
          </a:lstStyle>
          <a:p>
            <a:pPr lvl="0"/>
            <a:r>
              <a:rPr lang="en-CA"/>
              <a:t>HEADING</a:t>
            </a:r>
          </a:p>
          <a:p>
            <a:pPr lvl="1"/>
            <a:r>
              <a:rPr lang="en-CA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CAF9827-8752-417E-ACB0-DC6FD0D50375}"/>
              </a:ext>
            </a:extLst>
          </p:cNvPr>
          <p:cNvSpPr/>
          <p:nvPr userDrawn="1"/>
        </p:nvSpPr>
        <p:spPr>
          <a:xfrm>
            <a:off x="0" y="0"/>
            <a:ext cx="7547996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688">
              <a:solidFill>
                <a:schemeClr val="tx1"/>
              </a:solidFill>
              <a:latin typeface="Roboto" panose="02000000000000000000" pitchFamily="2" charset="0"/>
              <a:sym typeface="Roboto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3940" y="5397773"/>
            <a:ext cx="6688726" cy="730970"/>
          </a:xfrm>
          <a:prstGeom prst="rect">
            <a:avLst/>
          </a:prstGeom>
        </p:spPr>
        <p:txBody>
          <a:bodyPr wrap="square" tIns="0" bIns="0" anchor="b">
            <a:spAutoFit/>
          </a:bodyPr>
          <a:lstStyle>
            <a:lvl1pPr algn="l">
              <a:lnSpc>
                <a:spcPct val="150000"/>
              </a:lnSpc>
              <a:defRPr sz="3563" b="1" cap="none" baseline="0">
                <a:solidFill>
                  <a:schemeClr val="bg2"/>
                </a:solidFill>
              </a:defRPr>
            </a:lvl1pPr>
          </a:lstStyle>
          <a:p>
            <a:r>
              <a:rPr lang="en-CA"/>
              <a:t>Click to edit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2F5636-CB1A-4151-9035-36E9AC4C733F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23940" y="6468071"/>
            <a:ext cx="2530387" cy="2530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UNITED NATION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473D515-4FBE-4DAC-8ACB-BF7683E349D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TOPIC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F064D72-43B3-4DD3-A9A9-F0C299B9865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6F032BEC-7122-44D7-AC43-D6E7ADBF8DE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r="75842"/>
          <a:stretch/>
        </p:blipFill>
        <p:spPr>
          <a:xfrm>
            <a:off x="11742018" y="147161"/>
            <a:ext cx="303787" cy="248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609539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ub-Section Slide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AE5F38E-2AC8-4CDF-901A-1000B0F55A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2075770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AE5F38E-2AC8-4CDF-901A-1000B0F55A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9A897F1-4D5C-4AF3-9EEB-8235EBAFFDA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3563" b="1" i="0" baseline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FB9616-F4AE-44AB-8C7C-82A947677EF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85877" y="1248600"/>
            <a:ext cx="3779207" cy="44802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en-CA" sz="1125" dirty="0">
                <a:solidFill>
                  <a:schemeClr val="tx2">
                    <a:lumMod val="50000"/>
                  </a:schemeClr>
                </a:solidFill>
              </a:defRPr>
            </a:lvl1pPr>
            <a:lvl2pPr>
              <a:buClr>
                <a:schemeClr val="bg2">
                  <a:lumMod val="65000"/>
                </a:schemeClr>
              </a:buClr>
              <a:defRPr lang="en-CA" sz="1031" dirty="0">
                <a:solidFill>
                  <a:schemeClr val="tx2">
                    <a:lumMod val="50000"/>
                  </a:schemeClr>
                </a:solidFill>
              </a:defRPr>
            </a:lvl2pPr>
          </a:lstStyle>
          <a:p>
            <a:pPr lvl="0"/>
            <a:r>
              <a:rPr lang="en-CA"/>
              <a:t>HEADING</a:t>
            </a:r>
          </a:p>
          <a:p>
            <a:pPr lvl="1"/>
            <a:r>
              <a:rPr lang="en-CA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CAF9827-8752-417E-ACB0-DC6FD0D50375}"/>
              </a:ext>
            </a:extLst>
          </p:cNvPr>
          <p:cNvSpPr/>
          <p:nvPr userDrawn="1"/>
        </p:nvSpPr>
        <p:spPr>
          <a:xfrm>
            <a:off x="0" y="0"/>
            <a:ext cx="7547996" cy="68580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688">
              <a:solidFill>
                <a:schemeClr val="tx1"/>
              </a:solidFill>
              <a:latin typeface="Roboto" panose="02000000000000000000" pitchFamily="2" charset="0"/>
              <a:sym typeface="Roboto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3940" y="5397773"/>
            <a:ext cx="6688726" cy="730970"/>
          </a:xfrm>
          <a:prstGeom prst="rect">
            <a:avLst/>
          </a:prstGeom>
        </p:spPr>
        <p:txBody>
          <a:bodyPr wrap="square" tIns="0" bIns="0" anchor="b">
            <a:spAutoFit/>
          </a:bodyPr>
          <a:lstStyle>
            <a:lvl1pPr algn="l">
              <a:lnSpc>
                <a:spcPct val="150000"/>
              </a:lnSpc>
              <a:defRPr sz="3563" b="1" cap="none" baseline="0">
                <a:solidFill>
                  <a:schemeClr val="bg2"/>
                </a:solidFill>
              </a:defRPr>
            </a:lvl1pPr>
          </a:lstStyle>
          <a:p>
            <a:r>
              <a:rPr lang="en-CA"/>
              <a:t>Click to edit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2F5636-CB1A-4151-9035-36E9AC4C733F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23940" y="6468071"/>
            <a:ext cx="2530387" cy="2530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UNITED NATION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473D515-4FBE-4DAC-8ACB-BF7683E349D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TOPIC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F064D72-43B3-4DD3-A9A9-F0C299B9865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D585D2E5-A26B-4D1D-95CA-C60F0F2D254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r="75842"/>
          <a:stretch/>
        </p:blipFill>
        <p:spPr>
          <a:xfrm>
            <a:off x="11742018" y="147161"/>
            <a:ext cx="303787" cy="248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414528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ub-Section Slide Gre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AE5F38E-2AC8-4CDF-901A-1000B0F55A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3011469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AE5F38E-2AC8-4CDF-901A-1000B0F55A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9A897F1-4D5C-4AF3-9EEB-8235EBAFFDA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3563" b="1" i="0" baseline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FB9616-F4AE-44AB-8C7C-82A947677EF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85877" y="1248600"/>
            <a:ext cx="3779207" cy="44802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en-CA" sz="1125" dirty="0">
                <a:solidFill>
                  <a:srgbClr val="4FB228"/>
                </a:solidFill>
              </a:defRPr>
            </a:lvl1pPr>
            <a:lvl2pPr>
              <a:buClr>
                <a:schemeClr val="accent3"/>
              </a:buClr>
              <a:defRPr lang="en-CA" sz="1031" dirty="0"/>
            </a:lvl2pPr>
          </a:lstStyle>
          <a:p>
            <a:pPr lvl="0"/>
            <a:r>
              <a:rPr lang="en-CA"/>
              <a:t>HEADING</a:t>
            </a:r>
          </a:p>
          <a:p>
            <a:pPr lvl="1"/>
            <a:r>
              <a:rPr lang="en-CA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CAF9827-8752-417E-ACB0-DC6FD0D50375}"/>
              </a:ext>
            </a:extLst>
          </p:cNvPr>
          <p:cNvSpPr/>
          <p:nvPr userDrawn="1"/>
        </p:nvSpPr>
        <p:spPr>
          <a:xfrm>
            <a:off x="0" y="0"/>
            <a:ext cx="7547996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688">
              <a:solidFill>
                <a:schemeClr val="tx1"/>
              </a:solidFill>
              <a:latin typeface="Roboto" panose="02000000000000000000" pitchFamily="2" charset="0"/>
              <a:sym typeface="Roboto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3940" y="5397773"/>
            <a:ext cx="6688726" cy="730970"/>
          </a:xfrm>
          <a:prstGeom prst="rect">
            <a:avLst/>
          </a:prstGeom>
        </p:spPr>
        <p:txBody>
          <a:bodyPr wrap="square" tIns="0" bIns="0" anchor="b">
            <a:spAutoFit/>
          </a:bodyPr>
          <a:lstStyle>
            <a:lvl1pPr algn="l">
              <a:lnSpc>
                <a:spcPct val="150000"/>
              </a:lnSpc>
              <a:defRPr sz="3563" b="1" cap="none" baseline="0">
                <a:solidFill>
                  <a:schemeClr val="bg2"/>
                </a:solidFill>
              </a:defRPr>
            </a:lvl1pPr>
          </a:lstStyle>
          <a:p>
            <a:r>
              <a:rPr lang="en-CA"/>
              <a:t>Click to edit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2F5636-CB1A-4151-9035-36E9AC4C733F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23940" y="6468071"/>
            <a:ext cx="2530387" cy="2530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UNITED NATION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473D515-4FBE-4DAC-8ACB-BF7683E349D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TOPIC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F064D72-43B3-4DD3-A9A9-F0C299B9865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3FC8A1DA-A68F-4BA9-82F3-F7A57B4DC0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r="75842"/>
          <a:stretch/>
        </p:blipFill>
        <p:spPr>
          <a:xfrm>
            <a:off x="11742018" y="147161"/>
            <a:ext cx="303787" cy="248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99961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60F7CAF-FAA7-8F32-36AD-7EC5226BE1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436393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60F7CAF-FAA7-8F32-36AD-7EC5226BE1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AD9051A5-79F1-D44C-4370-D119382D81F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88893" y="0"/>
            <a:ext cx="6497708" cy="571500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add a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37B5D4E-8A94-9134-9ABA-C1FCD06A3D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37425" y="342900"/>
            <a:ext cx="4283075" cy="2171700"/>
          </a:xfrm>
        </p:spPr>
        <p:txBody>
          <a:bodyPr vert="horz" anchor="b">
            <a:noAutofit/>
          </a:bodyPr>
          <a:lstStyle>
            <a:lvl1pPr>
              <a:defRPr sz="3200"/>
            </a:lvl1pPr>
          </a:lstStyle>
          <a:p>
            <a:r>
              <a:rPr lang="en-US"/>
              <a:t>Section slide with picture: click to edit section slide tit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BF15CBB5-AA90-F9C9-64C5-D33E184791E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337425" y="2743200"/>
            <a:ext cx="4265683" cy="2971800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section slide text/subtitle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C1E15B4B-EA18-9AC1-2380-546DFB07B6E2}"/>
              </a:ext>
            </a:extLst>
          </p:cNvPr>
          <p:cNvSpPr/>
          <p:nvPr userDrawn="1"/>
        </p:nvSpPr>
        <p:spPr>
          <a:xfrm>
            <a:off x="571501" y="6181103"/>
            <a:ext cx="452231" cy="377210"/>
          </a:xfrm>
          <a:custGeom>
            <a:avLst/>
            <a:gdLst>
              <a:gd name="connsiteX0" fmla="*/ 586884 w 736968"/>
              <a:gd name="connsiteY0" fmla="*/ 559057 h 614713"/>
              <a:gd name="connsiteX1" fmla="*/ 587869 w 736968"/>
              <a:gd name="connsiteY1" fmla="*/ 559556 h 614713"/>
              <a:gd name="connsiteX2" fmla="*/ 540711 w 736968"/>
              <a:gd name="connsiteY2" fmla="*/ 587411 h 614713"/>
              <a:gd name="connsiteX3" fmla="*/ 503480 w 736968"/>
              <a:gd name="connsiteY3" fmla="*/ 590061 h 614713"/>
              <a:gd name="connsiteX4" fmla="*/ 450805 w 736968"/>
              <a:gd name="connsiteY4" fmla="*/ 569540 h 614713"/>
              <a:gd name="connsiteX5" fmla="*/ 422114 w 736968"/>
              <a:gd name="connsiteY5" fmla="*/ 550259 h 614713"/>
              <a:gd name="connsiteX6" fmla="*/ 386381 w 736968"/>
              <a:gd name="connsiteY6" fmla="*/ 543521 h 614713"/>
              <a:gd name="connsiteX7" fmla="*/ 385772 w 736968"/>
              <a:gd name="connsiteY7" fmla="*/ 548099 h 614713"/>
              <a:gd name="connsiteX8" fmla="*/ 433943 w 736968"/>
              <a:gd name="connsiteY8" fmla="*/ 578037 h 614713"/>
              <a:gd name="connsiteX9" fmla="*/ 462359 w 736968"/>
              <a:gd name="connsiteY9" fmla="*/ 603058 h 614713"/>
              <a:gd name="connsiteX10" fmla="*/ 448738 w 736968"/>
              <a:gd name="connsiteY10" fmla="*/ 614714 h 614713"/>
              <a:gd name="connsiteX11" fmla="*/ 433814 w 736968"/>
              <a:gd name="connsiteY11" fmla="*/ 598553 h 614713"/>
              <a:gd name="connsiteX12" fmla="*/ 371602 w 736968"/>
              <a:gd name="connsiteY12" fmla="*/ 550414 h 614713"/>
              <a:gd name="connsiteX13" fmla="*/ 368540 w 736968"/>
              <a:gd name="connsiteY13" fmla="*/ 549256 h 614713"/>
              <a:gd name="connsiteX14" fmla="*/ 365479 w 736968"/>
              <a:gd name="connsiteY14" fmla="*/ 550414 h 614713"/>
              <a:gd name="connsiteX15" fmla="*/ 303259 w 736968"/>
              <a:gd name="connsiteY15" fmla="*/ 598553 h 614713"/>
              <a:gd name="connsiteX16" fmla="*/ 288343 w 736968"/>
              <a:gd name="connsiteY16" fmla="*/ 614714 h 614713"/>
              <a:gd name="connsiteX17" fmla="*/ 274713 w 736968"/>
              <a:gd name="connsiteY17" fmla="*/ 603058 h 614713"/>
              <a:gd name="connsiteX18" fmla="*/ 303139 w 736968"/>
              <a:gd name="connsiteY18" fmla="*/ 578037 h 614713"/>
              <a:gd name="connsiteX19" fmla="*/ 351309 w 736968"/>
              <a:gd name="connsiteY19" fmla="*/ 548099 h 614713"/>
              <a:gd name="connsiteX20" fmla="*/ 350700 w 736968"/>
              <a:gd name="connsiteY20" fmla="*/ 543521 h 614713"/>
              <a:gd name="connsiteX21" fmla="*/ 314967 w 736968"/>
              <a:gd name="connsiteY21" fmla="*/ 550259 h 614713"/>
              <a:gd name="connsiteX22" fmla="*/ 286267 w 736968"/>
              <a:gd name="connsiteY22" fmla="*/ 569540 h 614713"/>
              <a:gd name="connsiteX23" fmla="*/ 233594 w 736968"/>
              <a:gd name="connsiteY23" fmla="*/ 590061 h 614713"/>
              <a:gd name="connsiteX24" fmla="*/ 196368 w 736968"/>
              <a:gd name="connsiteY24" fmla="*/ 587411 h 614713"/>
              <a:gd name="connsiteX25" fmla="*/ 149168 w 736968"/>
              <a:gd name="connsiteY25" fmla="*/ 559498 h 614713"/>
              <a:gd name="connsiteX26" fmla="*/ 150197 w 736968"/>
              <a:gd name="connsiteY26" fmla="*/ 559057 h 614713"/>
              <a:gd name="connsiteX27" fmla="*/ 153148 w 736968"/>
              <a:gd name="connsiteY27" fmla="*/ 560500 h 614713"/>
              <a:gd name="connsiteX28" fmla="*/ 215727 w 736968"/>
              <a:gd name="connsiteY28" fmla="*/ 567791 h 614713"/>
              <a:gd name="connsiteX29" fmla="*/ 257919 w 736968"/>
              <a:gd name="connsiteY29" fmla="*/ 553190 h 614713"/>
              <a:gd name="connsiteX30" fmla="*/ 287605 w 736968"/>
              <a:gd name="connsiteY30" fmla="*/ 541036 h 614713"/>
              <a:gd name="connsiteX31" fmla="*/ 367185 w 736968"/>
              <a:gd name="connsiteY31" fmla="*/ 539248 h 614713"/>
              <a:gd name="connsiteX32" fmla="*/ 368541 w 736968"/>
              <a:gd name="connsiteY32" fmla="*/ 539485 h 614713"/>
              <a:gd name="connsiteX33" fmla="*/ 369896 w 736968"/>
              <a:gd name="connsiteY33" fmla="*/ 539248 h 614713"/>
              <a:gd name="connsiteX34" fmla="*/ 449476 w 736968"/>
              <a:gd name="connsiteY34" fmla="*/ 541036 h 614713"/>
              <a:gd name="connsiteX35" fmla="*/ 479162 w 736968"/>
              <a:gd name="connsiteY35" fmla="*/ 553190 h 614713"/>
              <a:gd name="connsiteX36" fmla="*/ 521354 w 736968"/>
              <a:gd name="connsiteY36" fmla="*/ 567791 h 614713"/>
              <a:gd name="connsiteX37" fmla="*/ 583936 w 736968"/>
              <a:gd name="connsiteY37" fmla="*/ 560500 h 614713"/>
              <a:gd name="connsiteX38" fmla="*/ 586884 w 736968"/>
              <a:gd name="connsiteY38" fmla="*/ 559057 h 614713"/>
              <a:gd name="connsiteX39" fmla="*/ 649912 w 736968"/>
              <a:gd name="connsiteY39" fmla="*/ 501893 h 614713"/>
              <a:gd name="connsiteX40" fmla="*/ 621647 w 736968"/>
              <a:gd name="connsiteY40" fmla="*/ 516814 h 614713"/>
              <a:gd name="connsiteX41" fmla="*/ 577167 w 736968"/>
              <a:gd name="connsiteY41" fmla="*/ 523465 h 614713"/>
              <a:gd name="connsiteX42" fmla="*/ 519133 w 736968"/>
              <a:gd name="connsiteY42" fmla="*/ 528484 h 614713"/>
              <a:gd name="connsiteX43" fmla="*/ 518822 w 736968"/>
              <a:gd name="connsiteY43" fmla="*/ 528537 h 614713"/>
              <a:gd name="connsiteX44" fmla="*/ 517440 w 736968"/>
              <a:gd name="connsiteY44" fmla="*/ 527801 h 614713"/>
              <a:gd name="connsiteX45" fmla="*/ 517731 w 736968"/>
              <a:gd name="connsiteY45" fmla="*/ 527602 h 614713"/>
              <a:gd name="connsiteX46" fmla="*/ 555603 w 736968"/>
              <a:gd name="connsiteY46" fmla="*/ 491071 h 614713"/>
              <a:gd name="connsiteX47" fmla="*/ 574543 w 736968"/>
              <a:gd name="connsiteY47" fmla="*/ 452957 h 614713"/>
              <a:gd name="connsiteX48" fmla="*/ 574354 w 736968"/>
              <a:gd name="connsiteY48" fmla="*/ 451980 h 614713"/>
              <a:gd name="connsiteX49" fmla="*/ 545381 w 736968"/>
              <a:gd name="connsiteY49" fmla="*/ 476599 h 614713"/>
              <a:gd name="connsiteX50" fmla="*/ 513857 w 736968"/>
              <a:gd name="connsiteY50" fmla="*/ 507120 h 614713"/>
              <a:gd name="connsiteX51" fmla="*/ 464298 w 736968"/>
              <a:gd name="connsiteY51" fmla="*/ 532384 h 614713"/>
              <a:gd name="connsiteX52" fmla="*/ 463611 w 736968"/>
              <a:gd name="connsiteY52" fmla="*/ 532694 h 614713"/>
              <a:gd name="connsiteX53" fmla="*/ 463174 w 736968"/>
              <a:gd name="connsiteY53" fmla="*/ 533478 h 614713"/>
              <a:gd name="connsiteX54" fmla="*/ 463242 w 736968"/>
              <a:gd name="connsiteY54" fmla="*/ 533590 h 614713"/>
              <a:gd name="connsiteX55" fmla="*/ 463637 w 736968"/>
              <a:gd name="connsiteY55" fmla="*/ 533687 h 614713"/>
              <a:gd name="connsiteX56" fmla="*/ 499979 w 736968"/>
              <a:gd name="connsiteY56" fmla="*/ 542145 h 614713"/>
              <a:gd name="connsiteX57" fmla="*/ 546836 w 736968"/>
              <a:gd name="connsiteY57" fmla="*/ 550860 h 614713"/>
              <a:gd name="connsiteX58" fmla="*/ 597470 w 736968"/>
              <a:gd name="connsiteY58" fmla="*/ 544267 h 614713"/>
              <a:gd name="connsiteX59" fmla="*/ 651188 w 736968"/>
              <a:gd name="connsiteY59" fmla="*/ 502082 h 614713"/>
              <a:gd name="connsiteX60" fmla="*/ 651222 w 736968"/>
              <a:gd name="connsiteY60" fmla="*/ 501927 h 614713"/>
              <a:gd name="connsiteX61" fmla="*/ 649912 w 736968"/>
              <a:gd name="connsiteY61" fmla="*/ 501893 h 614713"/>
              <a:gd name="connsiteX62" fmla="*/ 708819 w 736968"/>
              <a:gd name="connsiteY62" fmla="*/ 411663 h 614713"/>
              <a:gd name="connsiteX63" fmla="*/ 675040 w 736968"/>
              <a:gd name="connsiteY63" fmla="*/ 441106 h 614713"/>
              <a:gd name="connsiteX64" fmla="*/ 640345 w 736968"/>
              <a:gd name="connsiteY64" fmla="*/ 460001 h 614713"/>
              <a:gd name="connsiteX65" fmla="*/ 597736 w 736968"/>
              <a:gd name="connsiteY65" fmla="*/ 485005 h 614713"/>
              <a:gd name="connsiteX66" fmla="*/ 595273 w 736968"/>
              <a:gd name="connsiteY66" fmla="*/ 486900 h 614713"/>
              <a:gd name="connsiteX67" fmla="*/ 594851 w 736968"/>
              <a:gd name="connsiteY67" fmla="*/ 486061 h 614713"/>
              <a:gd name="connsiteX68" fmla="*/ 621075 w 736968"/>
              <a:gd name="connsiteY68" fmla="*/ 422571 h 614713"/>
              <a:gd name="connsiteX69" fmla="*/ 628252 w 736968"/>
              <a:gd name="connsiteY69" fmla="*/ 377293 h 614713"/>
              <a:gd name="connsiteX70" fmla="*/ 627951 w 736968"/>
              <a:gd name="connsiteY70" fmla="*/ 376127 h 614713"/>
              <a:gd name="connsiteX71" fmla="*/ 627772 w 736968"/>
              <a:gd name="connsiteY71" fmla="*/ 376213 h 614713"/>
              <a:gd name="connsiteX72" fmla="*/ 595695 w 736968"/>
              <a:gd name="connsiteY72" fmla="*/ 434440 h 614713"/>
              <a:gd name="connsiteX73" fmla="*/ 583824 w 736968"/>
              <a:gd name="connsiteY73" fmla="*/ 468535 h 614713"/>
              <a:gd name="connsiteX74" fmla="*/ 559147 w 736968"/>
              <a:gd name="connsiteY74" fmla="*/ 509968 h 614713"/>
              <a:gd name="connsiteX75" fmla="*/ 558081 w 736968"/>
              <a:gd name="connsiteY75" fmla="*/ 511083 h 614713"/>
              <a:gd name="connsiteX76" fmla="*/ 557887 w 736968"/>
              <a:gd name="connsiteY76" fmla="*/ 511785 h 614713"/>
              <a:gd name="connsiteX77" fmla="*/ 557979 w 736968"/>
              <a:gd name="connsiteY77" fmla="*/ 511901 h 614713"/>
              <a:gd name="connsiteX78" fmla="*/ 561863 w 736968"/>
              <a:gd name="connsiteY78" fmla="*/ 511218 h 614713"/>
              <a:gd name="connsiteX79" fmla="*/ 601334 w 736968"/>
              <a:gd name="connsiteY79" fmla="*/ 503152 h 614713"/>
              <a:gd name="connsiteX80" fmla="*/ 660605 w 736968"/>
              <a:gd name="connsiteY80" fmla="*/ 477953 h 614713"/>
              <a:gd name="connsiteX81" fmla="*/ 703485 w 736968"/>
              <a:gd name="connsiteY81" fmla="*/ 427832 h 614713"/>
              <a:gd name="connsiteX82" fmla="*/ 710046 w 736968"/>
              <a:gd name="connsiteY82" fmla="*/ 411501 h 614713"/>
              <a:gd name="connsiteX83" fmla="*/ 708819 w 736968"/>
              <a:gd name="connsiteY83" fmla="*/ 411663 h 614713"/>
              <a:gd name="connsiteX84" fmla="*/ 734621 w 736968"/>
              <a:gd name="connsiteY84" fmla="*/ 310240 h 614713"/>
              <a:gd name="connsiteX85" fmla="*/ 703698 w 736968"/>
              <a:gd name="connsiteY85" fmla="*/ 358724 h 614713"/>
              <a:gd name="connsiteX86" fmla="*/ 658917 w 736968"/>
              <a:gd name="connsiteY86" fmla="*/ 409606 h 614713"/>
              <a:gd name="connsiteX87" fmla="*/ 658137 w 736968"/>
              <a:gd name="connsiteY87" fmla="*/ 409050 h 614713"/>
              <a:gd name="connsiteX88" fmla="*/ 662297 w 736968"/>
              <a:gd name="connsiteY88" fmla="*/ 351834 h 614713"/>
              <a:gd name="connsiteX89" fmla="*/ 650887 w 736968"/>
              <a:gd name="connsiteY89" fmla="*/ 298261 h 614713"/>
              <a:gd name="connsiteX90" fmla="*/ 650863 w 736968"/>
              <a:gd name="connsiteY90" fmla="*/ 298055 h 614713"/>
              <a:gd name="connsiteX91" fmla="*/ 650029 w 736968"/>
              <a:gd name="connsiteY91" fmla="*/ 297173 h 614713"/>
              <a:gd name="connsiteX92" fmla="*/ 649360 w 736968"/>
              <a:gd name="connsiteY92" fmla="*/ 299049 h 614713"/>
              <a:gd name="connsiteX93" fmla="*/ 641014 w 736968"/>
              <a:gd name="connsiteY93" fmla="*/ 338304 h 614713"/>
              <a:gd name="connsiteX94" fmla="*/ 641873 w 736968"/>
              <a:gd name="connsiteY94" fmla="*/ 391766 h 614713"/>
              <a:gd name="connsiteX95" fmla="*/ 630216 w 736968"/>
              <a:gd name="connsiteY95" fmla="*/ 447310 h 614713"/>
              <a:gd name="connsiteX96" fmla="*/ 630114 w 736968"/>
              <a:gd name="connsiteY96" fmla="*/ 447593 h 614713"/>
              <a:gd name="connsiteX97" fmla="*/ 630424 w 736968"/>
              <a:gd name="connsiteY97" fmla="*/ 448913 h 614713"/>
              <a:gd name="connsiteX98" fmla="*/ 630536 w 736968"/>
              <a:gd name="connsiteY98" fmla="*/ 448870 h 614713"/>
              <a:gd name="connsiteX99" fmla="*/ 670967 w 736968"/>
              <a:gd name="connsiteY99" fmla="*/ 423677 h 614713"/>
              <a:gd name="connsiteX100" fmla="*/ 713615 w 736968"/>
              <a:gd name="connsiteY100" fmla="*/ 382991 h 614713"/>
              <a:gd name="connsiteX101" fmla="*/ 735795 w 736968"/>
              <a:gd name="connsiteY101" fmla="*/ 312194 h 614713"/>
              <a:gd name="connsiteX102" fmla="*/ 735625 w 736968"/>
              <a:gd name="connsiteY102" fmla="*/ 309641 h 614713"/>
              <a:gd name="connsiteX103" fmla="*/ 734621 w 736968"/>
              <a:gd name="connsiteY103" fmla="*/ 310240 h 614713"/>
              <a:gd name="connsiteX104" fmla="*/ 691954 w 736968"/>
              <a:gd name="connsiteY104" fmla="*/ 321158 h 614713"/>
              <a:gd name="connsiteX105" fmla="*/ 691619 w 736968"/>
              <a:gd name="connsiteY105" fmla="*/ 321526 h 614713"/>
              <a:gd name="connsiteX106" fmla="*/ 691023 w 736968"/>
              <a:gd name="connsiteY106" fmla="*/ 321037 h 614713"/>
              <a:gd name="connsiteX107" fmla="*/ 691358 w 736968"/>
              <a:gd name="connsiteY107" fmla="*/ 304773 h 614713"/>
              <a:gd name="connsiteX108" fmla="*/ 668499 w 736968"/>
              <a:gd name="connsiteY108" fmla="*/ 254370 h 614713"/>
              <a:gd name="connsiteX109" fmla="*/ 650329 w 736968"/>
              <a:gd name="connsiteY109" fmla="*/ 222083 h 614713"/>
              <a:gd name="connsiteX110" fmla="*/ 649301 w 736968"/>
              <a:gd name="connsiteY110" fmla="*/ 221620 h 614713"/>
              <a:gd name="connsiteX111" fmla="*/ 649927 w 736968"/>
              <a:gd name="connsiteY111" fmla="*/ 232502 h 614713"/>
              <a:gd name="connsiteX112" fmla="*/ 670332 w 736968"/>
              <a:gd name="connsiteY112" fmla="*/ 311920 h 614713"/>
              <a:gd name="connsiteX113" fmla="*/ 677470 w 736968"/>
              <a:gd name="connsiteY113" fmla="*/ 362134 h 614713"/>
              <a:gd name="connsiteX114" fmla="*/ 677853 w 736968"/>
              <a:gd name="connsiteY114" fmla="*/ 364277 h 614713"/>
              <a:gd name="connsiteX115" fmla="*/ 677930 w 736968"/>
              <a:gd name="connsiteY115" fmla="*/ 364260 h 614713"/>
              <a:gd name="connsiteX116" fmla="*/ 703296 w 736968"/>
              <a:gd name="connsiteY116" fmla="*/ 334140 h 614713"/>
              <a:gd name="connsiteX117" fmla="*/ 731566 w 736968"/>
              <a:gd name="connsiteY117" fmla="*/ 215331 h 614713"/>
              <a:gd name="connsiteX118" fmla="*/ 728463 w 736968"/>
              <a:gd name="connsiteY118" fmla="*/ 207464 h 614713"/>
              <a:gd name="connsiteX119" fmla="*/ 727561 w 736968"/>
              <a:gd name="connsiteY119" fmla="*/ 208467 h 614713"/>
              <a:gd name="connsiteX120" fmla="*/ 696313 w 736968"/>
              <a:gd name="connsiteY120" fmla="*/ 305065 h 614713"/>
              <a:gd name="connsiteX121" fmla="*/ 691954 w 736968"/>
              <a:gd name="connsiteY121" fmla="*/ 321158 h 614713"/>
              <a:gd name="connsiteX122" fmla="*/ 657467 w 736968"/>
              <a:gd name="connsiteY122" fmla="*/ 179092 h 614713"/>
              <a:gd name="connsiteX123" fmla="*/ 633091 w 736968"/>
              <a:gd name="connsiteY123" fmla="*/ 151962 h 614713"/>
              <a:gd name="connsiteX124" fmla="*/ 632946 w 736968"/>
              <a:gd name="connsiteY124" fmla="*/ 151782 h 614713"/>
              <a:gd name="connsiteX125" fmla="*/ 632669 w 736968"/>
              <a:gd name="connsiteY125" fmla="*/ 151568 h 614713"/>
              <a:gd name="connsiteX126" fmla="*/ 631631 w 736968"/>
              <a:gd name="connsiteY126" fmla="*/ 151363 h 614713"/>
              <a:gd name="connsiteX127" fmla="*/ 631117 w 736968"/>
              <a:gd name="connsiteY127" fmla="*/ 151397 h 614713"/>
              <a:gd name="connsiteX128" fmla="*/ 641873 w 736968"/>
              <a:gd name="connsiteY128" fmla="*/ 182854 h 614713"/>
              <a:gd name="connsiteX129" fmla="*/ 666026 w 736968"/>
              <a:gd name="connsiteY129" fmla="*/ 219443 h 614713"/>
              <a:gd name="connsiteX130" fmla="*/ 667941 w 736968"/>
              <a:gd name="connsiteY130" fmla="*/ 221989 h 614713"/>
              <a:gd name="connsiteX131" fmla="*/ 694437 w 736968"/>
              <a:gd name="connsiteY131" fmla="*/ 272340 h 614713"/>
              <a:gd name="connsiteX132" fmla="*/ 695353 w 736968"/>
              <a:gd name="connsiteY132" fmla="*/ 272897 h 614713"/>
              <a:gd name="connsiteX133" fmla="*/ 706589 w 736968"/>
              <a:gd name="connsiteY133" fmla="*/ 237969 h 614713"/>
              <a:gd name="connsiteX134" fmla="*/ 716529 w 736968"/>
              <a:gd name="connsiteY134" fmla="*/ 200335 h 614713"/>
              <a:gd name="connsiteX135" fmla="*/ 693336 w 736968"/>
              <a:gd name="connsiteY135" fmla="*/ 109931 h 614713"/>
              <a:gd name="connsiteX136" fmla="*/ 692846 w 736968"/>
              <a:gd name="connsiteY136" fmla="*/ 110986 h 614713"/>
              <a:gd name="connsiteX137" fmla="*/ 693695 w 736968"/>
              <a:gd name="connsiteY137" fmla="*/ 113762 h 614713"/>
              <a:gd name="connsiteX138" fmla="*/ 694762 w 736968"/>
              <a:gd name="connsiteY138" fmla="*/ 117738 h 614713"/>
              <a:gd name="connsiteX139" fmla="*/ 695557 w 736968"/>
              <a:gd name="connsiteY139" fmla="*/ 167807 h 614713"/>
              <a:gd name="connsiteX140" fmla="*/ 691876 w 736968"/>
              <a:gd name="connsiteY140" fmla="*/ 207627 h 614713"/>
              <a:gd name="connsiteX141" fmla="*/ 693157 w 736968"/>
              <a:gd name="connsiteY141" fmla="*/ 226975 h 614713"/>
              <a:gd name="connsiteX142" fmla="*/ 692177 w 736968"/>
              <a:gd name="connsiteY142" fmla="*/ 226761 h 614713"/>
              <a:gd name="connsiteX143" fmla="*/ 687871 w 736968"/>
              <a:gd name="connsiteY143" fmla="*/ 215605 h 614713"/>
              <a:gd name="connsiteX144" fmla="*/ 685325 w 736968"/>
              <a:gd name="connsiteY144" fmla="*/ 209863 h 614713"/>
              <a:gd name="connsiteX145" fmla="*/ 657467 w 736968"/>
              <a:gd name="connsiteY145" fmla="*/ 179092 h 614713"/>
              <a:gd name="connsiteX146" fmla="*/ 638090 w 736968"/>
              <a:gd name="connsiteY146" fmla="*/ 57360 h 614713"/>
              <a:gd name="connsiteX147" fmla="*/ 651173 w 736968"/>
              <a:gd name="connsiteY147" fmla="*/ 76187 h 614713"/>
              <a:gd name="connsiteX148" fmla="*/ 660571 w 736968"/>
              <a:gd name="connsiteY148" fmla="*/ 117524 h 614713"/>
              <a:gd name="connsiteX149" fmla="*/ 666414 w 736968"/>
              <a:gd name="connsiteY149" fmla="*/ 139820 h 614713"/>
              <a:gd name="connsiteX150" fmla="*/ 665434 w 736968"/>
              <a:gd name="connsiteY150" fmla="*/ 140214 h 614713"/>
              <a:gd name="connsiteX151" fmla="*/ 665221 w 736968"/>
              <a:gd name="connsiteY151" fmla="*/ 139923 h 614713"/>
              <a:gd name="connsiteX152" fmla="*/ 628911 w 736968"/>
              <a:gd name="connsiteY152" fmla="*/ 109914 h 614713"/>
              <a:gd name="connsiteX153" fmla="*/ 605267 w 736968"/>
              <a:gd name="connsiteY153" fmla="*/ 88698 h 614713"/>
              <a:gd name="connsiteX154" fmla="*/ 601635 w 736968"/>
              <a:gd name="connsiteY154" fmla="*/ 83950 h 614713"/>
              <a:gd name="connsiteX155" fmla="*/ 600583 w 736968"/>
              <a:gd name="connsiteY155" fmla="*/ 83650 h 614713"/>
              <a:gd name="connsiteX156" fmla="*/ 600854 w 736968"/>
              <a:gd name="connsiteY156" fmla="*/ 85630 h 614713"/>
              <a:gd name="connsiteX157" fmla="*/ 621657 w 736968"/>
              <a:gd name="connsiteY157" fmla="*/ 126315 h 614713"/>
              <a:gd name="connsiteX158" fmla="*/ 648836 w 736968"/>
              <a:gd name="connsiteY158" fmla="*/ 149169 h 614713"/>
              <a:gd name="connsiteX159" fmla="*/ 680685 w 736968"/>
              <a:gd name="connsiteY159" fmla="*/ 182203 h 614713"/>
              <a:gd name="connsiteX160" fmla="*/ 680859 w 736968"/>
              <a:gd name="connsiteY160" fmla="*/ 182391 h 614713"/>
              <a:gd name="connsiteX161" fmla="*/ 681567 w 736968"/>
              <a:gd name="connsiteY161" fmla="*/ 182597 h 614713"/>
              <a:gd name="connsiteX162" fmla="*/ 681553 w 736968"/>
              <a:gd name="connsiteY162" fmla="*/ 182399 h 614713"/>
              <a:gd name="connsiteX163" fmla="*/ 681567 w 736968"/>
              <a:gd name="connsiteY163" fmla="*/ 182382 h 614713"/>
              <a:gd name="connsiteX164" fmla="*/ 681262 w 736968"/>
              <a:gd name="connsiteY164" fmla="*/ 171783 h 614713"/>
              <a:gd name="connsiteX165" fmla="*/ 682154 w 736968"/>
              <a:gd name="connsiteY165" fmla="*/ 139452 h 614713"/>
              <a:gd name="connsiteX166" fmla="*/ 682435 w 736968"/>
              <a:gd name="connsiteY166" fmla="*/ 128347 h 614713"/>
              <a:gd name="connsiteX167" fmla="*/ 676534 w 736968"/>
              <a:gd name="connsiteY167" fmla="*/ 95964 h 614713"/>
              <a:gd name="connsiteX168" fmla="*/ 641014 w 736968"/>
              <a:gd name="connsiteY168" fmla="*/ 57198 h 614713"/>
              <a:gd name="connsiteX169" fmla="*/ 637887 w 736968"/>
              <a:gd name="connsiteY169" fmla="*/ 56006 h 614713"/>
              <a:gd name="connsiteX170" fmla="*/ 637969 w 736968"/>
              <a:gd name="connsiteY170" fmla="*/ 57206 h 614713"/>
              <a:gd name="connsiteX171" fmla="*/ 638090 w 736968"/>
              <a:gd name="connsiteY171" fmla="*/ 57360 h 614713"/>
              <a:gd name="connsiteX172" fmla="*/ 568632 w 736968"/>
              <a:gd name="connsiteY172" fmla="*/ 25321 h 614713"/>
              <a:gd name="connsiteX173" fmla="*/ 593421 w 736968"/>
              <a:gd name="connsiteY173" fmla="*/ 54833 h 614713"/>
              <a:gd name="connsiteX174" fmla="*/ 616827 w 736968"/>
              <a:gd name="connsiteY174" fmla="*/ 83702 h 614713"/>
              <a:gd name="connsiteX175" fmla="*/ 645956 w 736968"/>
              <a:gd name="connsiteY175" fmla="*/ 107764 h 614713"/>
              <a:gd name="connsiteX176" fmla="*/ 646154 w 736968"/>
              <a:gd name="connsiteY176" fmla="*/ 107918 h 614713"/>
              <a:gd name="connsiteX177" fmla="*/ 646538 w 736968"/>
              <a:gd name="connsiteY177" fmla="*/ 107892 h 614713"/>
              <a:gd name="connsiteX178" fmla="*/ 646504 w 736968"/>
              <a:gd name="connsiteY178" fmla="*/ 107686 h 614713"/>
              <a:gd name="connsiteX179" fmla="*/ 613181 w 736968"/>
              <a:gd name="connsiteY179" fmla="*/ 44936 h 614713"/>
              <a:gd name="connsiteX180" fmla="*/ 566314 w 736968"/>
              <a:gd name="connsiteY180" fmla="*/ 22288 h 614713"/>
              <a:gd name="connsiteX181" fmla="*/ 566436 w 736968"/>
              <a:gd name="connsiteY181" fmla="*/ 23419 h 614713"/>
              <a:gd name="connsiteX182" fmla="*/ 568632 w 736968"/>
              <a:gd name="connsiteY182" fmla="*/ 25321 h 614713"/>
              <a:gd name="connsiteX183" fmla="*/ 190133 w 736968"/>
              <a:gd name="connsiteY183" fmla="*/ 550860 h 614713"/>
              <a:gd name="connsiteX184" fmla="*/ 236991 w 736968"/>
              <a:gd name="connsiteY184" fmla="*/ 542145 h 614713"/>
              <a:gd name="connsiteX185" fmla="*/ 273332 w 736968"/>
              <a:gd name="connsiteY185" fmla="*/ 533687 h 614713"/>
              <a:gd name="connsiteX186" fmla="*/ 273727 w 736968"/>
              <a:gd name="connsiteY186" fmla="*/ 533590 h 614713"/>
              <a:gd name="connsiteX187" fmla="*/ 273796 w 736968"/>
              <a:gd name="connsiteY187" fmla="*/ 533478 h 614713"/>
              <a:gd name="connsiteX188" fmla="*/ 273358 w 736968"/>
              <a:gd name="connsiteY188" fmla="*/ 532694 h 614713"/>
              <a:gd name="connsiteX189" fmla="*/ 272663 w 736968"/>
              <a:gd name="connsiteY189" fmla="*/ 532384 h 614713"/>
              <a:gd name="connsiteX190" fmla="*/ 223112 w 736968"/>
              <a:gd name="connsiteY190" fmla="*/ 507120 h 614713"/>
              <a:gd name="connsiteX191" fmla="*/ 191591 w 736968"/>
              <a:gd name="connsiteY191" fmla="*/ 476599 h 614713"/>
              <a:gd name="connsiteX192" fmla="*/ 162617 w 736968"/>
              <a:gd name="connsiteY192" fmla="*/ 451972 h 614713"/>
              <a:gd name="connsiteX193" fmla="*/ 162428 w 736968"/>
              <a:gd name="connsiteY193" fmla="*/ 452957 h 614713"/>
              <a:gd name="connsiteX194" fmla="*/ 181367 w 736968"/>
              <a:gd name="connsiteY194" fmla="*/ 491071 h 614713"/>
              <a:gd name="connsiteX195" fmla="*/ 219235 w 736968"/>
              <a:gd name="connsiteY195" fmla="*/ 527602 h 614713"/>
              <a:gd name="connsiteX196" fmla="*/ 219527 w 736968"/>
              <a:gd name="connsiteY196" fmla="*/ 527801 h 614713"/>
              <a:gd name="connsiteX197" fmla="*/ 218146 w 736968"/>
              <a:gd name="connsiteY197" fmla="*/ 528537 h 614713"/>
              <a:gd name="connsiteX198" fmla="*/ 217837 w 736968"/>
              <a:gd name="connsiteY198" fmla="*/ 528484 h 614713"/>
              <a:gd name="connsiteX199" fmla="*/ 159803 w 736968"/>
              <a:gd name="connsiteY199" fmla="*/ 523465 h 614713"/>
              <a:gd name="connsiteX200" fmla="*/ 115321 w 736968"/>
              <a:gd name="connsiteY200" fmla="*/ 516814 h 614713"/>
              <a:gd name="connsiteX201" fmla="*/ 87059 w 736968"/>
              <a:gd name="connsiteY201" fmla="*/ 501893 h 614713"/>
              <a:gd name="connsiteX202" fmla="*/ 85747 w 736968"/>
              <a:gd name="connsiteY202" fmla="*/ 501927 h 614713"/>
              <a:gd name="connsiteX203" fmla="*/ 85782 w 736968"/>
              <a:gd name="connsiteY203" fmla="*/ 502082 h 614713"/>
              <a:gd name="connsiteX204" fmla="*/ 139501 w 736968"/>
              <a:gd name="connsiteY204" fmla="*/ 544267 h 614713"/>
              <a:gd name="connsiteX205" fmla="*/ 190133 w 736968"/>
              <a:gd name="connsiteY205" fmla="*/ 550860 h 614713"/>
              <a:gd name="connsiteX206" fmla="*/ 175105 w 736968"/>
              <a:gd name="connsiteY206" fmla="*/ 511218 h 614713"/>
              <a:gd name="connsiteX207" fmla="*/ 178991 w 736968"/>
              <a:gd name="connsiteY207" fmla="*/ 511901 h 614713"/>
              <a:gd name="connsiteX208" fmla="*/ 179085 w 736968"/>
              <a:gd name="connsiteY208" fmla="*/ 511775 h 614713"/>
              <a:gd name="connsiteX209" fmla="*/ 178887 w 736968"/>
              <a:gd name="connsiteY209" fmla="*/ 511078 h 614713"/>
              <a:gd name="connsiteX210" fmla="*/ 177816 w 736968"/>
              <a:gd name="connsiteY210" fmla="*/ 509968 h 614713"/>
              <a:gd name="connsiteX211" fmla="*/ 153148 w 736968"/>
              <a:gd name="connsiteY211" fmla="*/ 468535 h 614713"/>
              <a:gd name="connsiteX212" fmla="*/ 141276 w 736968"/>
              <a:gd name="connsiteY212" fmla="*/ 434439 h 614713"/>
              <a:gd name="connsiteX213" fmla="*/ 109197 w 736968"/>
              <a:gd name="connsiteY213" fmla="*/ 376213 h 614713"/>
              <a:gd name="connsiteX214" fmla="*/ 109017 w 736968"/>
              <a:gd name="connsiteY214" fmla="*/ 376127 h 614713"/>
              <a:gd name="connsiteX215" fmla="*/ 108717 w 736968"/>
              <a:gd name="connsiteY215" fmla="*/ 377284 h 614713"/>
              <a:gd name="connsiteX216" fmla="*/ 115896 w 736968"/>
              <a:gd name="connsiteY216" fmla="*/ 422571 h 614713"/>
              <a:gd name="connsiteX217" fmla="*/ 142117 w 736968"/>
              <a:gd name="connsiteY217" fmla="*/ 486061 h 614713"/>
              <a:gd name="connsiteX218" fmla="*/ 141697 w 736968"/>
              <a:gd name="connsiteY218" fmla="*/ 486900 h 614713"/>
              <a:gd name="connsiteX219" fmla="*/ 139235 w 736968"/>
              <a:gd name="connsiteY219" fmla="*/ 485005 h 614713"/>
              <a:gd name="connsiteX220" fmla="*/ 96623 w 736968"/>
              <a:gd name="connsiteY220" fmla="*/ 460001 h 614713"/>
              <a:gd name="connsiteX221" fmla="*/ 61928 w 736968"/>
              <a:gd name="connsiteY221" fmla="*/ 441106 h 614713"/>
              <a:gd name="connsiteX222" fmla="*/ 28142 w 736968"/>
              <a:gd name="connsiteY222" fmla="*/ 411663 h 614713"/>
              <a:gd name="connsiteX223" fmla="*/ 26924 w 736968"/>
              <a:gd name="connsiteY223" fmla="*/ 411500 h 614713"/>
              <a:gd name="connsiteX224" fmla="*/ 33486 w 736968"/>
              <a:gd name="connsiteY224" fmla="*/ 427832 h 614713"/>
              <a:gd name="connsiteX225" fmla="*/ 76363 w 736968"/>
              <a:gd name="connsiteY225" fmla="*/ 477953 h 614713"/>
              <a:gd name="connsiteX226" fmla="*/ 135633 w 736968"/>
              <a:gd name="connsiteY226" fmla="*/ 503152 h 614713"/>
              <a:gd name="connsiteX227" fmla="*/ 175105 w 736968"/>
              <a:gd name="connsiteY227" fmla="*/ 511218 h 614713"/>
              <a:gd name="connsiteX228" fmla="*/ 66002 w 736968"/>
              <a:gd name="connsiteY228" fmla="*/ 423677 h 614713"/>
              <a:gd name="connsiteX229" fmla="*/ 106435 w 736968"/>
              <a:gd name="connsiteY229" fmla="*/ 448870 h 614713"/>
              <a:gd name="connsiteX230" fmla="*/ 106547 w 736968"/>
              <a:gd name="connsiteY230" fmla="*/ 448912 h 614713"/>
              <a:gd name="connsiteX231" fmla="*/ 106856 w 736968"/>
              <a:gd name="connsiteY231" fmla="*/ 447593 h 614713"/>
              <a:gd name="connsiteX232" fmla="*/ 106752 w 736968"/>
              <a:gd name="connsiteY232" fmla="*/ 447310 h 614713"/>
              <a:gd name="connsiteX233" fmla="*/ 95096 w 736968"/>
              <a:gd name="connsiteY233" fmla="*/ 391766 h 614713"/>
              <a:gd name="connsiteX234" fmla="*/ 95954 w 736968"/>
              <a:gd name="connsiteY234" fmla="*/ 338304 h 614713"/>
              <a:gd name="connsiteX235" fmla="*/ 87608 w 736968"/>
              <a:gd name="connsiteY235" fmla="*/ 299049 h 614713"/>
              <a:gd name="connsiteX236" fmla="*/ 86939 w 736968"/>
              <a:gd name="connsiteY236" fmla="*/ 297173 h 614713"/>
              <a:gd name="connsiteX237" fmla="*/ 86107 w 736968"/>
              <a:gd name="connsiteY237" fmla="*/ 298055 h 614713"/>
              <a:gd name="connsiteX238" fmla="*/ 86081 w 736968"/>
              <a:gd name="connsiteY238" fmla="*/ 298261 h 614713"/>
              <a:gd name="connsiteX239" fmla="*/ 74674 w 736968"/>
              <a:gd name="connsiteY239" fmla="*/ 351834 h 614713"/>
              <a:gd name="connsiteX240" fmla="*/ 78834 w 736968"/>
              <a:gd name="connsiteY240" fmla="*/ 409050 h 614713"/>
              <a:gd name="connsiteX241" fmla="*/ 78053 w 736968"/>
              <a:gd name="connsiteY241" fmla="*/ 409606 h 614713"/>
              <a:gd name="connsiteX242" fmla="*/ 33271 w 736968"/>
              <a:gd name="connsiteY242" fmla="*/ 358724 h 614713"/>
              <a:gd name="connsiteX243" fmla="*/ 2350 w 736968"/>
              <a:gd name="connsiteY243" fmla="*/ 310240 h 614713"/>
              <a:gd name="connsiteX244" fmla="*/ 1355 w 736968"/>
              <a:gd name="connsiteY244" fmla="*/ 309641 h 614713"/>
              <a:gd name="connsiteX245" fmla="*/ 1174 w 736968"/>
              <a:gd name="connsiteY245" fmla="*/ 312194 h 614713"/>
              <a:gd name="connsiteX246" fmla="*/ 23356 w 736968"/>
              <a:gd name="connsiteY246" fmla="*/ 382991 h 614713"/>
              <a:gd name="connsiteX247" fmla="*/ 66002 w 736968"/>
              <a:gd name="connsiteY247" fmla="*/ 423677 h 614713"/>
              <a:gd name="connsiteX248" fmla="*/ 59037 w 736968"/>
              <a:gd name="connsiteY248" fmla="*/ 364260 h 614713"/>
              <a:gd name="connsiteX249" fmla="*/ 59115 w 736968"/>
              <a:gd name="connsiteY249" fmla="*/ 364285 h 614713"/>
              <a:gd name="connsiteX250" fmla="*/ 59501 w 736968"/>
              <a:gd name="connsiteY250" fmla="*/ 362134 h 614713"/>
              <a:gd name="connsiteX251" fmla="*/ 66637 w 736968"/>
              <a:gd name="connsiteY251" fmla="*/ 311920 h 614713"/>
              <a:gd name="connsiteX252" fmla="*/ 87042 w 736968"/>
              <a:gd name="connsiteY252" fmla="*/ 232511 h 614713"/>
              <a:gd name="connsiteX253" fmla="*/ 87668 w 736968"/>
              <a:gd name="connsiteY253" fmla="*/ 221620 h 614713"/>
              <a:gd name="connsiteX254" fmla="*/ 86639 w 736968"/>
              <a:gd name="connsiteY254" fmla="*/ 222091 h 614713"/>
              <a:gd name="connsiteX255" fmla="*/ 68472 w 736968"/>
              <a:gd name="connsiteY255" fmla="*/ 254370 h 614713"/>
              <a:gd name="connsiteX256" fmla="*/ 45614 w 736968"/>
              <a:gd name="connsiteY256" fmla="*/ 304773 h 614713"/>
              <a:gd name="connsiteX257" fmla="*/ 45948 w 736968"/>
              <a:gd name="connsiteY257" fmla="*/ 321037 h 614713"/>
              <a:gd name="connsiteX258" fmla="*/ 45348 w 736968"/>
              <a:gd name="connsiteY258" fmla="*/ 321526 h 614713"/>
              <a:gd name="connsiteX259" fmla="*/ 45014 w 736968"/>
              <a:gd name="connsiteY259" fmla="*/ 321158 h 614713"/>
              <a:gd name="connsiteX260" fmla="*/ 40648 w 736968"/>
              <a:gd name="connsiteY260" fmla="*/ 305065 h 614713"/>
              <a:gd name="connsiteX261" fmla="*/ 9409 w 736968"/>
              <a:gd name="connsiteY261" fmla="*/ 208467 h 614713"/>
              <a:gd name="connsiteX262" fmla="*/ 8509 w 736968"/>
              <a:gd name="connsiteY262" fmla="*/ 207464 h 614713"/>
              <a:gd name="connsiteX263" fmla="*/ 5403 w 736968"/>
              <a:gd name="connsiteY263" fmla="*/ 215331 h 614713"/>
              <a:gd name="connsiteX264" fmla="*/ 33666 w 736968"/>
              <a:gd name="connsiteY264" fmla="*/ 334140 h 614713"/>
              <a:gd name="connsiteX265" fmla="*/ 59037 w 736968"/>
              <a:gd name="connsiteY265" fmla="*/ 364260 h 614713"/>
              <a:gd name="connsiteX266" fmla="*/ 30372 w 736968"/>
              <a:gd name="connsiteY266" fmla="*/ 237961 h 614713"/>
              <a:gd name="connsiteX267" fmla="*/ 41617 w 736968"/>
              <a:gd name="connsiteY267" fmla="*/ 272905 h 614713"/>
              <a:gd name="connsiteX268" fmla="*/ 42535 w 736968"/>
              <a:gd name="connsiteY268" fmla="*/ 272340 h 614713"/>
              <a:gd name="connsiteX269" fmla="*/ 69030 w 736968"/>
              <a:gd name="connsiteY269" fmla="*/ 221988 h 614713"/>
              <a:gd name="connsiteX270" fmla="*/ 70943 w 736968"/>
              <a:gd name="connsiteY270" fmla="*/ 219443 h 614713"/>
              <a:gd name="connsiteX271" fmla="*/ 95096 w 736968"/>
              <a:gd name="connsiteY271" fmla="*/ 182853 h 614713"/>
              <a:gd name="connsiteX272" fmla="*/ 105861 w 736968"/>
              <a:gd name="connsiteY272" fmla="*/ 151397 h 614713"/>
              <a:gd name="connsiteX273" fmla="*/ 105338 w 736968"/>
              <a:gd name="connsiteY273" fmla="*/ 151354 h 614713"/>
              <a:gd name="connsiteX274" fmla="*/ 104300 w 736968"/>
              <a:gd name="connsiteY274" fmla="*/ 151568 h 614713"/>
              <a:gd name="connsiteX275" fmla="*/ 104025 w 736968"/>
              <a:gd name="connsiteY275" fmla="*/ 151782 h 614713"/>
              <a:gd name="connsiteX276" fmla="*/ 103879 w 736968"/>
              <a:gd name="connsiteY276" fmla="*/ 151962 h 614713"/>
              <a:gd name="connsiteX277" fmla="*/ 79503 w 736968"/>
              <a:gd name="connsiteY277" fmla="*/ 179092 h 614713"/>
              <a:gd name="connsiteX278" fmla="*/ 51644 w 736968"/>
              <a:gd name="connsiteY278" fmla="*/ 209863 h 614713"/>
              <a:gd name="connsiteX279" fmla="*/ 49096 w 736968"/>
              <a:gd name="connsiteY279" fmla="*/ 215596 h 614713"/>
              <a:gd name="connsiteX280" fmla="*/ 44790 w 736968"/>
              <a:gd name="connsiteY280" fmla="*/ 226761 h 614713"/>
              <a:gd name="connsiteX281" fmla="*/ 43804 w 736968"/>
              <a:gd name="connsiteY281" fmla="*/ 226975 h 614713"/>
              <a:gd name="connsiteX282" fmla="*/ 45099 w 736968"/>
              <a:gd name="connsiteY282" fmla="*/ 207627 h 614713"/>
              <a:gd name="connsiteX283" fmla="*/ 41411 w 736968"/>
              <a:gd name="connsiteY283" fmla="*/ 167807 h 614713"/>
              <a:gd name="connsiteX284" fmla="*/ 42200 w 736968"/>
              <a:gd name="connsiteY284" fmla="*/ 117729 h 614713"/>
              <a:gd name="connsiteX285" fmla="*/ 43272 w 736968"/>
              <a:gd name="connsiteY285" fmla="*/ 113762 h 614713"/>
              <a:gd name="connsiteX286" fmla="*/ 44121 w 736968"/>
              <a:gd name="connsiteY286" fmla="*/ 110986 h 614713"/>
              <a:gd name="connsiteX287" fmla="*/ 43632 w 736968"/>
              <a:gd name="connsiteY287" fmla="*/ 109931 h 614713"/>
              <a:gd name="connsiteX288" fmla="*/ 20440 w 736968"/>
              <a:gd name="connsiteY288" fmla="*/ 200335 h 614713"/>
              <a:gd name="connsiteX289" fmla="*/ 30372 w 736968"/>
              <a:gd name="connsiteY289" fmla="*/ 237961 h 614713"/>
              <a:gd name="connsiteX290" fmla="*/ 55709 w 736968"/>
              <a:gd name="connsiteY290" fmla="*/ 171783 h 614713"/>
              <a:gd name="connsiteX291" fmla="*/ 55401 w 736968"/>
              <a:gd name="connsiteY291" fmla="*/ 182382 h 614713"/>
              <a:gd name="connsiteX292" fmla="*/ 55418 w 736968"/>
              <a:gd name="connsiteY292" fmla="*/ 182399 h 614713"/>
              <a:gd name="connsiteX293" fmla="*/ 55401 w 736968"/>
              <a:gd name="connsiteY293" fmla="*/ 182597 h 614713"/>
              <a:gd name="connsiteX294" fmla="*/ 56113 w 736968"/>
              <a:gd name="connsiteY294" fmla="*/ 182391 h 614713"/>
              <a:gd name="connsiteX295" fmla="*/ 56284 w 736968"/>
              <a:gd name="connsiteY295" fmla="*/ 182203 h 614713"/>
              <a:gd name="connsiteX296" fmla="*/ 88132 w 736968"/>
              <a:gd name="connsiteY296" fmla="*/ 149169 h 614713"/>
              <a:gd name="connsiteX297" fmla="*/ 115313 w 736968"/>
              <a:gd name="connsiteY297" fmla="*/ 126315 h 614713"/>
              <a:gd name="connsiteX298" fmla="*/ 136113 w 736968"/>
              <a:gd name="connsiteY298" fmla="*/ 85630 h 614713"/>
              <a:gd name="connsiteX299" fmla="*/ 136387 w 736968"/>
              <a:gd name="connsiteY299" fmla="*/ 83650 h 614713"/>
              <a:gd name="connsiteX300" fmla="*/ 135332 w 736968"/>
              <a:gd name="connsiteY300" fmla="*/ 83950 h 614713"/>
              <a:gd name="connsiteX301" fmla="*/ 131713 w 736968"/>
              <a:gd name="connsiteY301" fmla="*/ 88698 h 614713"/>
              <a:gd name="connsiteX302" fmla="*/ 108056 w 736968"/>
              <a:gd name="connsiteY302" fmla="*/ 109914 h 614713"/>
              <a:gd name="connsiteX303" fmla="*/ 71748 w 736968"/>
              <a:gd name="connsiteY303" fmla="*/ 139923 h 614713"/>
              <a:gd name="connsiteX304" fmla="*/ 71534 w 736968"/>
              <a:gd name="connsiteY304" fmla="*/ 140214 h 614713"/>
              <a:gd name="connsiteX305" fmla="*/ 70557 w 736968"/>
              <a:gd name="connsiteY305" fmla="*/ 139820 h 614713"/>
              <a:gd name="connsiteX306" fmla="*/ 76397 w 736968"/>
              <a:gd name="connsiteY306" fmla="*/ 117524 h 614713"/>
              <a:gd name="connsiteX307" fmla="*/ 85799 w 736968"/>
              <a:gd name="connsiteY307" fmla="*/ 76187 h 614713"/>
              <a:gd name="connsiteX308" fmla="*/ 98870 w 736968"/>
              <a:gd name="connsiteY308" fmla="*/ 57360 h 614713"/>
              <a:gd name="connsiteX309" fmla="*/ 99008 w 736968"/>
              <a:gd name="connsiteY309" fmla="*/ 57207 h 614713"/>
              <a:gd name="connsiteX310" fmla="*/ 99085 w 736968"/>
              <a:gd name="connsiteY310" fmla="*/ 56016 h 614713"/>
              <a:gd name="connsiteX311" fmla="*/ 95954 w 736968"/>
              <a:gd name="connsiteY311" fmla="*/ 57198 h 614713"/>
              <a:gd name="connsiteX312" fmla="*/ 60436 w 736968"/>
              <a:gd name="connsiteY312" fmla="*/ 95964 h 614713"/>
              <a:gd name="connsiteX313" fmla="*/ 54534 w 736968"/>
              <a:gd name="connsiteY313" fmla="*/ 128347 h 614713"/>
              <a:gd name="connsiteX314" fmla="*/ 54817 w 736968"/>
              <a:gd name="connsiteY314" fmla="*/ 139452 h 614713"/>
              <a:gd name="connsiteX315" fmla="*/ 55709 w 736968"/>
              <a:gd name="connsiteY315" fmla="*/ 171783 h 614713"/>
              <a:gd name="connsiteX316" fmla="*/ 90430 w 736968"/>
              <a:gd name="connsiteY316" fmla="*/ 107892 h 614713"/>
              <a:gd name="connsiteX317" fmla="*/ 90816 w 736968"/>
              <a:gd name="connsiteY317" fmla="*/ 107918 h 614713"/>
              <a:gd name="connsiteX318" fmla="*/ 91014 w 736968"/>
              <a:gd name="connsiteY318" fmla="*/ 107764 h 614713"/>
              <a:gd name="connsiteX319" fmla="*/ 120142 w 736968"/>
              <a:gd name="connsiteY319" fmla="*/ 83702 h 614713"/>
              <a:gd name="connsiteX320" fmla="*/ 143550 w 736968"/>
              <a:gd name="connsiteY320" fmla="*/ 54833 h 614713"/>
              <a:gd name="connsiteX321" fmla="*/ 168338 w 736968"/>
              <a:gd name="connsiteY321" fmla="*/ 25321 h 614713"/>
              <a:gd name="connsiteX322" fmla="*/ 170533 w 736968"/>
              <a:gd name="connsiteY322" fmla="*/ 23410 h 614713"/>
              <a:gd name="connsiteX323" fmla="*/ 170654 w 736968"/>
              <a:gd name="connsiteY323" fmla="*/ 22288 h 614713"/>
              <a:gd name="connsiteX324" fmla="*/ 123788 w 736968"/>
              <a:gd name="connsiteY324" fmla="*/ 44936 h 614713"/>
              <a:gd name="connsiteX325" fmla="*/ 90465 w 736968"/>
              <a:gd name="connsiteY325" fmla="*/ 107686 h 614713"/>
              <a:gd name="connsiteX326" fmla="*/ 90430 w 736968"/>
              <a:gd name="connsiteY326" fmla="*/ 107892 h 614713"/>
              <a:gd name="connsiteX327" fmla="*/ 361962 w 736968"/>
              <a:gd name="connsiteY327" fmla="*/ 317499 h 614713"/>
              <a:gd name="connsiteX328" fmla="*/ 357913 w 736968"/>
              <a:gd name="connsiteY328" fmla="*/ 317798 h 614713"/>
              <a:gd name="connsiteX329" fmla="*/ 361962 w 736968"/>
              <a:gd name="connsiteY329" fmla="*/ 317499 h 614713"/>
              <a:gd name="connsiteX330" fmla="*/ 413348 w 736968"/>
              <a:gd name="connsiteY330" fmla="*/ 198801 h 614713"/>
              <a:gd name="connsiteX331" fmla="*/ 405209 w 736968"/>
              <a:gd name="connsiteY331" fmla="*/ 208483 h 614713"/>
              <a:gd name="connsiteX332" fmla="*/ 413348 w 736968"/>
              <a:gd name="connsiteY332" fmla="*/ 198801 h 614713"/>
              <a:gd name="connsiteX333" fmla="*/ 414961 w 736968"/>
              <a:gd name="connsiteY333" fmla="*/ 197181 h 614713"/>
              <a:gd name="connsiteX334" fmla="*/ 420150 w 736968"/>
              <a:gd name="connsiteY334" fmla="*/ 194336 h 614713"/>
              <a:gd name="connsiteX335" fmla="*/ 413254 w 736968"/>
              <a:gd name="connsiteY335" fmla="*/ 192545 h 614713"/>
              <a:gd name="connsiteX336" fmla="*/ 414961 w 736968"/>
              <a:gd name="connsiteY336" fmla="*/ 197181 h 614713"/>
              <a:gd name="connsiteX337" fmla="*/ 505468 w 736968"/>
              <a:gd name="connsiteY337" fmla="*/ 276444 h 614713"/>
              <a:gd name="connsiteX338" fmla="*/ 501274 w 736968"/>
              <a:gd name="connsiteY338" fmla="*/ 280001 h 614713"/>
              <a:gd name="connsiteX339" fmla="*/ 505633 w 736968"/>
              <a:gd name="connsiteY339" fmla="*/ 281003 h 614713"/>
              <a:gd name="connsiteX340" fmla="*/ 505468 w 736968"/>
              <a:gd name="connsiteY340" fmla="*/ 276444 h 614713"/>
              <a:gd name="connsiteX341" fmla="*/ 472669 w 736968"/>
              <a:gd name="connsiteY341" fmla="*/ 191097 h 614713"/>
              <a:gd name="connsiteX342" fmla="*/ 472077 w 736968"/>
              <a:gd name="connsiteY342" fmla="*/ 194362 h 614713"/>
              <a:gd name="connsiteX343" fmla="*/ 477018 w 736968"/>
              <a:gd name="connsiteY343" fmla="*/ 193599 h 614713"/>
              <a:gd name="connsiteX344" fmla="*/ 479642 w 736968"/>
              <a:gd name="connsiteY344" fmla="*/ 189640 h 614713"/>
              <a:gd name="connsiteX345" fmla="*/ 478081 w 736968"/>
              <a:gd name="connsiteY345" fmla="*/ 183505 h 614713"/>
              <a:gd name="connsiteX346" fmla="*/ 483004 w 736968"/>
              <a:gd name="connsiteY346" fmla="*/ 183693 h 614713"/>
              <a:gd name="connsiteX347" fmla="*/ 484849 w 736968"/>
              <a:gd name="connsiteY347" fmla="*/ 180138 h 614713"/>
              <a:gd name="connsiteX348" fmla="*/ 481315 w 736968"/>
              <a:gd name="connsiteY348" fmla="*/ 174782 h 614713"/>
              <a:gd name="connsiteX349" fmla="*/ 475688 w 736968"/>
              <a:gd name="connsiteY349" fmla="*/ 180454 h 614713"/>
              <a:gd name="connsiteX350" fmla="*/ 475722 w 736968"/>
              <a:gd name="connsiteY350" fmla="*/ 184979 h 614713"/>
              <a:gd name="connsiteX351" fmla="*/ 472669 w 736968"/>
              <a:gd name="connsiteY351" fmla="*/ 191097 h 614713"/>
              <a:gd name="connsiteX352" fmla="*/ 517125 w 736968"/>
              <a:gd name="connsiteY352" fmla="*/ 191466 h 614713"/>
              <a:gd name="connsiteX353" fmla="*/ 520995 w 736968"/>
              <a:gd name="connsiteY353" fmla="*/ 203625 h 614713"/>
              <a:gd name="connsiteX354" fmla="*/ 523977 w 736968"/>
              <a:gd name="connsiteY354" fmla="*/ 212254 h 614713"/>
              <a:gd name="connsiteX355" fmla="*/ 524801 w 736968"/>
              <a:gd name="connsiteY355" fmla="*/ 205836 h 614713"/>
              <a:gd name="connsiteX356" fmla="*/ 521252 w 736968"/>
              <a:gd name="connsiteY356" fmla="*/ 191268 h 614713"/>
              <a:gd name="connsiteX357" fmla="*/ 514793 w 736968"/>
              <a:gd name="connsiteY357" fmla="*/ 179177 h 614713"/>
              <a:gd name="connsiteX358" fmla="*/ 517324 w 736968"/>
              <a:gd name="connsiteY358" fmla="*/ 188261 h 614713"/>
              <a:gd name="connsiteX359" fmla="*/ 517125 w 736968"/>
              <a:gd name="connsiteY359" fmla="*/ 191466 h 614713"/>
              <a:gd name="connsiteX360" fmla="*/ 493631 w 736968"/>
              <a:gd name="connsiteY360" fmla="*/ 76958 h 614713"/>
              <a:gd name="connsiteX361" fmla="*/ 492089 w 736968"/>
              <a:gd name="connsiteY361" fmla="*/ 70668 h 614713"/>
              <a:gd name="connsiteX362" fmla="*/ 484780 w 736968"/>
              <a:gd name="connsiteY362" fmla="*/ 70609 h 614713"/>
              <a:gd name="connsiteX363" fmla="*/ 493631 w 736968"/>
              <a:gd name="connsiteY363" fmla="*/ 76958 h 614713"/>
              <a:gd name="connsiteX364" fmla="*/ 392480 w 736968"/>
              <a:gd name="connsiteY364" fmla="*/ 47935 h 614713"/>
              <a:gd name="connsiteX365" fmla="*/ 388234 w 736968"/>
              <a:gd name="connsiteY365" fmla="*/ 38527 h 614713"/>
              <a:gd name="connsiteX366" fmla="*/ 377126 w 736968"/>
              <a:gd name="connsiteY366" fmla="*/ 40703 h 614713"/>
              <a:gd name="connsiteX367" fmla="*/ 383440 w 736968"/>
              <a:gd name="connsiteY367" fmla="*/ 44370 h 614713"/>
              <a:gd name="connsiteX368" fmla="*/ 393183 w 736968"/>
              <a:gd name="connsiteY368" fmla="*/ 49649 h 614713"/>
              <a:gd name="connsiteX369" fmla="*/ 392480 w 736968"/>
              <a:gd name="connsiteY369" fmla="*/ 47935 h 614713"/>
              <a:gd name="connsiteX370" fmla="*/ 419275 w 736968"/>
              <a:gd name="connsiteY370" fmla="*/ 34465 h 614713"/>
              <a:gd name="connsiteX371" fmla="*/ 391570 w 736968"/>
              <a:gd name="connsiteY371" fmla="*/ 37686 h 614713"/>
              <a:gd name="connsiteX372" fmla="*/ 407696 w 736968"/>
              <a:gd name="connsiteY372" fmla="*/ 37712 h 614713"/>
              <a:gd name="connsiteX373" fmla="*/ 419275 w 736968"/>
              <a:gd name="connsiteY373" fmla="*/ 34465 h 614713"/>
              <a:gd name="connsiteX374" fmla="*/ 353873 w 736968"/>
              <a:gd name="connsiteY374" fmla="*/ 294294 h 614713"/>
              <a:gd name="connsiteX375" fmla="*/ 352124 w 736968"/>
              <a:gd name="connsiteY375" fmla="*/ 294388 h 614713"/>
              <a:gd name="connsiteX376" fmla="*/ 352535 w 736968"/>
              <a:gd name="connsiteY376" fmla="*/ 297721 h 614713"/>
              <a:gd name="connsiteX377" fmla="*/ 358068 w 736968"/>
              <a:gd name="connsiteY377" fmla="*/ 297790 h 614713"/>
              <a:gd name="connsiteX378" fmla="*/ 357750 w 736968"/>
              <a:gd name="connsiteY378" fmla="*/ 294911 h 614713"/>
              <a:gd name="connsiteX379" fmla="*/ 353873 w 736968"/>
              <a:gd name="connsiteY379" fmla="*/ 294294 h 614713"/>
              <a:gd name="connsiteX380" fmla="*/ 345262 w 736968"/>
              <a:gd name="connsiteY380" fmla="*/ 249872 h 614713"/>
              <a:gd name="connsiteX381" fmla="*/ 348109 w 736968"/>
              <a:gd name="connsiteY381" fmla="*/ 248544 h 614713"/>
              <a:gd name="connsiteX382" fmla="*/ 350176 w 736968"/>
              <a:gd name="connsiteY382" fmla="*/ 249941 h 614713"/>
              <a:gd name="connsiteX383" fmla="*/ 348015 w 736968"/>
              <a:gd name="connsiteY383" fmla="*/ 245168 h 614713"/>
              <a:gd name="connsiteX384" fmla="*/ 345262 w 736968"/>
              <a:gd name="connsiteY384" fmla="*/ 249871 h 614713"/>
              <a:gd name="connsiteX385" fmla="*/ 352998 w 736968"/>
              <a:gd name="connsiteY385" fmla="*/ 254807 h 614713"/>
              <a:gd name="connsiteX386" fmla="*/ 347775 w 736968"/>
              <a:gd name="connsiteY386" fmla="*/ 256213 h 614713"/>
              <a:gd name="connsiteX387" fmla="*/ 345502 w 736968"/>
              <a:gd name="connsiteY387" fmla="*/ 251971 h 614713"/>
              <a:gd name="connsiteX388" fmla="*/ 342311 w 736968"/>
              <a:gd name="connsiteY388" fmla="*/ 256564 h 614713"/>
              <a:gd name="connsiteX389" fmla="*/ 343778 w 736968"/>
              <a:gd name="connsiteY389" fmla="*/ 260917 h 614713"/>
              <a:gd name="connsiteX390" fmla="*/ 356558 w 736968"/>
              <a:gd name="connsiteY390" fmla="*/ 262614 h 614713"/>
              <a:gd name="connsiteX391" fmla="*/ 352998 w 736968"/>
              <a:gd name="connsiteY391" fmla="*/ 254807 h 614713"/>
              <a:gd name="connsiteX392" fmla="*/ 311699 w 736968"/>
              <a:gd name="connsiteY392" fmla="*/ 299290 h 614713"/>
              <a:gd name="connsiteX393" fmla="*/ 312960 w 736968"/>
              <a:gd name="connsiteY393" fmla="*/ 293257 h 614713"/>
              <a:gd name="connsiteX394" fmla="*/ 308251 w 736968"/>
              <a:gd name="connsiteY394" fmla="*/ 293685 h 614713"/>
              <a:gd name="connsiteX395" fmla="*/ 311699 w 736968"/>
              <a:gd name="connsiteY395" fmla="*/ 299290 h 614713"/>
              <a:gd name="connsiteX396" fmla="*/ 257567 w 736968"/>
              <a:gd name="connsiteY396" fmla="*/ 298887 h 614713"/>
              <a:gd name="connsiteX397" fmla="*/ 256366 w 736968"/>
              <a:gd name="connsiteY397" fmla="*/ 291072 h 614713"/>
              <a:gd name="connsiteX398" fmla="*/ 254437 w 736968"/>
              <a:gd name="connsiteY398" fmla="*/ 291835 h 614713"/>
              <a:gd name="connsiteX399" fmla="*/ 252961 w 736968"/>
              <a:gd name="connsiteY399" fmla="*/ 289401 h 614713"/>
              <a:gd name="connsiteX400" fmla="*/ 254171 w 736968"/>
              <a:gd name="connsiteY400" fmla="*/ 295793 h 614713"/>
              <a:gd name="connsiteX401" fmla="*/ 257567 w 736968"/>
              <a:gd name="connsiteY401" fmla="*/ 298887 h 614713"/>
              <a:gd name="connsiteX402" fmla="*/ 256264 w 736968"/>
              <a:gd name="connsiteY402" fmla="*/ 286530 h 614713"/>
              <a:gd name="connsiteX403" fmla="*/ 258116 w 736968"/>
              <a:gd name="connsiteY403" fmla="*/ 274216 h 614713"/>
              <a:gd name="connsiteX404" fmla="*/ 255664 w 736968"/>
              <a:gd name="connsiteY404" fmla="*/ 268158 h 614713"/>
              <a:gd name="connsiteX405" fmla="*/ 256032 w 736968"/>
              <a:gd name="connsiteY405" fmla="*/ 273531 h 614713"/>
              <a:gd name="connsiteX406" fmla="*/ 253973 w 736968"/>
              <a:gd name="connsiteY406" fmla="*/ 283660 h 614713"/>
              <a:gd name="connsiteX407" fmla="*/ 256264 w 736968"/>
              <a:gd name="connsiteY407" fmla="*/ 286530 h 614713"/>
              <a:gd name="connsiteX408" fmla="*/ 111728 w 736968"/>
              <a:gd name="connsiteY408" fmla="*/ 256564 h 614713"/>
              <a:gd name="connsiteX409" fmla="*/ 186908 w 736968"/>
              <a:gd name="connsiteY409" fmla="*/ 75107 h 614713"/>
              <a:gd name="connsiteX410" fmla="*/ 368541 w 736968"/>
              <a:gd name="connsiteY410" fmla="*/ 0 h 614713"/>
              <a:gd name="connsiteX411" fmla="*/ 550172 w 736968"/>
              <a:gd name="connsiteY411" fmla="*/ 75107 h 614713"/>
              <a:gd name="connsiteX412" fmla="*/ 625352 w 736968"/>
              <a:gd name="connsiteY412" fmla="*/ 256564 h 614713"/>
              <a:gd name="connsiteX413" fmla="*/ 550172 w 736968"/>
              <a:gd name="connsiteY413" fmla="*/ 438021 h 614713"/>
              <a:gd name="connsiteX414" fmla="*/ 368541 w 736968"/>
              <a:gd name="connsiteY414" fmla="*/ 513127 h 614713"/>
              <a:gd name="connsiteX415" fmla="*/ 186908 w 736968"/>
              <a:gd name="connsiteY415" fmla="*/ 438021 h 614713"/>
              <a:gd name="connsiteX416" fmla="*/ 111728 w 736968"/>
              <a:gd name="connsiteY416" fmla="*/ 256564 h 614713"/>
              <a:gd name="connsiteX417" fmla="*/ 190836 w 736968"/>
              <a:gd name="connsiteY417" fmla="*/ 426350 h 614713"/>
              <a:gd name="connsiteX418" fmla="*/ 218738 w 736968"/>
              <a:gd name="connsiteY418" fmla="*/ 398475 h 614713"/>
              <a:gd name="connsiteX419" fmla="*/ 203299 w 736968"/>
              <a:gd name="connsiteY419" fmla="*/ 380215 h 614713"/>
              <a:gd name="connsiteX420" fmla="*/ 197432 w 736968"/>
              <a:gd name="connsiteY420" fmla="*/ 376291 h 614713"/>
              <a:gd name="connsiteX421" fmla="*/ 192663 w 736968"/>
              <a:gd name="connsiteY421" fmla="*/ 368964 h 614713"/>
              <a:gd name="connsiteX422" fmla="*/ 190030 w 736968"/>
              <a:gd name="connsiteY422" fmla="*/ 372100 h 614713"/>
              <a:gd name="connsiteX423" fmla="*/ 179788 w 736968"/>
              <a:gd name="connsiteY423" fmla="*/ 360892 h 614713"/>
              <a:gd name="connsiteX424" fmla="*/ 172043 w 736968"/>
              <a:gd name="connsiteY424" fmla="*/ 353719 h 614713"/>
              <a:gd name="connsiteX425" fmla="*/ 169110 w 736968"/>
              <a:gd name="connsiteY425" fmla="*/ 351483 h 614713"/>
              <a:gd name="connsiteX426" fmla="*/ 158963 w 736968"/>
              <a:gd name="connsiteY426" fmla="*/ 345468 h 614713"/>
              <a:gd name="connsiteX427" fmla="*/ 157788 w 736968"/>
              <a:gd name="connsiteY427" fmla="*/ 349023 h 614713"/>
              <a:gd name="connsiteX428" fmla="*/ 148318 w 736968"/>
              <a:gd name="connsiteY428" fmla="*/ 342486 h 614713"/>
              <a:gd name="connsiteX429" fmla="*/ 145822 w 736968"/>
              <a:gd name="connsiteY429" fmla="*/ 346968 h 614713"/>
              <a:gd name="connsiteX430" fmla="*/ 147743 w 736968"/>
              <a:gd name="connsiteY430" fmla="*/ 356470 h 614713"/>
              <a:gd name="connsiteX431" fmla="*/ 139938 w 736968"/>
              <a:gd name="connsiteY431" fmla="*/ 335939 h 614713"/>
              <a:gd name="connsiteX432" fmla="*/ 141868 w 736968"/>
              <a:gd name="connsiteY432" fmla="*/ 336205 h 614713"/>
              <a:gd name="connsiteX433" fmla="*/ 140548 w 736968"/>
              <a:gd name="connsiteY433" fmla="*/ 331911 h 614713"/>
              <a:gd name="connsiteX434" fmla="*/ 137828 w 736968"/>
              <a:gd name="connsiteY434" fmla="*/ 327019 h 614713"/>
              <a:gd name="connsiteX435" fmla="*/ 141243 w 736968"/>
              <a:gd name="connsiteY435" fmla="*/ 324105 h 614713"/>
              <a:gd name="connsiteX436" fmla="*/ 142545 w 736968"/>
              <a:gd name="connsiteY436" fmla="*/ 320584 h 614713"/>
              <a:gd name="connsiteX437" fmla="*/ 147126 w 736968"/>
              <a:gd name="connsiteY437" fmla="*/ 317070 h 614713"/>
              <a:gd name="connsiteX438" fmla="*/ 149494 w 736968"/>
              <a:gd name="connsiteY438" fmla="*/ 319109 h 614713"/>
              <a:gd name="connsiteX439" fmla="*/ 156896 w 736968"/>
              <a:gd name="connsiteY439" fmla="*/ 320592 h 614713"/>
              <a:gd name="connsiteX440" fmla="*/ 154185 w 736968"/>
              <a:gd name="connsiteY440" fmla="*/ 318484 h 614713"/>
              <a:gd name="connsiteX441" fmla="*/ 160395 w 736968"/>
              <a:gd name="connsiteY441" fmla="*/ 318621 h 614713"/>
              <a:gd name="connsiteX442" fmla="*/ 165979 w 736968"/>
              <a:gd name="connsiteY442" fmla="*/ 318235 h 614713"/>
              <a:gd name="connsiteX443" fmla="*/ 172198 w 736968"/>
              <a:gd name="connsiteY443" fmla="*/ 320626 h 614713"/>
              <a:gd name="connsiteX444" fmla="*/ 162068 w 736968"/>
              <a:gd name="connsiteY444" fmla="*/ 262048 h 614713"/>
              <a:gd name="connsiteX445" fmla="*/ 122766 w 736968"/>
              <a:gd name="connsiteY445" fmla="*/ 262048 h 614713"/>
              <a:gd name="connsiteX446" fmla="*/ 190836 w 736968"/>
              <a:gd name="connsiteY446" fmla="*/ 426350 h 614713"/>
              <a:gd name="connsiteX447" fmla="*/ 352955 w 736968"/>
              <a:gd name="connsiteY447" fmla="*/ 198903 h 614713"/>
              <a:gd name="connsiteX448" fmla="*/ 348924 w 736968"/>
              <a:gd name="connsiteY448" fmla="*/ 204422 h 614713"/>
              <a:gd name="connsiteX449" fmla="*/ 363051 w 736968"/>
              <a:gd name="connsiteY449" fmla="*/ 201149 h 614713"/>
              <a:gd name="connsiteX450" fmla="*/ 363051 w 736968"/>
              <a:gd name="connsiteY450" fmla="*/ 161783 h 614713"/>
              <a:gd name="connsiteX451" fmla="*/ 305369 w 736968"/>
              <a:gd name="connsiteY451" fmla="*/ 185707 h 614713"/>
              <a:gd name="connsiteX452" fmla="*/ 333185 w 736968"/>
              <a:gd name="connsiteY452" fmla="*/ 213496 h 614713"/>
              <a:gd name="connsiteX453" fmla="*/ 343598 w 736968"/>
              <a:gd name="connsiteY453" fmla="*/ 206727 h 614713"/>
              <a:gd name="connsiteX454" fmla="*/ 346531 w 736968"/>
              <a:gd name="connsiteY454" fmla="*/ 205382 h 614713"/>
              <a:gd name="connsiteX455" fmla="*/ 352955 w 736968"/>
              <a:gd name="connsiteY455" fmla="*/ 198903 h 614713"/>
              <a:gd name="connsiteX456" fmla="*/ 255835 w 736968"/>
              <a:gd name="connsiteY456" fmla="*/ 345674 h 614713"/>
              <a:gd name="connsiteX457" fmla="*/ 255646 w 736968"/>
              <a:gd name="connsiteY457" fmla="*/ 347953 h 614713"/>
              <a:gd name="connsiteX458" fmla="*/ 261968 w 736968"/>
              <a:gd name="connsiteY458" fmla="*/ 355279 h 614713"/>
              <a:gd name="connsiteX459" fmla="*/ 289835 w 736968"/>
              <a:gd name="connsiteY459" fmla="*/ 327438 h 614713"/>
              <a:gd name="connsiteX460" fmla="*/ 264095 w 736968"/>
              <a:gd name="connsiteY460" fmla="*/ 274679 h 614713"/>
              <a:gd name="connsiteX461" fmla="*/ 262053 w 736968"/>
              <a:gd name="connsiteY461" fmla="*/ 273985 h 614713"/>
              <a:gd name="connsiteX462" fmla="*/ 263512 w 736968"/>
              <a:gd name="connsiteY462" fmla="*/ 271020 h 614713"/>
              <a:gd name="connsiteX463" fmla="*/ 262663 w 736968"/>
              <a:gd name="connsiteY463" fmla="*/ 262048 h 614713"/>
              <a:gd name="connsiteX464" fmla="*/ 244110 w 736968"/>
              <a:gd name="connsiteY464" fmla="*/ 262048 h 614713"/>
              <a:gd name="connsiteX465" fmla="*/ 243535 w 736968"/>
              <a:gd name="connsiteY465" fmla="*/ 270729 h 614713"/>
              <a:gd name="connsiteX466" fmla="*/ 238208 w 736968"/>
              <a:gd name="connsiteY466" fmla="*/ 270909 h 614713"/>
              <a:gd name="connsiteX467" fmla="*/ 234777 w 736968"/>
              <a:gd name="connsiteY467" fmla="*/ 278595 h 614713"/>
              <a:gd name="connsiteX468" fmla="*/ 235910 w 736968"/>
              <a:gd name="connsiteY468" fmla="*/ 284191 h 614713"/>
              <a:gd name="connsiteX469" fmla="*/ 237659 w 736968"/>
              <a:gd name="connsiteY469" fmla="*/ 289392 h 614713"/>
              <a:gd name="connsiteX470" fmla="*/ 244822 w 736968"/>
              <a:gd name="connsiteY470" fmla="*/ 297832 h 614713"/>
              <a:gd name="connsiteX471" fmla="*/ 241280 w 736968"/>
              <a:gd name="connsiteY471" fmla="*/ 298981 h 614713"/>
              <a:gd name="connsiteX472" fmla="*/ 245259 w 736968"/>
              <a:gd name="connsiteY472" fmla="*/ 303505 h 614713"/>
              <a:gd name="connsiteX473" fmla="*/ 246666 w 736968"/>
              <a:gd name="connsiteY473" fmla="*/ 311492 h 614713"/>
              <a:gd name="connsiteX474" fmla="*/ 250182 w 736968"/>
              <a:gd name="connsiteY474" fmla="*/ 322931 h 614713"/>
              <a:gd name="connsiteX475" fmla="*/ 251049 w 736968"/>
              <a:gd name="connsiteY475" fmla="*/ 334568 h 614713"/>
              <a:gd name="connsiteX476" fmla="*/ 255835 w 736968"/>
              <a:gd name="connsiteY476" fmla="*/ 345674 h 614713"/>
              <a:gd name="connsiteX477" fmla="*/ 232668 w 736968"/>
              <a:gd name="connsiteY477" fmla="*/ 279444 h 614713"/>
              <a:gd name="connsiteX478" fmla="*/ 234752 w 736968"/>
              <a:gd name="connsiteY478" fmla="*/ 267901 h 614713"/>
              <a:gd name="connsiteX479" fmla="*/ 239855 w 736968"/>
              <a:gd name="connsiteY479" fmla="*/ 262048 h 614713"/>
              <a:gd name="connsiteX480" fmla="*/ 223344 w 736968"/>
              <a:gd name="connsiteY480" fmla="*/ 262048 h 614713"/>
              <a:gd name="connsiteX481" fmla="*/ 226534 w 736968"/>
              <a:gd name="connsiteY481" fmla="*/ 287455 h 614713"/>
              <a:gd name="connsiteX482" fmla="*/ 232668 w 736968"/>
              <a:gd name="connsiteY482" fmla="*/ 279444 h 614713"/>
              <a:gd name="connsiteX483" fmla="*/ 222306 w 736968"/>
              <a:gd name="connsiteY483" fmla="*/ 385519 h 614713"/>
              <a:gd name="connsiteX484" fmla="*/ 221912 w 736968"/>
              <a:gd name="connsiteY484" fmla="*/ 385691 h 614713"/>
              <a:gd name="connsiteX485" fmla="*/ 226501 w 736968"/>
              <a:gd name="connsiteY485" fmla="*/ 390720 h 614713"/>
              <a:gd name="connsiteX486" fmla="*/ 229649 w 736968"/>
              <a:gd name="connsiteY486" fmla="*/ 387576 h 614713"/>
              <a:gd name="connsiteX487" fmla="*/ 222306 w 736968"/>
              <a:gd name="connsiteY487" fmla="*/ 385519 h 614713"/>
              <a:gd name="connsiteX488" fmla="*/ 289835 w 736968"/>
              <a:gd name="connsiteY488" fmla="*/ 185690 h 614713"/>
              <a:gd name="connsiteX489" fmla="*/ 262045 w 736968"/>
              <a:gd name="connsiteY489" fmla="*/ 157926 h 614713"/>
              <a:gd name="connsiteX490" fmla="*/ 223352 w 736968"/>
              <a:gd name="connsiteY490" fmla="*/ 251080 h 614713"/>
              <a:gd name="connsiteX491" fmla="*/ 242823 w 736968"/>
              <a:gd name="connsiteY491" fmla="*/ 251080 h 614713"/>
              <a:gd name="connsiteX492" fmla="*/ 246066 w 736968"/>
              <a:gd name="connsiteY492" fmla="*/ 238792 h 614713"/>
              <a:gd name="connsiteX493" fmla="*/ 250440 w 736968"/>
              <a:gd name="connsiteY493" fmla="*/ 230609 h 614713"/>
              <a:gd name="connsiteX494" fmla="*/ 256504 w 736968"/>
              <a:gd name="connsiteY494" fmla="*/ 225690 h 614713"/>
              <a:gd name="connsiteX495" fmla="*/ 268452 w 736968"/>
              <a:gd name="connsiteY495" fmla="*/ 220498 h 614713"/>
              <a:gd name="connsiteX496" fmla="*/ 278788 w 736968"/>
              <a:gd name="connsiteY496" fmla="*/ 215467 h 614713"/>
              <a:gd name="connsiteX497" fmla="*/ 263623 w 736968"/>
              <a:gd name="connsiteY497" fmla="*/ 218518 h 614713"/>
              <a:gd name="connsiteX498" fmla="*/ 270262 w 736968"/>
              <a:gd name="connsiteY498" fmla="*/ 214884 h 614713"/>
              <a:gd name="connsiteX499" fmla="*/ 271488 w 736968"/>
              <a:gd name="connsiteY499" fmla="*/ 214054 h 614713"/>
              <a:gd name="connsiteX500" fmla="*/ 289835 w 736968"/>
              <a:gd name="connsiteY500" fmla="*/ 185690 h 614713"/>
              <a:gd name="connsiteX501" fmla="*/ 284826 w 736968"/>
              <a:gd name="connsiteY501" fmla="*/ 211672 h 614713"/>
              <a:gd name="connsiteX502" fmla="*/ 285975 w 736968"/>
              <a:gd name="connsiteY502" fmla="*/ 211106 h 614713"/>
              <a:gd name="connsiteX503" fmla="*/ 299682 w 736968"/>
              <a:gd name="connsiteY503" fmla="*/ 210060 h 614713"/>
              <a:gd name="connsiteX504" fmla="*/ 309520 w 736968"/>
              <a:gd name="connsiteY504" fmla="*/ 216907 h 614713"/>
              <a:gd name="connsiteX505" fmla="*/ 314847 w 736968"/>
              <a:gd name="connsiteY505" fmla="*/ 215733 h 614713"/>
              <a:gd name="connsiteX506" fmla="*/ 319333 w 736968"/>
              <a:gd name="connsiteY506" fmla="*/ 217524 h 614713"/>
              <a:gd name="connsiteX507" fmla="*/ 321829 w 736968"/>
              <a:gd name="connsiteY507" fmla="*/ 217652 h 614713"/>
              <a:gd name="connsiteX508" fmla="*/ 297606 w 736968"/>
              <a:gd name="connsiteY508" fmla="*/ 193462 h 614713"/>
              <a:gd name="connsiteX509" fmla="*/ 284826 w 736968"/>
              <a:gd name="connsiteY509" fmla="*/ 211672 h 614713"/>
              <a:gd name="connsiteX510" fmla="*/ 257550 w 736968"/>
              <a:gd name="connsiteY510" fmla="*/ 241568 h 614713"/>
              <a:gd name="connsiteX511" fmla="*/ 249694 w 736968"/>
              <a:gd name="connsiteY511" fmla="*/ 245202 h 614713"/>
              <a:gd name="connsiteX512" fmla="*/ 248604 w 736968"/>
              <a:gd name="connsiteY512" fmla="*/ 251080 h 614713"/>
              <a:gd name="connsiteX513" fmla="*/ 262663 w 736968"/>
              <a:gd name="connsiteY513" fmla="*/ 251080 h 614713"/>
              <a:gd name="connsiteX514" fmla="*/ 263366 w 736968"/>
              <a:gd name="connsiteY514" fmla="*/ 243196 h 614713"/>
              <a:gd name="connsiteX515" fmla="*/ 257550 w 736968"/>
              <a:gd name="connsiteY515" fmla="*/ 241568 h 614713"/>
              <a:gd name="connsiteX516" fmla="*/ 297615 w 736968"/>
              <a:gd name="connsiteY516" fmla="*/ 319675 h 614713"/>
              <a:gd name="connsiteX517" fmla="*/ 325448 w 736968"/>
              <a:gd name="connsiteY517" fmla="*/ 291860 h 614713"/>
              <a:gd name="connsiteX518" fmla="*/ 319469 w 736968"/>
              <a:gd name="connsiteY518" fmla="*/ 282948 h 614713"/>
              <a:gd name="connsiteX519" fmla="*/ 319461 w 736968"/>
              <a:gd name="connsiteY519" fmla="*/ 282965 h 614713"/>
              <a:gd name="connsiteX520" fmla="*/ 318432 w 736968"/>
              <a:gd name="connsiteY520" fmla="*/ 284474 h 614713"/>
              <a:gd name="connsiteX521" fmla="*/ 316880 w 736968"/>
              <a:gd name="connsiteY521" fmla="*/ 291629 h 614713"/>
              <a:gd name="connsiteX522" fmla="*/ 306801 w 736968"/>
              <a:gd name="connsiteY522" fmla="*/ 285965 h 614713"/>
              <a:gd name="connsiteX523" fmla="*/ 303147 w 736968"/>
              <a:gd name="connsiteY523" fmla="*/ 288792 h 614713"/>
              <a:gd name="connsiteX524" fmla="*/ 302135 w 736968"/>
              <a:gd name="connsiteY524" fmla="*/ 291946 h 614713"/>
              <a:gd name="connsiteX525" fmla="*/ 298627 w 736968"/>
              <a:gd name="connsiteY525" fmla="*/ 288158 h 614713"/>
              <a:gd name="connsiteX526" fmla="*/ 296946 w 736968"/>
              <a:gd name="connsiteY526" fmla="*/ 284336 h 614713"/>
              <a:gd name="connsiteX527" fmla="*/ 291010 w 736968"/>
              <a:gd name="connsiteY527" fmla="*/ 282400 h 614713"/>
              <a:gd name="connsiteX528" fmla="*/ 286104 w 736968"/>
              <a:gd name="connsiteY528" fmla="*/ 278758 h 614713"/>
              <a:gd name="connsiteX529" fmla="*/ 281018 w 736968"/>
              <a:gd name="connsiteY529" fmla="*/ 278381 h 614713"/>
              <a:gd name="connsiteX530" fmla="*/ 277038 w 736968"/>
              <a:gd name="connsiteY530" fmla="*/ 276573 h 614713"/>
              <a:gd name="connsiteX531" fmla="*/ 275254 w 736968"/>
              <a:gd name="connsiteY531" fmla="*/ 274705 h 614713"/>
              <a:gd name="connsiteX532" fmla="*/ 297615 w 736968"/>
              <a:gd name="connsiteY532" fmla="*/ 319675 h 614713"/>
              <a:gd name="connsiteX533" fmla="*/ 325474 w 736968"/>
              <a:gd name="connsiteY533" fmla="*/ 271646 h 614713"/>
              <a:gd name="connsiteX534" fmla="*/ 325526 w 736968"/>
              <a:gd name="connsiteY534" fmla="*/ 270909 h 614713"/>
              <a:gd name="connsiteX535" fmla="*/ 325543 w 736968"/>
              <a:gd name="connsiteY535" fmla="*/ 270712 h 614713"/>
              <a:gd name="connsiteX536" fmla="*/ 325602 w 736968"/>
              <a:gd name="connsiteY536" fmla="*/ 270146 h 614713"/>
              <a:gd name="connsiteX537" fmla="*/ 325637 w 736968"/>
              <a:gd name="connsiteY537" fmla="*/ 269906 h 614713"/>
              <a:gd name="connsiteX538" fmla="*/ 325688 w 736968"/>
              <a:gd name="connsiteY538" fmla="*/ 269546 h 614713"/>
              <a:gd name="connsiteX539" fmla="*/ 325723 w 736968"/>
              <a:gd name="connsiteY539" fmla="*/ 269349 h 614713"/>
              <a:gd name="connsiteX540" fmla="*/ 325757 w 736968"/>
              <a:gd name="connsiteY540" fmla="*/ 269135 h 614713"/>
              <a:gd name="connsiteX541" fmla="*/ 325911 w 736968"/>
              <a:gd name="connsiteY541" fmla="*/ 268389 h 614713"/>
              <a:gd name="connsiteX542" fmla="*/ 325911 w 736968"/>
              <a:gd name="connsiteY542" fmla="*/ 268372 h 614713"/>
              <a:gd name="connsiteX543" fmla="*/ 326092 w 736968"/>
              <a:gd name="connsiteY543" fmla="*/ 267695 h 614713"/>
              <a:gd name="connsiteX544" fmla="*/ 326152 w 736968"/>
              <a:gd name="connsiteY544" fmla="*/ 267490 h 614713"/>
              <a:gd name="connsiteX545" fmla="*/ 326306 w 736968"/>
              <a:gd name="connsiteY545" fmla="*/ 267044 h 614713"/>
              <a:gd name="connsiteX546" fmla="*/ 326383 w 736968"/>
              <a:gd name="connsiteY546" fmla="*/ 266838 h 614713"/>
              <a:gd name="connsiteX547" fmla="*/ 326563 w 736968"/>
              <a:gd name="connsiteY547" fmla="*/ 266453 h 614713"/>
              <a:gd name="connsiteX548" fmla="*/ 326641 w 736968"/>
              <a:gd name="connsiteY548" fmla="*/ 266290 h 614713"/>
              <a:gd name="connsiteX549" fmla="*/ 326932 w 736968"/>
              <a:gd name="connsiteY549" fmla="*/ 265845 h 614713"/>
              <a:gd name="connsiteX550" fmla="*/ 328339 w 736968"/>
              <a:gd name="connsiteY550" fmla="*/ 265382 h 614713"/>
              <a:gd name="connsiteX551" fmla="*/ 331735 w 736968"/>
              <a:gd name="connsiteY551" fmla="*/ 266213 h 614713"/>
              <a:gd name="connsiteX552" fmla="*/ 334163 w 736968"/>
              <a:gd name="connsiteY552" fmla="*/ 265064 h 614713"/>
              <a:gd name="connsiteX553" fmla="*/ 335029 w 736968"/>
              <a:gd name="connsiteY553" fmla="*/ 263668 h 614713"/>
              <a:gd name="connsiteX554" fmla="*/ 335415 w 736968"/>
              <a:gd name="connsiteY554" fmla="*/ 262331 h 614713"/>
              <a:gd name="connsiteX555" fmla="*/ 335321 w 736968"/>
              <a:gd name="connsiteY555" fmla="*/ 261825 h 614713"/>
              <a:gd name="connsiteX556" fmla="*/ 333433 w 736968"/>
              <a:gd name="connsiteY556" fmla="*/ 261654 h 614713"/>
              <a:gd name="connsiteX557" fmla="*/ 332748 w 736968"/>
              <a:gd name="connsiteY557" fmla="*/ 261869 h 614713"/>
              <a:gd name="connsiteX558" fmla="*/ 331392 w 736968"/>
              <a:gd name="connsiteY558" fmla="*/ 262100 h 614713"/>
              <a:gd name="connsiteX559" fmla="*/ 330758 w 736968"/>
              <a:gd name="connsiteY559" fmla="*/ 262065 h 614713"/>
              <a:gd name="connsiteX560" fmla="*/ 329188 w 736968"/>
              <a:gd name="connsiteY560" fmla="*/ 261148 h 614713"/>
              <a:gd name="connsiteX561" fmla="*/ 328836 w 736968"/>
              <a:gd name="connsiteY561" fmla="*/ 260488 h 614713"/>
              <a:gd name="connsiteX562" fmla="*/ 328373 w 736968"/>
              <a:gd name="connsiteY562" fmla="*/ 259631 h 614713"/>
              <a:gd name="connsiteX563" fmla="*/ 325594 w 736968"/>
              <a:gd name="connsiteY563" fmla="*/ 257481 h 614713"/>
              <a:gd name="connsiteX564" fmla="*/ 323999 w 736968"/>
              <a:gd name="connsiteY564" fmla="*/ 256376 h 614713"/>
              <a:gd name="connsiteX565" fmla="*/ 323244 w 736968"/>
              <a:gd name="connsiteY565" fmla="*/ 255622 h 614713"/>
              <a:gd name="connsiteX566" fmla="*/ 322661 w 736968"/>
              <a:gd name="connsiteY566" fmla="*/ 254979 h 614713"/>
              <a:gd name="connsiteX567" fmla="*/ 322429 w 736968"/>
              <a:gd name="connsiteY567" fmla="*/ 254765 h 614713"/>
              <a:gd name="connsiteX568" fmla="*/ 322043 w 736968"/>
              <a:gd name="connsiteY568" fmla="*/ 254396 h 614713"/>
              <a:gd name="connsiteX569" fmla="*/ 321751 w 736968"/>
              <a:gd name="connsiteY569" fmla="*/ 254148 h 614713"/>
              <a:gd name="connsiteX570" fmla="*/ 321417 w 736968"/>
              <a:gd name="connsiteY570" fmla="*/ 253882 h 614713"/>
              <a:gd name="connsiteX571" fmla="*/ 321065 w 736968"/>
              <a:gd name="connsiteY571" fmla="*/ 253625 h 614713"/>
              <a:gd name="connsiteX572" fmla="*/ 320765 w 736968"/>
              <a:gd name="connsiteY572" fmla="*/ 253436 h 614713"/>
              <a:gd name="connsiteX573" fmla="*/ 320370 w 736968"/>
              <a:gd name="connsiteY573" fmla="*/ 253205 h 614713"/>
              <a:gd name="connsiteX574" fmla="*/ 320113 w 736968"/>
              <a:gd name="connsiteY574" fmla="*/ 253077 h 614713"/>
              <a:gd name="connsiteX575" fmla="*/ 319667 w 736968"/>
              <a:gd name="connsiteY575" fmla="*/ 252880 h 614713"/>
              <a:gd name="connsiteX576" fmla="*/ 319461 w 736968"/>
              <a:gd name="connsiteY576" fmla="*/ 252811 h 614713"/>
              <a:gd name="connsiteX577" fmla="*/ 318947 w 736968"/>
              <a:gd name="connsiteY577" fmla="*/ 252665 h 614713"/>
              <a:gd name="connsiteX578" fmla="*/ 318843 w 736968"/>
              <a:gd name="connsiteY578" fmla="*/ 252648 h 614713"/>
              <a:gd name="connsiteX579" fmla="*/ 314829 w 736968"/>
              <a:gd name="connsiteY579" fmla="*/ 254028 h 614713"/>
              <a:gd name="connsiteX580" fmla="*/ 314778 w 736968"/>
              <a:gd name="connsiteY580" fmla="*/ 254071 h 614713"/>
              <a:gd name="connsiteX581" fmla="*/ 314152 w 736968"/>
              <a:gd name="connsiteY581" fmla="*/ 254765 h 614713"/>
              <a:gd name="connsiteX582" fmla="*/ 314083 w 736968"/>
              <a:gd name="connsiteY582" fmla="*/ 254842 h 614713"/>
              <a:gd name="connsiteX583" fmla="*/ 313466 w 736968"/>
              <a:gd name="connsiteY583" fmla="*/ 255699 h 614713"/>
              <a:gd name="connsiteX584" fmla="*/ 313414 w 736968"/>
              <a:gd name="connsiteY584" fmla="*/ 255776 h 614713"/>
              <a:gd name="connsiteX585" fmla="*/ 312797 w 736968"/>
              <a:gd name="connsiteY585" fmla="*/ 256830 h 614713"/>
              <a:gd name="connsiteX586" fmla="*/ 311562 w 736968"/>
              <a:gd name="connsiteY586" fmla="*/ 259546 h 614713"/>
              <a:gd name="connsiteX587" fmla="*/ 305283 w 736968"/>
              <a:gd name="connsiteY587" fmla="*/ 268313 h 614713"/>
              <a:gd name="connsiteX588" fmla="*/ 307556 w 736968"/>
              <a:gd name="connsiteY588" fmla="*/ 269006 h 614713"/>
              <a:gd name="connsiteX589" fmla="*/ 309288 w 736968"/>
              <a:gd name="connsiteY589" fmla="*/ 269075 h 614713"/>
              <a:gd name="connsiteX590" fmla="*/ 311253 w 736968"/>
              <a:gd name="connsiteY590" fmla="*/ 269015 h 614713"/>
              <a:gd name="connsiteX591" fmla="*/ 313285 w 736968"/>
              <a:gd name="connsiteY591" fmla="*/ 268835 h 614713"/>
              <a:gd name="connsiteX592" fmla="*/ 314264 w 736968"/>
              <a:gd name="connsiteY592" fmla="*/ 268690 h 614713"/>
              <a:gd name="connsiteX593" fmla="*/ 314829 w 736968"/>
              <a:gd name="connsiteY593" fmla="*/ 268595 h 614713"/>
              <a:gd name="connsiteX594" fmla="*/ 315370 w 736968"/>
              <a:gd name="connsiteY594" fmla="*/ 268484 h 614713"/>
              <a:gd name="connsiteX595" fmla="*/ 315841 w 736968"/>
              <a:gd name="connsiteY595" fmla="*/ 268381 h 614713"/>
              <a:gd name="connsiteX596" fmla="*/ 316425 w 736968"/>
              <a:gd name="connsiteY596" fmla="*/ 268218 h 614713"/>
              <a:gd name="connsiteX597" fmla="*/ 316768 w 736968"/>
              <a:gd name="connsiteY597" fmla="*/ 268115 h 614713"/>
              <a:gd name="connsiteX598" fmla="*/ 317583 w 736968"/>
              <a:gd name="connsiteY598" fmla="*/ 267806 h 614713"/>
              <a:gd name="connsiteX599" fmla="*/ 318878 w 736968"/>
              <a:gd name="connsiteY599" fmla="*/ 267292 h 614713"/>
              <a:gd name="connsiteX600" fmla="*/ 318921 w 736968"/>
              <a:gd name="connsiteY600" fmla="*/ 267284 h 614713"/>
              <a:gd name="connsiteX601" fmla="*/ 320139 w 736968"/>
              <a:gd name="connsiteY601" fmla="*/ 266976 h 614713"/>
              <a:gd name="connsiteX602" fmla="*/ 322335 w 736968"/>
              <a:gd name="connsiteY602" fmla="*/ 267044 h 614713"/>
              <a:gd name="connsiteX603" fmla="*/ 324316 w 736968"/>
              <a:gd name="connsiteY603" fmla="*/ 268509 h 614713"/>
              <a:gd name="connsiteX604" fmla="*/ 325474 w 736968"/>
              <a:gd name="connsiteY604" fmla="*/ 271646 h 614713"/>
              <a:gd name="connsiteX605" fmla="*/ 363051 w 736968"/>
              <a:gd name="connsiteY605" fmla="*/ 150797 h 614713"/>
              <a:gd name="connsiteX606" fmla="*/ 363051 w 736968"/>
              <a:gd name="connsiteY606" fmla="*/ 111517 h 614713"/>
              <a:gd name="connsiteX607" fmla="*/ 269798 w 736968"/>
              <a:gd name="connsiteY607" fmla="*/ 150172 h 614713"/>
              <a:gd name="connsiteX608" fmla="*/ 297598 w 736968"/>
              <a:gd name="connsiteY608" fmla="*/ 177935 h 614713"/>
              <a:gd name="connsiteX609" fmla="*/ 363051 w 736968"/>
              <a:gd name="connsiteY609" fmla="*/ 150797 h 614713"/>
              <a:gd name="connsiteX610" fmla="*/ 363051 w 736968"/>
              <a:gd name="connsiteY610" fmla="*/ 100540 h 614713"/>
              <a:gd name="connsiteX611" fmla="*/ 363051 w 736968"/>
              <a:gd name="connsiteY611" fmla="*/ 61260 h 614713"/>
              <a:gd name="connsiteX612" fmla="*/ 234255 w 736968"/>
              <a:gd name="connsiteY612" fmla="*/ 114662 h 614713"/>
              <a:gd name="connsiteX613" fmla="*/ 262045 w 736968"/>
              <a:gd name="connsiteY613" fmla="*/ 142416 h 614713"/>
              <a:gd name="connsiteX614" fmla="*/ 363051 w 736968"/>
              <a:gd name="connsiteY614" fmla="*/ 100540 h 614713"/>
              <a:gd name="connsiteX615" fmla="*/ 226492 w 736968"/>
              <a:gd name="connsiteY615" fmla="*/ 122408 h 614713"/>
              <a:gd name="connsiteX616" fmla="*/ 173055 w 736968"/>
              <a:gd name="connsiteY616" fmla="*/ 251080 h 614713"/>
              <a:gd name="connsiteX617" fmla="*/ 212365 w 736968"/>
              <a:gd name="connsiteY617" fmla="*/ 251080 h 614713"/>
              <a:gd name="connsiteX618" fmla="*/ 254282 w 736968"/>
              <a:gd name="connsiteY618" fmla="*/ 150172 h 614713"/>
              <a:gd name="connsiteX619" fmla="*/ 226492 w 736968"/>
              <a:gd name="connsiteY619" fmla="*/ 122408 h 614713"/>
              <a:gd name="connsiteX620" fmla="*/ 173055 w 736968"/>
              <a:gd name="connsiteY620" fmla="*/ 262048 h 614713"/>
              <a:gd name="connsiteX621" fmla="*/ 183683 w 736968"/>
              <a:gd name="connsiteY621" fmla="*/ 320369 h 614713"/>
              <a:gd name="connsiteX622" fmla="*/ 184360 w 736968"/>
              <a:gd name="connsiteY622" fmla="*/ 320335 h 614713"/>
              <a:gd name="connsiteX623" fmla="*/ 196197 w 736968"/>
              <a:gd name="connsiteY623" fmla="*/ 318338 h 614713"/>
              <a:gd name="connsiteX624" fmla="*/ 198916 w 736968"/>
              <a:gd name="connsiteY624" fmla="*/ 300241 h 614713"/>
              <a:gd name="connsiteX625" fmla="*/ 211636 w 736968"/>
              <a:gd name="connsiteY625" fmla="*/ 281603 h 614713"/>
              <a:gd name="connsiteX626" fmla="*/ 214552 w 736968"/>
              <a:gd name="connsiteY626" fmla="*/ 283248 h 614713"/>
              <a:gd name="connsiteX627" fmla="*/ 212373 w 736968"/>
              <a:gd name="connsiteY627" fmla="*/ 262048 h 614713"/>
              <a:gd name="connsiteX628" fmla="*/ 173055 w 736968"/>
              <a:gd name="connsiteY628" fmla="*/ 262048 h 614713"/>
              <a:gd name="connsiteX629" fmla="*/ 363051 w 736968"/>
              <a:gd name="connsiteY629" fmla="*/ 462837 h 614713"/>
              <a:gd name="connsiteX630" fmla="*/ 226492 w 736968"/>
              <a:gd name="connsiteY630" fmla="*/ 406230 h 614713"/>
              <a:gd name="connsiteX631" fmla="*/ 198590 w 736968"/>
              <a:gd name="connsiteY631" fmla="*/ 434105 h 614713"/>
              <a:gd name="connsiteX632" fmla="*/ 363051 w 736968"/>
              <a:gd name="connsiteY632" fmla="*/ 502101 h 614713"/>
              <a:gd name="connsiteX633" fmla="*/ 363051 w 736968"/>
              <a:gd name="connsiteY633" fmla="*/ 462837 h 614713"/>
              <a:gd name="connsiteX634" fmla="*/ 363051 w 736968"/>
              <a:gd name="connsiteY634" fmla="*/ 412597 h 614713"/>
              <a:gd name="connsiteX635" fmla="*/ 268735 w 736968"/>
              <a:gd name="connsiteY635" fmla="*/ 376718 h 614713"/>
              <a:gd name="connsiteX636" fmla="*/ 270262 w 736968"/>
              <a:gd name="connsiteY636" fmla="*/ 378827 h 614713"/>
              <a:gd name="connsiteX637" fmla="*/ 274362 w 736968"/>
              <a:gd name="connsiteY637" fmla="*/ 390823 h 614713"/>
              <a:gd name="connsiteX638" fmla="*/ 262431 w 736968"/>
              <a:gd name="connsiteY638" fmla="*/ 391457 h 614713"/>
              <a:gd name="connsiteX639" fmla="*/ 251161 w 736968"/>
              <a:gd name="connsiteY639" fmla="*/ 397002 h 614713"/>
              <a:gd name="connsiteX640" fmla="*/ 241845 w 736968"/>
              <a:gd name="connsiteY640" fmla="*/ 395947 h 614713"/>
              <a:gd name="connsiteX641" fmla="*/ 238680 w 736968"/>
              <a:gd name="connsiteY641" fmla="*/ 394054 h 614713"/>
              <a:gd name="connsiteX642" fmla="*/ 234255 w 736968"/>
              <a:gd name="connsiteY642" fmla="*/ 398475 h 614713"/>
              <a:gd name="connsiteX643" fmla="*/ 363051 w 736968"/>
              <a:gd name="connsiteY643" fmla="*/ 451869 h 614713"/>
              <a:gd name="connsiteX644" fmla="*/ 363051 w 736968"/>
              <a:gd name="connsiteY644" fmla="*/ 412597 h 614713"/>
              <a:gd name="connsiteX645" fmla="*/ 363051 w 736968"/>
              <a:gd name="connsiteY645" fmla="*/ 398792 h 614713"/>
              <a:gd name="connsiteX646" fmla="*/ 347174 w 736968"/>
              <a:gd name="connsiteY646" fmla="*/ 397704 h 614713"/>
              <a:gd name="connsiteX647" fmla="*/ 337576 w 736968"/>
              <a:gd name="connsiteY647" fmla="*/ 389838 h 614713"/>
              <a:gd name="connsiteX648" fmla="*/ 331204 w 736968"/>
              <a:gd name="connsiteY648" fmla="*/ 379289 h 614713"/>
              <a:gd name="connsiteX649" fmla="*/ 335346 w 736968"/>
              <a:gd name="connsiteY649" fmla="*/ 369718 h 614713"/>
              <a:gd name="connsiteX650" fmla="*/ 343238 w 736968"/>
              <a:gd name="connsiteY650" fmla="*/ 359409 h 614713"/>
              <a:gd name="connsiteX651" fmla="*/ 297598 w 736968"/>
              <a:gd name="connsiteY651" fmla="*/ 335193 h 614713"/>
              <a:gd name="connsiteX652" fmla="*/ 269747 w 736968"/>
              <a:gd name="connsiteY652" fmla="*/ 363017 h 614713"/>
              <a:gd name="connsiteX653" fmla="*/ 363051 w 736968"/>
              <a:gd name="connsiteY653" fmla="*/ 401603 h 614713"/>
              <a:gd name="connsiteX654" fmla="*/ 363051 w 736968"/>
              <a:gd name="connsiteY654" fmla="*/ 398792 h 614713"/>
              <a:gd name="connsiteX655" fmla="*/ 371551 w 736968"/>
              <a:gd name="connsiteY655" fmla="*/ 346307 h 614713"/>
              <a:gd name="connsiteX656" fmla="*/ 383954 w 736968"/>
              <a:gd name="connsiteY656" fmla="*/ 344020 h 614713"/>
              <a:gd name="connsiteX657" fmla="*/ 386235 w 736968"/>
              <a:gd name="connsiteY657" fmla="*/ 349726 h 614713"/>
              <a:gd name="connsiteX658" fmla="*/ 402078 w 736968"/>
              <a:gd name="connsiteY658" fmla="*/ 349341 h 614713"/>
              <a:gd name="connsiteX659" fmla="*/ 405526 w 736968"/>
              <a:gd name="connsiteY659" fmla="*/ 345528 h 614713"/>
              <a:gd name="connsiteX660" fmla="*/ 418409 w 736968"/>
              <a:gd name="connsiteY660" fmla="*/ 341466 h 614713"/>
              <a:gd name="connsiteX661" fmla="*/ 423864 w 736968"/>
              <a:gd name="connsiteY661" fmla="*/ 338227 h 614713"/>
              <a:gd name="connsiteX662" fmla="*/ 420253 w 736968"/>
              <a:gd name="connsiteY662" fmla="*/ 329855 h 614713"/>
              <a:gd name="connsiteX663" fmla="*/ 413957 w 736968"/>
              <a:gd name="connsiteY663" fmla="*/ 334123 h 614713"/>
              <a:gd name="connsiteX664" fmla="*/ 407173 w 736968"/>
              <a:gd name="connsiteY664" fmla="*/ 333505 h 614713"/>
              <a:gd name="connsiteX665" fmla="*/ 409729 w 736968"/>
              <a:gd name="connsiteY665" fmla="*/ 327550 h 614713"/>
              <a:gd name="connsiteX666" fmla="*/ 416694 w 736968"/>
              <a:gd name="connsiteY666" fmla="*/ 322460 h 614713"/>
              <a:gd name="connsiteX667" fmla="*/ 422543 w 736968"/>
              <a:gd name="connsiteY667" fmla="*/ 317421 h 614713"/>
              <a:gd name="connsiteX668" fmla="*/ 414369 w 736968"/>
              <a:gd name="connsiteY668" fmla="*/ 316419 h 614713"/>
              <a:gd name="connsiteX669" fmla="*/ 413579 w 736968"/>
              <a:gd name="connsiteY669" fmla="*/ 312948 h 614713"/>
              <a:gd name="connsiteX670" fmla="*/ 412345 w 736968"/>
              <a:gd name="connsiteY670" fmla="*/ 317396 h 614713"/>
              <a:gd name="connsiteX671" fmla="*/ 408194 w 736968"/>
              <a:gd name="connsiteY671" fmla="*/ 318955 h 614713"/>
              <a:gd name="connsiteX672" fmla="*/ 405783 w 736968"/>
              <a:gd name="connsiteY672" fmla="*/ 326462 h 614713"/>
              <a:gd name="connsiteX673" fmla="*/ 406916 w 736968"/>
              <a:gd name="connsiteY673" fmla="*/ 329923 h 614713"/>
              <a:gd name="connsiteX674" fmla="*/ 402918 w 736968"/>
              <a:gd name="connsiteY674" fmla="*/ 331783 h 614713"/>
              <a:gd name="connsiteX675" fmla="*/ 402918 w 736968"/>
              <a:gd name="connsiteY675" fmla="*/ 335956 h 614713"/>
              <a:gd name="connsiteX676" fmla="*/ 401340 w 736968"/>
              <a:gd name="connsiteY676" fmla="*/ 337858 h 614713"/>
              <a:gd name="connsiteX677" fmla="*/ 395920 w 736968"/>
              <a:gd name="connsiteY677" fmla="*/ 334191 h 614713"/>
              <a:gd name="connsiteX678" fmla="*/ 387496 w 736968"/>
              <a:gd name="connsiteY678" fmla="*/ 329949 h 614713"/>
              <a:gd name="connsiteX679" fmla="*/ 390095 w 736968"/>
              <a:gd name="connsiteY679" fmla="*/ 334328 h 614713"/>
              <a:gd name="connsiteX680" fmla="*/ 393106 w 736968"/>
              <a:gd name="connsiteY680" fmla="*/ 338749 h 614713"/>
              <a:gd name="connsiteX681" fmla="*/ 386844 w 736968"/>
              <a:gd name="connsiteY681" fmla="*/ 335528 h 614713"/>
              <a:gd name="connsiteX682" fmla="*/ 380471 w 736968"/>
              <a:gd name="connsiteY682" fmla="*/ 332794 h 614713"/>
              <a:gd name="connsiteX683" fmla="*/ 375685 w 736968"/>
              <a:gd name="connsiteY683" fmla="*/ 334756 h 614713"/>
              <a:gd name="connsiteX684" fmla="*/ 371088 w 736968"/>
              <a:gd name="connsiteY684" fmla="*/ 338081 h 614713"/>
              <a:gd name="connsiteX685" fmla="*/ 366216 w 736968"/>
              <a:gd name="connsiteY685" fmla="*/ 344885 h 614713"/>
              <a:gd name="connsiteX686" fmla="*/ 355083 w 736968"/>
              <a:gd name="connsiteY686" fmla="*/ 341612 h 614713"/>
              <a:gd name="connsiteX687" fmla="*/ 357768 w 736968"/>
              <a:gd name="connsiteY687" fmla="*/ 333788 h 614713"/>
              <a:gd name="connsiteX688" fmla="*/ 365453 w 736968"/>
              <a:gd name="connsiteY688" fmla="*/ 334808 h 614713"/>
              <a:gd name="connsiteX689" fmla="*/ 365847 w 736968"/>
              <a:gd name="connsiteY689" fmla="*/ 328758 h 614713"/>
              <a:gd name="connsiteX690" fmla="*/ 363368 w 736968"/>
              <a:gd name="connsiteY690" fmla="*/ 326479 h 614713"/>
              <a:gd name="connsiteX691" fmla="*/ 369338 w 736968"/>
              <a:gd name="connsiteY691" fmla="*/ 323994 h 614713"/>
              <a:gd name="connsiteX692" fmla="*/ 374502 w 736968"/>
              <a:gd name="connsiteY692" fmla="*/ 318295 h 614713"/>
              <a:gd name="connsiteX693" fmla="*/ 377924 w 736968"/>
              <a:gd name="connsiteY693" fmla="*/ 316444 h 614713"/>
              <a:gd name="connsiteX694" fmla="*/ 376586 w 736968"/>
              <a:gd name="connsiteY694" fmla="*/ 312391 h 614713"/>
              <a:gd name="connsiteX695" fmla="*/ 378139 w 736968"/>
              <a:gd name="connsiteY695" fmla="*/ 310292 h 614713"/>
              <a:gd name="connsiteX696" fmla="*/ 379614 w 736968"/>
              <a:gd name="connsiteY696" fmla="*/ 313771 h 614713"/>
              <a:gd name="connsiteX697" fmla="*/ 381407 w 736968"/>
              <a:gd name="connsiteY697" fmla="*/ 315245 h 614713"/>
              <a:gd name="connsiteX698" fmla="*/ 388680 w 736968"/>
              <a:gd name="connsiteY698" fmla="*/ 312554 h 614713"/>
              <a:gd name="connsiteX699" fmla="*/ 388818 w 736968"/>
              <a:gd name="connsiteY699" fmla="*/ 307198 h 614713"/>
              <a:gd name="connsiteX700" fmla="*/ 390619 w 736968"/>
              <a:gd name="connsiteY700" fmla="*/ 306718 h 614713"/>
              <a:gd name="connsiteX701" fmla="*/ 389521 w 736968"/>
              <a:gd name="connsiteY701" fmla="*/ 303822 h 614713"/>
              <a:gd name="connsiteX702" fmla="*/ 393278 w 736968"/>
              <a:gd name="connsiteY702" fmla="*/ 300523 h 614713"/>
              <a:gd name="connsiteX703" fmla="*/ 389092 w 736968"/>
              <a:gd name="connsiteY703" fmla="*/ 302631 h 614713"/>
              <a:gd name="connsiteX704" fmla="*/ 385583 w 736968"/>
              <a:gd name="connsiteY704" fmla="*/ 299066 h 614713"/>
              <a:gd name="connsiteX705" fmla="*/ 385789 w 736968"/>
              <a:gd name="connsiteY705" fmla="*/ 294002 h 614713"/>
              <a:gd name="connsiteX706" fmla="*/ 383680 w 736968"/>
              <a:gd name="connsiteY706" fmla="*/ 297961 h 614713"/>
              <a:gd name="connsiteX707" fmla="*/ 384031 w 736968"/>
              <a:gd name="connsiteY707" fmla="*/ 303985 h 614713"/>
              <a:gd name="connsiteX708" fmla="*/ 382642 w 736968"/>
              <a:gd name="connsiteY708" fmla="*/ 312425 h 614713"/>
              <a:gd name="connsiteX709" fmla="*/ 378877 w 736968"/>
              <a:gd name="connsiteY709" fmla="*/ 307824 h 614713"/>
              <a:gd name="connsiteX710" fmla="*/ 378388 w 736968"/>
              <a:gd name="connsiteY710" fmla="*/ 307267 h 614713"/>
              <a:gd name="connsiteX711" fmla="*/ 378336 w 736968"/>
              <a:gd name="connsiteY711" fmla="*/ 307241 h 614713"/>
              <a:gd name="connsiteX712" fmla="*/ 378096 w 736968"/>
              <a:gd name="connsiteY712" fmla="*/ 307198 h 614713"/>
              <a:gd name="connsiteX713" fmla="*/ 378087 w 736968"/>
              <a:gd name="connsiteY713" fmla="*/ 307198 h 614713"/>
              <a:gd name="connsiteX714" fmla="*/ 377830 w 736968"/>
              <a:gd name="connsiteY714" fmla="*/ 307327 h 614713"/>
              <a:gd name="connsiteX715" fmla="*/ 377761 w 736968"/>
              <a:gd name="connsiteY715" fmla="*/ 307387 h 614713"/>
              <a:gd name="connsiteX716" fmla="*/ 377478 w 736968"/>
              <a:gd name="connsiteY716" fmla="*/ 307729 h 614713"/>
              <a:gd name="connsiteX717" fmla="*/ 376870 w 736968"/>
              <a:gd name="connsiteY717" fmla="*/ 308749 h 614713"/>
              <a:gd name="connsiteX718" fmla="*/ 376063 w 736968"/>
              <a:gd name="connsiteY718" fmla="*/ 310669 h 614713"/>
              <a:gd name="connsiteX719" fmla="*/ 374665 w 736968"/>
              <a:gd name="connsiteY719" fmla="*/ 311903 h 614713"/>
              <a:gd name="connsiteX720" fmla="*/ 368541 w 736968"/>
              <a:gd name="connsiteY720" fmla="*/ 312262 h 614713"/>
              <a:gd name="connsiteX721" fmla="*/ 366156 w 736968"/>
              <a:gd name="connsiteY721" fmla="*/ 312211 h 614713"/>
              <a:gd name="connsiteX722" fmla="*/ 367297 w 736968"/>
              <a:gd name="connsiteY722" fmla="*/ 315648 h 614713"/>
              <a:gd name="connsiteX723" fmla="*/ 370119 w 736968"/>
              <a:gd name="connsiteY723" fmla="*/ 320883 h 614713"/>
              <a:gd name="connsiteX724" fmla="*/ 362879 w 736968"/>
              <a:gd name="connsiteY724" fmla="*/ 322674 h 614713"/>
              <a:gd name="connsiteX725" fmla="*/ 364303 w 736968"/>
              <a:gd name="connsiteY725" fmla="*/ 317241 h 614713"/>
              <a:gd name="connsiteX726" fmla="*/ 362965 w 736968"/>
              <a:gd name="connsiteY726" fmla="*/ 311980 h 614713"/>
              <a:gd name="connsiteX727" fmla="*/ 333211 w 736968"/>
              <a:gd name="connsiteY727" fmla="*/ 299615 h 614713"/>
              <a:gd name="connsiteX728" fmla="*/ 305369 w 736968"/>
              <a:gd name="connsiteY728" fmla="*/ 327430 h 614713"/>
              <a:gd name="connsiteX729" fmla="*/ 355452 w 736968"/>
              <a:gd name="connsiteY729" fmla="*/ 350609 h 614713"/>
              <a:gd name="connsiteX730" fmla="*/ 361379 w 736968"/>
              <a:gd name="connsiteY730" fmla="*/ 347618 h 614713"/>
              <a:gd name="connsiteX731" fmla="*/ 371552 w 736968"/>
              <a:gd name="connsiteY731" fmla="*/ 346307 h 614713"/>
              <a:gd name="connsiteX732" fmla="*/ 374030 w 736968"/>
              <a:gd name="connsiteY732" fmla="*/ 412589 h 614713"/>
              <a:gd name="connsiteX733" fmla="*/ 374030 w 736968"/>
              <a:gd name="connsiteY733" fmla="*/ 451869 h 614713"/>
              <a:gd name="connsiteX734" fmla="*/ 420176 w 736968"/>
              <a:gd name="connsiteY734" fmla="*/ 445022 h 614713"/>
              <a:gd name="connsiteX735" fmla="*/ 411908 w 736968"/>
              <a:gd name="connsiteY735" fmla="*/ 436890 h 614713"/>
              <a:gd name="connsiteX736" fmla="*/ 407147 w 736968"/>
              <a:gd name="connsiteY736" fmla="*/ 424799 h 614713"/>
              <a:gd name="connsiteX737" fmla="*/ 406066 w 736968"/>
              <a:gd name="connsiteY737" fmla="*/ 417061 h 614713"/>
              <a:gd name="connsiteX738" fmla="*/ 397257 w 736968"/>
              <a:gd name="connsiteY738" fmla="*/ 410009 h 614713"/>
              <a:gd name="connsiteX739" fmla="*/ 374030 w 736968"/>
              <a:gd name="connsiteY739" fmla="*/ 412589 h 614713"/>
              <a:gd name="connsiteX740" fmla="*/ 392901 w 736968"/>
              <a:gd name="connsiteY740" fmla="*/ 399667 h 614713"/>
              <a:gd name="connsiteX741" fmla="*/ 387162 w 736968"/>
              <a:gd name="connsiteY741" fmla="*/ 398672 h 614713"/>
              <a:gd name="connsiteX742" fmla="*/ 374030 w 736968"/>
              <a:gd name="connsiteY742" fmla="*/ 396624 h 614713"/>
              <a:gd name="connsiteX743" fmla="*/ 374030 w 736968"/>
              <a:gd name="connsiteY743" fmla="*/ 401620 h 614713"/>
              <a:gd name="connsiteX744" fmla="*/ 392901 w 736968"/>
              <a:gd name="connsiteY744" fmla="*/ 399667 h 614713"/>
              <a:gd name="connsiteX745" fmla="*/ 538481 w 736968"/>
              <a:gd name="connsiteY745" fmla="*/ 434105 h 614713"/>
              <a:gd name="connsiteX746" fmla="*/ 510579 w 736968"/>
              <a:gd name="connsiteY746" fmla="*/ 406230 h 614713"/>
              <a:gd name="connsiteX747" fmla="*/ 462016 w 736968"/>
              <a:gd name="connsiteY747" fmla="*/ 440532 h 614713"/>
              <a:gd name="connsiteX748" fmla="*/ 443532 w 736968"/>
              <a:gd name="connsiteY748" fmla="*/ 450643 h 614713"/>
              <a:gd name="connsiteX749" fmla="*/ 436215 w 736968"/>
              <a:gd name="connsiteY749" fmla="*/ 453017 h 614713"/>
              <a:gd name="connsiteX750" fmla="*/ 433943 w 736968"/>
              <a:gd name="connsiteY750" fmla="*/ 452298 h 614713"/>
              <a:gd name="connsiteX751" fmla="*/ 374030 w 736968"/>
              <a:gd name="connsiteY751" fmla="*/ 462837 h 614713"/>
              <a:gd name="connsiteX752" fmla="*/ 374030 w 736968"/>
              <a:gd name="connsiteY752" fmla="*/ 502101 h 614713"/>
              <a:gd name="connsiteX753" fmla="*/ 538481 w 736968"/>
              <a:gd name="connsiteY753" fmla="*/ 434105 h 614713"/>
              <a:gd name="connsiteX754" fmla="*/ 483477 w 736968"/>
              <a:gd name="connsiteY754" fmla="*/ 150112 h 614713"/>
              <a:gd name="connsiteX755" fmla="*/ 483159 w 736968"/>
              <a:gd name="connsiteY755" fmla="*/ 150566 h 614713"/>
              <a:gd name="connsiteX756" fmla="*/ 500590 w 736968"/>
              <a:gd name="connsiteY756" fmla="*/ 173205 h 614713"/>
              <a:gd name="connsiteX757" fmla="*/ 502491 w 736968"/>
              <a:gd name="connsiteY757" fmla="*/ 172717 h 614713"/>
              <a:gd name="connsiteX758" fmla="*/ 505158 w 736968"/>
              <a:gd name="connsiteY758" fmla="*/ 176427 h 614713"/>
              <a:gd name="connsiteX759" fmla="*/ 505124 w 736968"/>
              <a:gd name="connsiteY759" fmla="*/ 180840 h 614713"/>
              <a:gd name="connsiteX760" fmla="*/ 508780 w 736968"/>
              <a:gd name="connsiteY760" fmla="*/ 187789 h 614713"/>
              <a:gd name="connsiteX761" fmla="*/ 511549 w 736968"/>
              <a:gd name="connsiteY761" fmla="*/ 190172 h 614713"/>
              <a:gd name="connsiteX762" fmla="*/ 513779 w 736968"/>
              <a:gd name="connsiteY762" fmla="*/ 199041 h 614713"/>
              <a:gd name="connsiteX763" fmla="*/ 518944 w 736968"/>
              <a:gd name="connsiteY763" fmla="*/ 214225 h 614713"/>
              <a:gd name="connsiteX764" fmla="*/ 523487 w 736968"/>
              <a:gd name="connsiteY764" fmla="*/ 216324 h 614713"/>
              <a:gd name="connsiteX765" fmla="*/ 521552 w 736968"/>
              <a:gd name="connsiteY765" fmla="*/ 224928 h 614713"/>
              <a:gd name="connsiteX766" fmla="*/ 524714 w 736968"/>
              <a:gd name="connsiteY766" fmla="*/ 251080 h 614713"/>
              <a:gd name="connsiteX767" fmla="*/ 564026 w 736968"/>
              <a:gd name="connsiteY767" fmla="*/ 251080 h 614713"/>
              <a:gd name="connsiteX768" fmla="*/ 547393 w 736968"/>
              <a:gd name="connsiteY768" fmla="*/ 177396 h 614713"/>
              <a:gd name="connsiteX769" fmla="*/ 544246 w 736968"/>
              <a:gd name="connsiteY769" fmla="*/ 179744 h 614713"/>
              <a:gd name="connsiteX770" fmla="*/ 537273 w 736968"/>
              <a:gd name="connsiteY770" fmla="*/ 176924 h 614713"/>
              <a:gd name="connsiteX771" fmla="*/ 522736 w 736968"/>
              <a:gd name="connsiteY771" fmla="*/ 160866 h 614713"/>
              <a:gd name="connsiteX772" fmla="*/ 514570 w 736968"/>
              <a:gd name="connsiteY772" fmla="*/ 155973 h 614713"/>
              <a:gd name="connsiteX773" fmla="*/ 507185 w 736968"/>
              <a:gd name="connsiteY773" fmla="*/ 150386 h 614713"/>
              <a:gd name="connsiteX774" fmla="*/ 502045 w 736968"/>
              <a:gd name="connsiteY774" fmla="*/ 145176 h 614713"/>
              <a:gd name="connsiteX775" fmla="*/ 492797 w 736968"/>
              <a:gd name="connsiteY775" fmla="*/ 140180 h 614713"/>
              <a:gd name="connsiteX776" fmla="*/ 483391 w 736968"/>
              <a:gd name="connsiteY776" fmla="*/ 149581 h 614713"/>
              <a:gd name="connsiteX777" fmla="*/ 483477 w 736968"/>
              <a:gd name="connsiteY777" fmla="*/ 150112 h 614713"/>
              <a:gd name="connsiteX778" fmla="*/ 508426 w 736968"/>
              <a:gd name="connsiteY778" fmla="*/ 388570 h 614713"/>
              <a:gd name="connsiteX779" fmla="*/ 510579 w 736968"/>
              <a:gd name="connsiteY779" fmla="*/ 390720 h 614713"/>
              <a:gd name="connsiteX780" fmla="*/ 564026 w 736968"/>
              <a:gd name="connsiteY780" fmla="*/ 262048 h 614713"/>
              <a:gd name="connsiteX781" fmla="*/ 524714 w 736968"/>
              <a:gd name="connsiteY781" fmla="*/ 262048 h 614713"/>
              <a:gd name="connsiteX782" fmla="*/ 482799 w 736968"/>
              <a:gd name="connsiteY782" fmla="*/ 362966 h 614713"/>
              <a:gd name="connsiteX783" fmla="*/ 496987 w 736968"/>
              <a:gd name="connsiteY783" fmla="*/ 377138 h 614713"/>
              <a:gd name="connsiteX784" fmla="*/ 497278 w 736968"/>
              <a:gd name="connsiteY784" fmla="*/ 376547 h 614713"/>
              <a:gd name="connsiteX785" fmla="*/ 498141 w 736968"/>
              <a:gd name="connsiteY785" fmla="*/ 368535 h 614713"/>
              <a:gd name="connsiteX786" fmla="*/ 504062 w 736968"/>
              <a:gd name="connsiteY786" fmla="*/ 369863 h 614713"/>
              <a:gd name="connsiteX787" fmla="*/ 507340 w 736968"/>
              <a:gd name="connsiteY787" fmla="*/ 378613 h 614713"/>
              <a:gd name="connsiteX788" fmla="*/ 508426 w 736968"/>
              <a:gd name="connsiteY788" fmla="*/ 388570 h 614713"/>
              <a:gd name="connsiteX789" fmla="*/ 478578 w 736968"/>
              <a:gd name="connsiteY789" fmla="*/ 413077 h 614713"/>
              <a:gd name="connsiteX790" fmla="*/ 473193 w 736968"/>
              <a:gd name="connsiteY790" fmla="*/ 421535 h 614713"/>
              <a:gd name="connsiteX791" fmla="*/ 502825 w 736968"/>
              <a:gd name="connsiteY791" fmla="*/ 398475 h 614713"/>
              <a:gd name="connsiteX792" fmla="*/ 475036 w 736968"/>
              <a:gd name="connsiteY792" fmla="*/ 370720 h 614713"/>
              <a:gd name="connsiteX793" fmla="*/ 469067 w 736968"/>
              <a:gd name="connsiteY793" fmla="*/ 375982 h 614713"/>
              <a:gd name="connsiteX794" fmla="*/ 472935 w 736968"/>
              <a:gd name="connsiteY794" fmla="*/ 382863 h 614713"/>
              <a:gd name="connsiteX795" fmla="*/ 482713 w 736968"/>
              <a:gd name="connsiteY795" fmla="*/ 392606 h 614713"/>
              <a:gd name="connsiteX796" fmla="*/ 474942 w 736968"/>
              <a:gd name="connsiteY796" fmla="*/ 405587 h 614713"/>
              <a:gd name="connsiteX797" fmla="*/ 478578 w 736968"/>
              <a:gd name="connsiteY797" fmla="*/ 413077 h 614713"/>
              <a:gd name="connsiteX798" fmla="*/ 485063 w 736968"/>
              <a:gd name="connsiteY798" fmla="*/ 250583 h 614713"/>
              <a:gd name="connsiteX799" fmla="*/ 484780 w 736968"/>
              <a:gd name="connsiteY799" fmla="*/ 251080 h 614713"/>
              <a:gd name="connsiteX800" fmla="*/ 513726 w 736968"/>
              <a:gd name="connsiteY800" fmla="*/ 251080 h 614713"/>
              <a:gd name="connsiteX801" fmla="*/ 512727 w 736968"/>
              <a:gd name="connsiteY801" fmla="*/ 238689 h 614713"/>
              <a:gd name="connsiteX802" fmla="*/ 512048 w 736968"/>
              <a:gd name="connsiteY802" fmla="*/ 239966 h 614713"/>
              <a:gd name="connsiteX803" fmla="*/ 509716 w 736968"/>
              <a:gd name="connsiteY803" fmla="*/ 239795 h 614713"/>
              <a:gd name="connsiteX804" fmla="*/ 511801 w 736968"/>
              <a:gd name="connsiteY804" fmla="*/ 232417 h 614713"/>
              <a:gd name="connsiteX805" fmla="*/ 511069 w 736968"/>
              <a:gd name="connsiteY805" fmla="*/ 228441 h 614713"/>
              <a:gd name="connsiteX806" fmla="*/ 506986 w 736968"/>
              <a:gd name="connsiteY806" fmla="*/ 231526 h 614713"/>
              <a:gd name="connsiteX807" fmla="*/ 504028 w 736968"/>
              <a:gd name="connsiteY807" fmla="*/ 236333 h 614713"/>
              <a:gd name="connsiteX808" fmla="*/ 497671 w 736968"/>
              <a:gd name="connsiteY808" fmla="*/ 237267 h 614713"/>
              <a:gd name="connsiteX809" fmla="*/ 491735 w 736968"/>
              <a:gd name="connsiteY809" fmla="*/ 244559 h 614713"/>
              <a:gd name="connsiteX810" fmla="*/ 485063 w 736968"/>
              <a:gd name="connsiteY810" fmla="*/ 250583 h 614713"/>
              <a:gd name="connsiteX811" fmla="*/ 475036 w 736968"/>
              <a:gd name="connsiteY811" fmla="*/ 157926 h 614713"/>
              <a:gd name="connsiteX812" fmla="*/ 447246 w 736968"/>
              <a:gd name="connsiteY812" fmla="*/ 185690 h 614713"/>
              <a:gd name="connsiteX813" fmla="*/ 459914 w 736968"/>
              <a:gd name="connsiteY813" fmla="*/ 202948 h 614713"/>
              <a:gd name="connsiteX814" fmla="*/ 470516 w 736968"/>
              <a:gd name="connsiteY814" fmla="*/ 208458 h 614713"/>
              <a:gd name="connsiteX815" fmla="*/ 477515 w 736968"/>
              <a:gd name="connsiteY815" fmla="*/ 218672 h 614713"/>
              <a:gd name="connsiteX816" fmla="*/ 479531 w 736968"/>
              <a:gd name="connsiteY816" fmla="*/ 222836 h 614713"/>
              <a:gd name="connsiteX817" fmla="*/ 484154 w 736968"/>
              <a:gd name="connsiteY817" fmla="*/ 222803 h 614713"/>
              <a:gd name="connsiteX818" fmla="*/ 489214 w 736968"/>
              <a:gd name="connsiteY818" fmla="*/ 214430 h 614713"/>
              <a:gd name="connsiteX819" fmla="*/ 499353 w 736968"/>
              <a:gd name="connsiteY819" fmla="*/ 221054 h 614713"/>
              <a:gd name="connsiteX820" fmla="*/ 497079 w 736968"/>
              <a:gd name="connsiteY820" fmla="*/ 225416 h 614713"/>
              <a:gd name="connsiteX821" fmla="*/ 496808 w 736968"/>
              <a:gd name="connsiteY821" fmla="*/ 234293 h 614713"/>
              <a:gd name="connsiteX822" fmla="*/ 504843 w 736968"/>
              <a:gd name="connsiteY822" fmla="*/ 230523 h 614713"/>
              <a:gd name="connsiteX823" fmla="*/ 506899 w 736968"/>
              <a:gd name="connsiteY823" fmla="*/ 224687 h 614713"/>
              <a:gd name="connsiteX824" fmla="*/ 509784 w 736968"/>
              <a:gd name="connsiteY824" fmla="*/ 222579 h 614713"/>
              <a:gd name="connsiteX825" fmla="*/ 502336 w 736968"/>
              <a:gd name="connsiteY825" fmla="*/ 199992 h 614713"/>
              <a:gd name="connsiteX826" fmla="*/ 499669 w 736968"/>
              <a:gd name="connsiteY826" fmla="*/ 198329 h 614713"/>
              <a:gd name="connsiteX827" fmla="*/ 496541 w 736968"/>
              <a:gd name="connsiteY827" fmla="*/ 195399 h 614713"/>
              <a:gd name="connsiteX828" fmla="*/ 492550 w 736968"/>
              <a:gd name="connsiteY828" fmla="*/ 189057 h 614713"/>
              <a:gd name="connsiteX829" fmla="*/ 496619 w 736968"/>
              <a:gd name="connsiteY829" fmla="*/ 189649 h 614713"/>
              <a:gd name="connsiteX830" fmla="*/ 497123 w 736968"/>
              <a:gd name="connsiteY830" fmla="*/ 189024 h 614713"/>
              <a:gd name="connsiteX831" fmla="*/ 475036 w 736968"/>
              <a:gd name="connsiteY831" fmla="*/ 157926 h 614713"/>
              <a:gd name="connsiteX832" fmla="*/ 441319 w 736968"/>
              <a:gd name="connsiteY832" fmla="*/ 195622 h 614713"/>
              <a:gd name="connsiteX833" fmla="*/ 437949 w 736968"/>
              <a:gd name="connsiteY833" fmla="*/ 194979 h 614713"/>
              <a:gd name="connsiteX834" fmla="*/ 428762 w 736968"/>
              <a:gd name="connsiteY834" fmla="*/ 204148 h 614713"/>
              <a:gd name="connsiteX835" fmla="*/ 434663 w 736968"/>
              <a:gd name="connsiteY835" fmla="*/ 204945 h 614713"/>
              <a:gd name="connsiteX836" fmla="*/ 439654 w 736968"/>
              <a:gd name="connsiteY836" fmla="*/ 198844 h 614713"/>
              <a:gd name="connsiteX837" fmla="*/ 441293 w 736968"/>
              <a:gd name="connsiteY837" fmla="*/ 203214 h 614713"/>
              <a:gd name="connsiteX838" fmla="*/ 438857 w 736968"/>
              <a:gd name="connsiteY838" fmla="*/ 207181 h 614713"/>
              <a:gd name="connsiteX839" fmla="*/ 441079 w 736968"/>
              <a:gd name="connsiteY839" fmla="*/ 211689 h 614713"/>
              <a:gd name="connsiteX840" fmla="*/ 442914 w 736968"/>
              <a:gd name="connsiteY840" fmla="*/ 215510 h 614713"/>
              <a:gd name="connsiteX841" fmla="*/ 443789 w 736968"/>
              <a:gd name="connsiteY841" fmla="*/ 209863 h 614713"/>
              <a:gd name="connsiteX842" fmla="*/ 448678 w 736968"/>
              <a:gd name="connsiteY842" fmla="*/ 210352 h 614713"/>
              <a:gd name="connsiteX843" fmla="*/ 450231 w 736968"/>
              <a:gd name="connsiteY843" fmla="*/ 208158 h 614713"/>
              <a:gd name="connsiteX844" fmla="*/ 441319 w 736968"/>
              <a:gd name="connsiteY844" fmla="*/ 195622 h 614713"/>
              <a:gd name="connsiteX845" fmla="*/ 426995 w 736968"/>
              <a:gd name="connsiteY845" fmla="*/ 341397 h 614713"/>
              <a:gd name="connsiteX846" fmla="*/ 424524 w 736968"/>
              <a:gd name="connsiteY846" fmla="*/ 342442 h 614713"/>
              <a:gd name="connsiteX847" fmla="*/ 442503 w 736968"/>
              <a:gd name="connsiteY847" fmla="*/ 351020 h 614713"/>
              <a:gd name="connsiteX848" fmla="*/ 453319 w 736968"/>
              <a:gd name="connsiteY848" fmla="*/ 351380 h 614713"/>
              <a:gd name="connsiteX849" fmla="*/ 460112 w 736968"/>
              <a:gd name="connsiteY849" fmla="*/ 352331 h 614713"/>
              <a:gd name="connsiteX850" fmla="*/ 465884 w 736968"/>
              <a:gd name="connsiteY850" fmla="*/ 346590 h 614713"/>
              <a:gd name="connsiteX851" fmla="*/ 470164 w 736968"/>
              <a:gd name="connsiteY851" fmla="*/ 339272 h 614713"/>
              <a:gd name="connsiteX852" fmla="*/ 474925 w 736968"/>
              <a:gd name="connsiteY852" fmla="*/ 352323 h 614713"/>
              <a:gd name="connsiteX853" fmla="*/ 474616 w 736968"/>
              <a:gd name="connsiteY853" fmla="*/ 354791 h 614713"/>
              <a:gd name="connsiteX854" fmla="*/ 475036 w 736968"/>
              <a:gd name="connsiteY854" fmla="*/ 355211 h 614713"/>
              <a:gd name="connsiteX855" fmla="*/ 513726 w 736968"/>
              <a:gd name="connsiteY855" fmla="*/ 262048 h 614713"/>
              <a:gd name="connsiteX856" fmla="*/ 483845 w 736968"/>
              <a:gd name="connsiteY856" fmla="*/ 262048 h 614713"/>
              <a:gd name="connsiteX857" fmla="*/ 488535 w 736968"/>
              <a:gd name="connsiteY857" fmla="*/ 269811 h 614713"/>
              <a:gd name="connsiteX858" fmla="*/ 493476 w 736968"/>
              <a:gd name="connsiteY858" fmla="*/ 278081 h 614713"/>
              <a:gd name="connsiteX859" fmla="*/ 501899 w 736968"/>
              <a:gd name="connsiteY859" fmla="*/ 284696 h 614713"/>
              <a:gd name="connsiteX860" fmla="*/ 481246 w 736968"/>
              <a:gd name="connsiteY860" fmla="*/ 291320 h 614713"/>
              <a:gd name="connsiteX861" fmla="*/ 477713 w 736968"/>
              <a:gd name="connsiteY861" fmla="*/ 293736 h 614713"/>
              <a:gd name="connsiteX862" fmla="*/ 468474 w 736968"/>
              <a:gd name="connsiteY862" fmla="*/ 299555 h 614713"/>
              <a:gd name="connsiteX863" fmla="*/ 463346 w 736968"/>
              <a:gd name="connsiteY863" fmla="*/ 309537 h 614713"/>
              <a:gd name="connsiteX864" fmla="*/ 453507 w 736968"/>
              <a:gd name="connsiteY864" fmla="*/ 319135 h 614713"/>
              <a:gd name="connsiteX865" fmla="*/ 444527 w 736968"/>
              <a:gd name="connsiteY865" fmla="*/ 324439 h 614713"/>
              <a:gd name="connsiteX866" fmla="*/ 452666 w 736968"/>
              <a:gd name="connsiteY866" fmla="*/ 324971 h 614713"/>
              <a:gd name="connsiteX867" fmla="*/ 454185 w 736968"/>
              <a:gd name="connsiteY867" fmla="*/ 324516 h 614713"/>
              <a:gd name="connsiteX868" fmla="*/ 457839 w 736968"/>
              <a:gd name="connsiteY868" fmla="*/ 321663 h 614713"/>
              <a:gd name="connsiteX869" fmla="*/ 459031 w 736968"/>
              <a:gd name="connsiteY869" fmla="*/ 316907 h 614713"/>
              <a:gd name="connsiteX870" fmla="*/ 465807 w 736968"/>
              <a:gd name="connsiteY870" fmla="*/ 314062 h 614713"/>
              <a:gd name="connsiteX871" fmla="*/ 467814 w 736968"/>
              <a:gd name="connsiteY871" fmla="*/ 327858 h 614713"/>
              <a:gd name="connsiteX872" fmla="*/ 459511 w 736968"/>
              <a:gd name="connsiteY872" fmla="*/ 348278 h 614713"/>
              <a:gd name="connsiteX873" fmla="*/ 452521 w 736968"/>
              <a:gd name="connsiteY873" fmla="*/ 347644 h 614713"/>
              <a:gd name="connsiteX874" fmla="*/ 439818 w 736968"/>
              <a:gd name="connsiteY874" fmla="*/ 344662 h 614713"/>
              <a:gd name="connsiteX875" fmla="*/ 426995 w 736968"/>
              <a:gd name="connsiteY875" fmla="*/ 341397 h 614713"/>
              <a:gd name="connsiteX876" fmla="*/ 614306 w 736968"/>
              <a:gd name="connsiteY876" fmla="*/ 262048 h 614713"/>
              <a:gd name="connsiteX877" fmla="*/ 575014 w 736968"/>
              <a:gd name="connsiteY877" fmla="*/ 262048 h 614713"/>
              <a:gd name="connsiteX878" fmla="*/ 518342 w 736968"/>
              <a:gd name="connsiteY878" fmla="*/ 398475 h 614713"/>
              <a:gd name="connsiteX879" fmla="*/ 546244 w 736968"/>
              <a:gd name="connsiteY879" fmla="*/ 426350 h 614713"/>
              <a:gd name="connsiteX880" fmla="*/ 614306 w 736968"/>
              <a:gd name="connsiteY880" fmla="*/ 262048 h 614713"/>
              <a:gd name="connsiteX881" fmla="*/ 546244 w 736968"/>
              <a:gd name="connsiteY881" fmla="*/ 86787 h 614713"/>
              <a:gd name="connsiteX882" fmla="*/ 517135 w 736968"/>
              <a:gd name="connsiteY882" fmla="*/ 115870 h 614713"/>
              <a:gd name="connsiteX883" fmla="*/ 531876 w 736968"/>
              <a:gd name="connsiteY883" fmla="*/ 133556 h 614713"/>
              <a:gd name="connsiteX884" fmla="*/ 540440 w 736968"/>
              <a:gd name="connsiteY884" fmla="*/ 142022 h 614713"/>
              <a:gd name="connsiteX885" fmla="*/ 555724 w 736968"/>
              <a:gd name="connsiteY885" fmla="*/ 167112 h 614713"/>
              <a:gd name="connsiteX886" fmla="*/ 555021 w 736968"/>
              <a:gd name="connsiteY886" fmla="*/ 167721 h 614713"/>
              <a:gd name="connsiteX887" fmla="*/ 575004 w 736968"/>
              <a:gd name="connsiteY887" fmla="*/ 251080 h 614713"/>
              <a:gd name="connsiteX888" fmla="*/ 614306 w 736968"/>
              <a:gd name="connsiteY888" fmla="*/ 251080 h 614713"/>
              <a:gd name="connsiteX889" fmla="*/ 546244 w 736968"/>
              <a:gd name="connsiteY889" fmla="*/ 86787 h 614713"/>
              <a:gd name="connsiteX890" fmla="*/ 374030 w 736968"/>
              <a:gd name="connsiteY890" fmla="*/ 50292 h 614713"/>
              <a:gd name="connsiteX891" fmla="*/ 466605 w 736968"/>
              <a:gd name="connsiteY891" fmla="*/ 74824 h 614713"/>
              <a:gd name="connsiteX892" fmla="*/ 473578 w 736968"/>
              <a:gd name="connsiteY892" fmla="*/ 73274 h 614713"/>
              <a:gd name="connsiteX893" fmla="*/ 487274 w 736968"/>
              <a:gd name="connsiteY893" fmla="*/ 77275 h 614713"/>
              <a:gd name="connsiteX894" fmla="*/ 495983 w 736968"/>
              <a:gd name="connsiteY894" fmla="*/ 83479 h 614713"/>
              <a:gd name="connsiteX895" fmla="*/ 506060 w 736968"/>
              <a:gd name="connsiteY895" fmla="*/ 96401 h 614713"/>
              <a:gd name="connsiteX896" fmla="*/ 509027 w 736968"/>
              <a:gd name="connsiteY896" fmla="*/ 103788 h 614713"/>
              <a:gd name="connsiteX897" fmla="*/ 511166 w 736968"/>
              <a:gd name="connsiteY897" fmla="*/ 106324 h 614713"/>
              <a:gd name="connsiteX898" fmla="*/ 538490 w 736968"/>
              <a:gd name="connsiteY898" fmla="*/ 79032 h 614713"/>
              <a:gd name="connsiteX899" fmla="*/ 374030 w 736968"/>
              <a:gd name="connsiteY899" fmla="*/ 11037 h 614713"/>
              <a:gd name="connsiteX900" fmla="*/ 374030 w 736968"/>
              <a:gd name="connsiteY900" fmla="*/ 50292 h 614713"/>
              <a:gd name="connsiteX901" fmla="*/ 374030 w 736968"/>
              <a:gd name="connsiteY901" fmla="*/ 100540 h 614713"/>
              <a:gd name="connsiteX902" fmla="*/ 462994 w 736968"/>
              <a:gd name="connsiteY902" fmla="*/ 132306 h 614713"/>
              <a:gd name="connsiteX903" fmla="*/ 456011 w 736968"/>
              <a:gd name="connsiteY903" fmla="*/ 123325 h 614713"/>
              <a:gd name="connsiteX904" fmla="*/ 445488 w 736968"/>
              <a:gd name="connsiteY904" fmla="*/ 116144 h 614713"/>
              <a:gd name="connsiteX905" fmla="*/ 455823 w 736968"/>
              <a:gd name="connsiteY905" fmla="*/ 119948 h 614713"/>
              <a:gd name="connsiteX906" fmla="*/ 452221 w 736968"/>
              <a:gd name="connsiteY906" fmla="*/ 110960 h 614713"/>
              <a:gd name="connsiteX907" fmla="*/ 462916 w 736968"/>
              <a:gd name="connsiteY907" fmla="*/ 122974 h 614713"/>
              <a:gd name="connsiteX908" fmla="*/ 470868 w 736968"/>
              <a:gd name="connsiteY908" fmla="*/ 125990 h 614713"/>
              <a:gd name="connsiteX909" fmla="*/ 475697 w 736968"/>
              <a:gd name="connsiteY909" fmla="*/ 132425 h 614713"/>
              <a:gd name="connsiteX910" fmla="*/ 477927 w 736968"/>
              <a:gd name="connsiteY910" fmla="*/ 135022 h 614713"/>
              <a:gd name="connsiteX911" fmla="*/ 475148 w 736968"/>
              <a:gd name="connsiteY911" fmla="*/ 134148 h 614713"/>
              <a:gd name="connsiteX912" fmla="*/ 477026 w 736968"/>
              <a:gd name="connsiteY912" fmla="*/ 140437 h 614713"/>
              <a:gd name="connsiteX913" fmla="*/ 490082 w 736968"/>
              <a:gd name="connsiteY913" fmla="*/ 127387 h 614713"/>
              <a:gd name="connsiteX914" fmla="*/ 481838 w 736968"/>
              <a:gd name="connsiteY914" fmla="*/ 117841 h 614713"/>
              <a:gd name="connsiteX915" fmla="*/ 475637 w 736968"/>
              <a:gd name="connsiteY915" fmla="*/ 120977 h 614713"/>
              <a:gd name="connsiteX916" fmla="*/ 471177 w 736968"/>
              <a:gd name="connsiteY916" fmla="*/ 121997 h 614713"/>
              <a:gd name="connsiteX917" fmla="*/ 471417 w 736968"/>
              <a:gd name="connsiteY917" fmla="*/ 116778 h 614713"/>
              <a:gd name="connsiteX918" fmla="*/ 469658 w 736968"/>
              <a:gd name="connsiteY918" fmla="*/ 112648 h 614713"/>
              <a:gd name="connsiteX919" fmla="*/ 468037 w 736968"/>
              <a:gd name="connsiteY919" fmla="*/ 103170 h 614713"/>
              <a:gd name="connsiteX920" fmla="*/ 462445 w 736968"/>
              <a:gd name="connsiteY920" fmla="*/ 94071 h 614713"/>
              <a:gd name="connsiteX921" fmla="*/ 456783 w 736968"/>
              <a:gd name="connsiteY921" fmla="*/ 82074 h 614713"/>
              <a:gd name="connsiteX922" fmla="*/ 374030 w 736968"/>
              <a:gd name="connsiteY922" fmla="*/ 61260 h 614713"/>
              <a:gd name="connsiteX923" fmla="*/ 374030 w 736968"/>
              <a:gd name="connsiteY923" fmla="*/ 100540 h 614713"/>
              <a:gd name="connsiteX924" fmla="*/ 374030 w 736968"/>
              <a:gd name="connsiteY924" fmla="*/ 150797 h 614713"/>
              <a:gd name="connsiteX925" fmla="*/ 439483 w 736968"/>
              <a:gd name="connsiteY925" fmla="*/ 177935 h 614713"/>
              <a:gd name="connsiteX926" fmla="*/ 467283 w 736968"/>
              <a:gd name="connsiteY926" fmla="*/ 150172 h 614713"/>
              <a:gd name="connsiteX927" fmla="*/ 374030 w 736968"/>
              <a:gd name="connsiteY927" fmla="*/ 111517 h 614713"/>
              <a:gd name="connsiteX928" fmla="*/ 374030 w 736968"/>
              <a:gd name="connsiteY928" fmla="*/ 150797 h 614713"/>
              <a:gd name="connsiteX929" fmla="*/ 374030 w 736968"/>
              <a:gd name="connsiteY929" fmla="*/ 201140 h 614713"/>
              <a:gd name="connsiteX930" fmla="*/ 385034 w 736968"/>
              <a:gd name="connsiteY930" fmla="*/ 203368 h 614713"/>
              <a:gd name="connsiteX931" fmla="*/ 390232 w 736968"/>
              <a:gd name="connsiteY931" fmla="*/ 198638 h 614713"/>
              <a:gd name="connsiteX932" fmla="*/ 393826 w 736968"/>
              <a:gd name="connsiteY932" fmla="*/ 199546 h 614713"/>
              <a:gd name="connsiteX933" fmla="*/ 390773 w 736968"/>
              <a:gd name="connsiteY933" fmla="*/ 205476 h 614713"/>
              <a:gd name="connsiteX934" fmla="*/ 401692 w 736968"/>
              <a:gd name="connsiteY934" fmla="*/ 211766 h 614713"/>
              <a:gd name="connsiteX935" fmla="*/ 403888 w 736968"/>
              <a:gd name="connsiteY935" fmla="*/ 213496 h 614713"/>
              <a:gd name="connsiteX936" fmla="*/ 407662 w 736968"/>
              <a:gd name="connsiteY936" fmla="*/ 209726 h 614713"/>
              <a:gd name="connsiteX937" fmla="*/ 407593 w 736968"/>
              <a:gd name="connsiteY937" fmla="*/ 209306 h 614713"/>
              <a:gd name="connsiteX938" fmla="*/ 414352 w 736968"/>
              <a:gd name="connsiteY938" fmla="*/ 203042 h 614713"/>
              <a:gd name="connsiteX939" fmla="*/ 426608 w 736968"/>
              <a:gd name="connsiteY939" fmla="*/ 190798 h 614713"/>
              <a:gd name="connsiteX940" fmla="*/ 425682 w 736968"/>
              <a:gd name="connsiteY940" fmla="*/ 190643 h 614713"/>
              <a:gd name="connsiteX941" fmla="*/ 420090 w 736968"/>
              <a:gd name="connsiteY941" fmla="*/ 192905 h 614713"/>
              <a:gd name="connsiteX942" fmla="*/ 428728 w 736968"/>
              <a:gd name="connsiteY942" fmla="*/ 186719 h 614713"/>
              <a:gd name="connsiteX943" fmla="*/ 430142 w 736968"/>
              <a:gd name="connsiteY943" fmla="*/ 187267 h 614713"/>
              <a:gd name="connsiteX944" fmla="*/ 431703 w 736968"/>
              <a:gd name="connsiteY944" fmla="*/ 185707 h 614713"/>
              <a:gd name="connsiteX945" fmla="*/ 374030 w 736968"/>
              <a:gd name="connsiteY945" fmla="*/ 161783 h 614713"/>
              <a:gd name="connsiteX946" fmla="*/ 374030 w 736968"/>
              <a:gd name="connsiteY946" fmla="*/ 201140 h 614713"/>
              <a:gd name="connsiteX947" fmla="*/ 368541 w 736968"/>
              <a:gd name="connsiteY947" fmla="*/ 211834 h 614713"/>
              <a:gd name="connsiteX948" fmla="*/ 355177 w 736968"/>
              <a:gd name="connsiteY948" fmla="*/ 213856 h 614713"/>
              <a:gd name="connsiteX949" fmla="*/ 354508 w 736968"/>
              <a:gd name="connsiteY949" fmla="*/ 215450 h 614713"/>
              <a:gd name="connsiteX950" fmla="*/ 359320 w 736968"/>
              <a:gd name="connsiteY950" fmla="*/ 216762 h 614713"/>
              <a:gd name="connsiteX951" fmla="*/ 356035 w 736968"/>
              <a:gd name="connsiteY951" fmla="*/ 218972 h 614713"/>
              <a:gd name="connsiteX952" fmla="*/ 359148 w 736968"/>
              <a:gd name="connsiteY952" fmla="*/ 221526 h 614713"/>
              <a:gd name="connsiteX953" fmla="*/ 356155 w 736968"/>
              <a:gd name="connsiteY953" fmla="*/ 227250 h 614713"/>
              <a:gd name="connsiteX954" fmla="*/ 344069 w 736968"/>
              <a:gd name="connsiteY954" fmla="*/ 231808 h 614713"/>
              <a:gd name="connsiteX955" fmla="*/ 340981 w 736968"/>
              <a:gd name="connsiteY955" fmla="*/ 237010 h 614713"/>
              <a:gd name="connsiteX956" fmla="*/ 331804 w 736968"/>
              <a:gd name="connsiteY956" fmla="*/ 244345 h 614713"/>
              <a:gd name="connsiteX957" fmla="*/ 336452 w 736968"/>
              <a:gd name="connsiteY957" fmla="*/ 242511 h 614713"/>
              <a:gd name="connsiteX958" fmla="*/ 342732 w 736968"/>
              <a:gd name="connsiteY958" fmla="*/ 239418 h 614713"/>
              <a:gd name="connsiteX959" fmla="*/ 343778 w 736968"/>
              <a:gd name="connsiteY959" fmla="*/ 244413 h 614713"/>
              <a:gd name="connsiteX960" fmla="*/ 336144 w 736968"/>
              <a:gd name="connsiteY960" fmla="*/ 249640 h 614713"/>
              <a:gd name="connsiteX961" fmla="*/ 332224 w 736968"/>
              <a:gd name="connsiteY961" fmla="*/ 249384 h 614713"/>
              <a:gd name="connsiteX962" fmla="*/ 339258 w 736968"/>
              <a:gd name="connsiteY962" fmla="*/ 252546 h 614713"/>
              <a:gd name="connsiteX963" fmla="*/ 334445 w 736968"/>
              <a:gd name="connsiteY963" fmla="*/ 256213 h 614713"/>
              <a:gd name="connsiteX964" fmla="*/ 335552 w 736968"/>
              <a:gd name="connsiteY964" fmla="*/ 258090 h 614713"/>
              <a:gd name="connsiteX965" fmla="*/ 340612 w 736968"/>
              <a:gd name="connsiteY965" fmla="*/ 258493 h 614713"/>
              <a:gd name="connsiteX966" fmla="*/ 331907 w 736968"/>
              <a:gd name="connsiteY966" fmla="*/ 275116 h 614713"/>
              <a:gd name="connsiteX967" fmla="*/ 328210 w 736968"/>
              <a:gd name="connsiteY967" fmla="*/ 275956 h 614713"/>
              <a:gd name="connsiteX968" fmla="*/ 333991 w 736968"/>
              <a:gd name="connsiteY968" fmla="*/ 284936 h 614713"/>
              <a:gd name="connsiteX969" fmla="*/ 339000 w 736968"/>
              <a:gd name="connsiteY969" fmla="*/ 278767 h 614713"/>
              <a:gd name="connsiteX970" fmla="*/ 340518 w 736968"/>
              <a:gd name="connsiteY970" fmla="*/ 276547 h 614713"/>
              <a:gd name="connsiteX971" fmla="*/ 343049 w 736968"/>
              <a:gd name="connsiteY971" fmla="*/ 274911 h 614713"/>
              <a:gd name="connsiteX972" fmla="*/ 347989 w 736968"/>
              <a:gd name="connsiteY972" fmla="*/ 268313 h 614713"/>
              <a:gd name="connsiteX973" fmla="*/ 347311 w 736968"/>
              <a:gd name="connsiteY973" fmla="*/ 264542 h 614713"/>
              <a:gd name="connsiteX974" fmla="*/ 349568 w 736968"/>
              <a:gd name="connsiteY974" fmla="*/ 262700 h 614713"/>
              <a:gd name="connsiteX975" fmla="*/ 353110 w 736968"/>
              <a:gd name="connsiteY975" fmla="*/ 263557 h 614713"/>
              <a:gd name="connsiteX976" fmla="*/ 359122 w 736968"/>
              <a:gd name="connsiteY976" fmla="*/ 264825 h 614713"/>
              <a:gd name="connsiteX977" fmla="*/ 363523 w 736968"/>
              <a:gd name="connsiteY977" fmla="*/ 266521 h 614713"/>
              <a:gd name="connsiteX978" fmla="*/ 363754 w 736968"/>
              <a:gd name="connsiteY978" fmla="*/ 269761 h 614713"/>
              <a:gd name="connsiteX979" fmla="*/ 365289 w 736968"/>
              <a:gd name="connsiteY979" fmla="*/ 269906 h 614713"/>
              <a:gd name="connsiteX980" fmla="*/ 361344 w 736968"/>
              <a:gd name="connsiteY980" fmla="*/ 275896 h 614713"/>
              <a:gd name="connsiteX981" fmla="*/ 355160 w 736968"/>
              <a:gd name="connsiteY981" fmla="*/ 287790 h 614713"/>
              <a:gd name="connsiteX982" fmla="*/ 348504 w 736968"/>
              <a:gd name="connsiteY982" fmla="*/ 287953 h 614713"/>
              <a:gd name="connsiteX983" fmla="*/ 344635 w 736968"/>
              <a:gd name="connsiteY983" fmla="*/ 289033 h 614713"/>
              <a:gd name="connsiteX984" fmla="*/ 339077 w 736968"/>
              <a:gd name="connsiteY984" fmla="*/ 290189 h 614713"/>
              <a:gd name="connsiteX985" fmla="*/ 368540 w 736968"/>
              <a:gd name="connsiteY985" fmla="*/ 301303 h 614713"/>
              <a:gd name="connsiteX986" fmla="*/ 375660 w 736968"/>
              <a:gd name="connsiteY986" fmla="*/ 300703 h 614713"/>
              <a:gd name="connsiteX987" fmla="*/ 378018 w 736968"/>
              <a:gd name="connsiteY987" fmla="*/ 294217 h 614713"/>
              <a:gd name="connsiteX988" fmla="*/ 378645 w 736968"/>
              <a:gd name="connsiteY988" fmla="*/ 290172 h 614713"/>
              <a:gd name="connsiteX989" fmla="*/ 384331 w 736968"/>
              <a:gd name="connsiteY989" fmla="*/ 284782 h 614713"/>
              <a:gd name="connsiteX990" fmla="*/ 388328 w 736968"/>
              <a:gd name="connsiteY990" fmla="*/ 285382 h 614713"/>
              <a:gd name="connsiteX991" fmla="*/ 394152 w 736968"/>
              <a:gd name="connsiteY991" fmla="*/ 286753 h 614713"/>
              <a:gd name="connsiteX992" fmla="*/ 389838 w 736968"/>
              <a:gd name="connsiteY992" fmla="*/ 289495 h 614713"/>
              <a:gd name="connsiteX993" fmla="*/ 394341 w 736968"/>
              <a:gd name="connsiteY993" fmla="*/ 290386 h 614713"/>
              <a:gd name="connsiteX994" fmla="*/ 395542 w 736968"/>
              <a:gd name="connsiteY994" fmla="*/ 284465 h 614713"/>
              <a:gd name="connsiteX995" fmla="*/ 396254 w 736968"/>
              <a:gd name="connsiteY995" fmla="*/ 282614 h 614713"/>
              <a:gd name="connsiteX996" fmla="*/ 398724 w 736968"/>
              <a:gd name="connsiteY996" fmla="*/ 276128 h 614713"/>
              <a:gd name="connsiteX997" fmla="*/ 393723 w 736968"/>
              <a:gd name="connsiteY997" fmla="*/ 275630 h 614713"/>
              <a:gd name="connsiteX998" fmla="*/ 390310 w 736968"/>
              <a:gd name="connsiteY998" fmla="*/ 270574 h 614713"/>
              <a:gd name="connsiteX999" fmla="*/ 395593 w 736968"/>
              <a:gd name="connsiteY999" fmla="*/ 274182 h 614713"/>
              <a:gd name="connsiteX1000" fmla="*/ 400019 w 736968"/>
              <a:gd name="connsiteY1000" fmla="*/ 270232 h 614713"/>
              <a:gd name="connsiteX1001" fmla="*/ 395585 w 736968"/>
              <a:gd name="connsiteY1001" fmla="*/ 266204 h 614713"/>
              <a:gd name="connsiteX1002" fmla="*/ 398475 w 736968"/>
              <a:gd name="connsiteY1002" fmla="*/ 265073 h 614713"/>
              <a:gd name="connsiteX1003" fmla="*/ 396631 w 736968"/>
              <a:gd name="connsiteY1003" fmla="*/ 260772 h 614713"/>
              <a:gd name="connsiteX1004" fmla="*/ 390686 w 736968"/>
              <a:gd name="connsiteY1004" fmla="*/ 252357 h 614713"/>
              <a:gd name="connsiteX1005" fmla="*/ 386887 w 736968"/>
              <a:gd name="connsiteY1005" fmla="*/ 254807 h 614713"/>
              <a:gd name="connsiteX1006" fmla="*/ 385223 w 736968"/>
              <a:gd name="connsiteY1006" fmla="*/ 253522 h 614713"/>
              <a:gd name="connsiteX1007" fmla="*/ 389495 w 736968"/>
              <a:gd name="connsiteY1007" fmla="*/ 248467 h 614713"/>
              <a:gd name="connsiteX1008" fmla="*/ 393543 w 736968"/>
              <a:gd name="connsiteY1008" fmla="*/ 244482 h 614713"/>
              <a:gd name="connsiteX1009" fmla="*/ 390764 w 736968"/>
              <a:gd name="connsiteY1009" fmla="*/ 238707 h 614713"/>
              <a:gd name="connsiteX1010" fmla="*/ 387531 w 736968"/>
              <a:gd name="connsiteY1010" fmla="*/ 233651 h 614713"/>
              <a:gd name="connsiteX1011" fmla="*/ 383851 w 736968"/>
              <a:gd name="connsiteY1011" fmla="*/ 228801 h 614713"/>
              <a:gd name="connsiteX1012" fmla="*/ 380094 w 736968"/>
              <a:gd name="connsiteY1012" fmla="*/ 226290 h 614713"/>
              <a:gd name="connsiteX1013" fmla="*/ 373498 w 736968"/>
              <a:gd name="connsiteY1013" fmla="*/ 223334 h 614713"/>
              <a:gd name="connsiteX1014" fmla="*/ 365255 w 736968"/>
              <a:gd name="connsiteY1014" fmla="*/ 218509 h 614713"/>
              <a:gd name="connsiteX1015" fmla="*/ 362262 w 736968"/>
              <a:gd name="connsiteY1015" fmla="*/ 215545 h 614713"/>
              <a:gd name="connsiteX1016" fmla="*/ 368540 w 736968"/>
              <a:gd name="connsiteY1016" fmla="*/ 215142 h 614713"/>
              <a:gd name="connsiteX1017" fmla="*/ 369398 w 736968"/>
              <a:gd name="connsiteY1017" fmla="*/ 211868 h 614713"/>
              <a:gd name="connsiteX1018" fmla="*/ 368540 w 736968"/>
              <a:gd name="connsiteY1018" fmla="*/ 211834 h 614713"/>
              <a:gd name="connsiteX1019" fmla="*/ 198590 w 736968"/>
              <a:gd name="connsiteY1019" fmla="*/ 79032 h 614713"/>
              <a:gd name="connsiteX1020" fmla="*/ 226492 w 736968"/>
              <a:gd name="connsiteY1020" fmla="*/ 106907 h 614713"/>
              <a:gd name="connsiteX1021" fmla="*/ 363051 w 736968"/>
              <a:gd name="connsiteY1021" fmla="*/ 50292 h 614713"/>
              <a:gd name="connsiteX1022" fmla="*/ 363051 w 736968"/>
              <a:gd name="connsiteY1022" fmla="*/ 11037 h 614713"/>
              <a:gd name="connsiteX1023" fmla="*/ 198590 w 736968"/>
              <a:gd name="connsiteY1023" fmla="*/ 79032 h 614713"/>
              <a:gd name="connsiteX1024" fmla="*/ 122766 w 736968"/>
              <a:gd name="connsiteY1024" fmla="*/ 251080 h 614713"/>
              <a:gd name="connsiteX1025" fmla="*/ 162068 w 736968"/>
              <a:gd name="connsiteY1025" fmla="*/ 251080 h 614713"/>
              <a:gd name="connsiteX1026" fmla="*/ 218729 w 736968"/>
              <a:gd name="connsiteY1026" fmla="*/ 114662 h 614713"/>
              <a:gd name="connsiteX1027" fmla="*/ 190827 w 736968"/>
              <a:gd name="connsiteY1027" fmla="*/ 86787 h 614713"/>
              <a:gd name="connsiteX1028" fmla="*/ 122766 w 736968"/>
              <a:gd name="connsiteY1028" fmla="*/ 251080 h 614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</a:cxnLst>
            <a:rect l="l" t="t" r="r" b="b"/>
            <a:pathLst>
              <a:path w="736968" h="614713">
                <a:moveTo>
                  <a:pt x="586884" y="559057"/>
                </a:moveTo>
                <a:cubicBezTo>
                  <a:pt x="587228" y="558979"/>
                  <a:pt x="587699" y="559357"/>
                  <a:pt x="587869" y="559556"/>
                </a:cubicBezTo>
                <a:cubicBezTo>
                  <a:pt x="574446" y="573299"/>
                  <a:pt x="557232" y="582717"/>
                  <a:pt x="540711" y="587411"/>
                </a:cubicBezTo>
                <a:cubicBezTo>
                  <a:pt x="528458" y="590894"/>
                  <a:pt x="516112" y="591475"/>
                  <a:pt x="503480" y="590061"/>
                </a:cubicBezTo>
                <a:cubicBezTo>
                  <a:pt x="484042" y="587886"/>
                  <a:pt x="466897" y="580106"/>
                  <a:pt x="450805" y="569540"/>
                </a:cubicBezTo>
                <a:cubicBezTo>
                  <a:pt x="441173" y="563213"/>
                  <a:pt x="431644" y="556736"/>
                  <a:pt x="422114" y="550259"/>
                </a:cubicBezTo>
                <a:cubicBezTo>
                  <a:pt x="411169" y="542813"/>
                  <a:pt x="399093" y="541447"/>
                  <a:pt x="386381" y="543521"/>
                </a:cubicBezTo>
                <a:cubicBezTo>
                  <a:pt x="379494" y="544267"/>
                  <a:pt x="384717" y="547575"/>
                  <a:pt x="385772" y="548099"/>
                </a:cubicBezTo>
                <a:cubicBezTo>
                  <a:pt x="402850" y="556455"/>
                  <a:pt x="418923" y="566464"/>
                  <a:pt x="433943" y="578037"/>
                </a:cubicBezTo>
                <a:cubicBezTo>
                  <a:pt x="444150" y="585522"/>
                  <a:pt x="462359" y="603058"/>
                  <a:pt x="462359" y="603058"/>
                </a:cubicBezTo>
                <a:lnTo>
                  <a:pt x="448738" y="614714"/>
                </a:lnTo>
                <a:cubicBezTo>
                  <a:pt x="448738" y="614714"/>
                  <a:pt x="438342" y="603078"/>
                  <a:pt x="433814" y="598553"/>
                </a:cubicBezTo>
                <a:cubicBezTo>
                  <a:pt x="403930" y="567457"/>
                  <a:pt x="377469" y="553786"/>
                  <a:pt x="371602" y="550414"/>
                </a:cubicBezTo>
                <a:cubicBezTo>
                  <a:pt x="370573" y="549823"/>
                  <a:pt x="369587" y="549256"/>
                  <a:pt x="368540" y="549256"/>
                </a:cubicBezTo>
                <a:cubicBezTo>
                  <a:pt x="367494" y="549256"/>
                  <a:pt x="366508" y="549823"/>
                  <a:pt x="365479" y="550414"/>
                </a:cubicBezTo>
                <a:cubicBezTo>
                  <a:pt x="359612" y="553786"/>
                  <a:pt x="333151" y="567457"/>
                  <a:pt x="303259" y="598553"/>
                </a:cubicBezTo>
                <a:cubicBezTo>
                  <a:pt x="298738" y="603078"/>
                  <a:pt x="288343" y="614714"/>
                  <a:pt x="288343" y="614714"/>
                </a:cubicBezTo>
                <a:lnTo>
                  <a:pt x="274713" y="603058"/>
                </a:lnTo>
                <a:cubicBezTo>
                  <a:pt x="274713" y="603058"/>
                  <a:pt x="292931" y="585522"/>
                  <a:pt x="303139" y="578037"/>
                </a:cubicBezTo>
                <a:cubicBezTo>
                  <a:pt x="318157" y="566464"/>
                  <a:pt x="334231" y="556455"/>
                  <a:pt x="351309" y="548099"/>
                </a:cubicBezTo>
                <a:cubicBezTo>
                  <a:pt x="352364" y="547575"/>
                  <a:pt x="357587" y="544267"/>
                  <a:pt x="350700" y="543521"/>
                </a:cubicBezTo>
                <a:cubicBezTo>
                  <a:pt x="337988" y="541447"/>
                  <a:pt x="325911" y="542813"/>
                  <a:pt x="314967" y="550259"/>
                </a:cubicBezTo>
                <a:cubicBezTo>
                  <a:pt x="305437" y="556736"/>
                  <a:pt x="295900" y="563213"/>
                  <a:pt x="286267" y="569540"/>
                </a:cubicBezTo>
                <a:cubicBezTo>
                  <a:pt x="270184" y="580106"/>
                  <a:pt x="253039" y="587886"/>
                  <a:pt x="233594" y="590061"/>
                </a:cubicBezTo>
                <a:cubicBezTo>
                  <a:pt x="220968" y="591475"/>
                  <a:pt x="208625" y="590894"/>
                  <a:pt x="196368" y="587411"/>
                </a:cubicBezTo>
                <a:cubicBezTo>
                  <a:pt x="179848" y="582717"/>
                  <a:pt x="162591" y="573241"/>
                  <a:pt x="149168" y="559498"/>
                </a:cubicBezTo>
                <a:cubicBezTo>
                  <a:pt x="149339" y="559299"/>
                  <a:pt x="149854" y="558979"/>
                  <a:pt x="150197" y="559057"/>
                </a:cubicBezTo>
                <a:cubicBezTo>
                  <a:pt x="151338" y="559565"/>
                  <a:pt x="152040" y="559924"/>
                  <a:pt x="153148" y="560500"/>
                </a:cubicBezTo>
                <a:cubicBezTo>
                  <a:pt x="173099" y="570756"/>
                  <a:pt x="194121" y="571948"/>
                  <a:pt x="215727" y="567791"/>
                </a:cubicBezTo>
                <a:cubicBezTo>
                  <a:pt x="230480" y="564952"/>
                  <a:pt x="244187" y="559052"/>
                  <a:pt x="257919" y="553190"/>
                </a:cubicBezTo>
                <a:cubicBezTo>
                  <a:pt x="267757" y="549000"/>
                  <a:pt x="277475" y="544378"/>
                  <a:pt x="287605" y="541036"/>
                </a:cubicBezTo>
                <a:cubicBezTo>
                  <a:pt x="313860" y="532384"/>
                  <a:pt x="340467" y="532485"/>
                  <a:pt x="367185" y="539248"/>
                </a:cubicBezTo>
                <a:cubicBezTo>
                  <a:pt x="367623" y="539369"/>
                  <a:pt x="368077" y="539427"/>
                  <a:pt x="368541" y="539485"/>
                </a:cubicBezTo>
                <a:cubicBezTo>
                  <a:pt x="368995" y="539427"/>
                  <a:pt x="369459" y="539369"/>
                  <a:pt x="369896" y="539248"/>
                </a:cubicBezTo>
                <a:cubicBezTo>
                  <a:pt x="396614" y="532485"/>
                  <a:pt x="423220" y="532384"/>
                  <a:pt x="449476" y="541036"/>
                </a:cubicBezTo>
                <a:cubicBezTo>
                  <a:pt x="459606" y="544378"/>
                  <a:pt x="469324" y="549000"/>
                  <a:pt x="479162" y="553190"/>
                </a:cubicBezTo>
                <a:cubicBezTo>
                  <a:pt x="492885" y="559052"/>
                  <a:pt x="506603" y="564952"/>
                  <a:pt x="521354" y="567791"/>
                </a:cubicBezTo>
                <a:cubicBezTo>
                  <a:pt x="542961" y="571948"/>
                  <a:pt x="563982" y="570756"/>
                  <a:pt x="583936" y="560500"/>
                </a:cubicBezTo>
                <a:cubicBezTo>
                  <a:pt x="585041" y="559924"/>
                  <a:pt x="585745" y="559565"/>
                  <a:pt x="586884" y="559057"/>
                </a:cubicBezTo>
                <a:close/>
                <a:moveTo>
                  <a:pt x="649912" y="501893"/>
                </a:moveTo>
                <a:cubicBezTo>
                  <a:pt x="638483" y="510661"/>
                  <a:pt x="631127" y="513563"/>
                  <a:pt x="621647" y="516814"/>
                </a:cubicBezTo>
                <a:cubicBezTo>
                  <a:pt x="607401" y="521697"/>
                  <a:pt x="592048" y="522685"/>
                  <a:pt x="577167" y="523465"/>
                </a:cubicBezTo>
                <a:cubicBezTo>
                  <a:pt x="557499" y="524492"/>
                  <a:pt x="538519" y="525340"/>
                  <a:pt x="519133" y="528484"/>
                </a:cubicBezTo>
                <a:lnTo>
                  <a:pt x="518822" y="528537"/>
                </a:lnTo>
                <a:cubicBezTo>
                  <a:pt x="517605" y="528731"/>
                  <a:pt x="517048" y="528217"/>
                  <a:pt x="517440" y="527801"/>
                </a:cubicBezTo>
                <a:cubicBezTo>
                  <a:pt x="517513" y="527728"/>
                  <a:pt x="517639" y="527636"/>
                  <a:pt x="517731" y="527602"/>
                </a:cubicBezTo>
                <a:cubicBezTo>
                  <a:pt x="535018" y="521275"/>
                  <a:pt x="546758" y="507885"/>
                  <a:pt x="555603" y="491071"/>
                </a:cubicBezTo>
                <a:cubicBezTo>
                  <a:pt x="561727" y="479427"/>
                  <a:pt x="571755" y="456676"/>
                  <a:pt x="574543" y="452957"/>
                </a:cubicBezTo>
                <a:cubicBezTo>
                  <a:pt x="574601" y="452880"/>
                  <a:pt x="574534" y="452126"/>
                  <a:pt x="574354" y="451980"/>
                </a:cubicBezTo>
                <a:cubicBezTo>
                  <a:pt x="573040" y="452409"/>
                  <a:pt x="554017" y="468587"/>
                  <a:pt x="545381" y="476599"/>
                </a:cubicBezTo>
                <a:cubicBezTo>
                  <a:pt x="534664" y="486546"/>
                  <a:pt x="524578" y="497174"/>
                  <a:pt x="513857" y="507120"/>
                </a:cubicBezTo>
                <a:cubicBezTo>
                  <a:pt x="497103" y="523102"/>
                  <a:pt x="473020" y="530121"/>
                  <a:pt x="464298" y="532384"/>
                </a:cubicBezTo>
                <a:cubicBezTo>
                  <a:pt x="464100" y="532432"/>
                  <a:pt x="463705" y="532582"/>
                  <a:pt x="463611" y="532694"/>
                </a:cubicBezTo>
                <a:cubicBezTo>
                  <a:pt x="463354" y="533028"/>
                  <a:pt x="463225" y="533333"/>
                  <a:pt x="463174" y="533478"/>
                </a:cubicBezTo>
                <a:cubicBezTo>
                  <a:pt x="463157" y="533541"/>
                  <a:pt x="463183" y="533585"/>
                  <a:pt x="463242" y="533590"/>
                </a:cubicBezTo>
                <a:lnTo>
                  <a:pt x="463637" y="533687"/>
                </a:lnTo>
                <a:cubicBezTo>
                  <a:pt x="470404" y="535227"/>
                  <a:pt x="489951" y="539471"/>
                  <a:pt x="499979" y="542145"/>
                </a:cubicBezTo>
                <a:cubicBezTo>
                  <a:pt x="515399" y="546272"/>
                  <a:pt x="530858" y="549736"/>
                  <a:pt x="546836" y="550860"/>
                </a:cubicBezTo>
                <a:cubicBezTo>
                  <a:pt x="564147" y="552076"/>
                  <a:pt x="581376" y="550259"/>
                  <a:pt x="597470" y="544267"/>
                </a:cubicBezTo>
                <a:cubicBezTo>
                  <a:pt x="615765" y="537456"/>
                  <a:pt x="638313" y="521363"/>
                  <a:pt x="651188" y="502082"/>
                </a:cubicBezTo>
                <a:cubicBezTo>
                  <a:pt x="651222" y="502033"/>
                  <a:pt x="651256" y="501946"/>
                  <a:pt x="651222" y="501927"/>
                </a:cubicBezTo>
                <a:cubicBezTo>
                  <a:pt x="650664" y="501636"/>
                  <a:pt x="650014" y="501825"/>
                  <a:pt x="649912" y="501893"/>
                </a:cubicBezTo>
                <a:close/>
                <a:moveTo>
                  <a:pt x="708819" y="411663"/>
                </a:moveTo>
                <a:cubicBezTo>
                  <a:pt x="708286" y="412348"/>
                  <a:pt x="698655" y="424953"/>
                  <a:pt x="675040" y="441106"/>
                </a:cubicBezTo>
                <a:cubicBezTo>
                  <a:pt x="663582" y="449084"/>
                  <a:pt x="652938" y="454166"/>
                  <a:pt x="640345" y="460001"/>
                </a:cubicBezTo>
                <a:cubicBezTo>
                  <a:pt x="624634" y="467293"/>
                  <a:pt x="611096" y="473951"/>
                  <a:pt x="597736" y="485005"/>
                </a:cubicBezTo>
                <a:cubicBezTo>
                  <a:pt x="596868" y="485718"/>
                  <a:pt x="596146" y="486255"/>
                  <a:pt x="595273" y="486900"/>
                </a:cubicBezTo>
                <a:cubicBezTo>
                  <a:pt x="594803" y="487244"/>
                  <a:pt x="594337" y="486657"/>
                  <a:pt x="594851" y="486061"/>
                </a:cubicBezTo>
                <a:cubicBezTo>
                  <a:pt x="595506" y="485306"/>
                  <a:pt x="615164" y="465194"/>
                  <a:pt x="621075" y="422571"/>
                </a:cubicBezTo>
                <a:cubicBezTo>
                  <a:pt x="623131" y="407696"/>
                  <a:pt x="623422" y="391629"/>
                  <a:pt x="628252" y="377293"/>
                </a:cubicBezTo>
                <a:cubicBezTo>
                  <a:pt x="628387" y="376838"/>
                  <a:pt x="628116" y="376351"/>
                  <a:pt x="627951" y="376127"/>
                </a:cubicBezTo>
                <a:cubicBezTo>
                  <a:pt x="627927" y="376093"/>
                  <a:pt x="627796" y="376179"/>
                  <a:pt x="627772" y="376213"/>
                </a:cubicBezTo>
                <a:cubicBezTo>
                  <a:pt x="613326" y="392717"/>
                  <a:pt x="601300" y="418390"/>
                  <a:pt x="595695" y="434440"/>
                </a:cubicBezTo>
                <a:cubicBezTo>
                  <a:pt x="591724" y="445802"/>
                  <a:pt x="587932" y="457224"/>
                  <a:pt x="583824" y="468535"/>
                </a:cubicBezTo>
                <a:cubicBezTo>
                  <a:pt x="578248" y="483882"/>
                  <a:pt x="570965" y="498289"/>
                  <a:pt x="559147" y="509968"/>
                </a:cubicBezTo>
                <a:cubicBezTo>
                  <a:pt x="558973" y="510148"/>
                  <a:pt x="558081" y="511083"/>
                  <a:pt x="558081" y="511083"/>
                </a:cubicBezTo>
                <a:cubicBezTo>
                  <a:pt x="558081" y="511083"/>
                  <a:pt x="557935" y="511354"/>
                  <a:pt x="557887" y="511785"/>
                </a:cubicBezTo>
                <a:cubicBezTo>
                  <a:pt x="557887" y="511824"/>
                  <a:pt x="557945" y="511911"/>
                  <a:pt x="557979" y="511901"/>
                </a:cubicBezTo>
                <a:cubicBezTo>
                  <a:pt x="559671" y="511611"/>
                  <a:pt x="560777" y="511451"/>
                  <a:pt x="561863" y="511218"/>
                </a:cubicBezTo>
                <a:cubicBezTo>
                  <a:pt x="575023" y="508501"/>
                  <a:pt x="588101" y="505357"/>
                  <a:pt x="601334" y="503152"/>
                </a:cubicBezTo>
                <a:cubicBezTo>
                  <a:pt x="623456" y="499471"/>
                  <a:pt x="642784" y="491623"/>
                  <a:pt x="660605" y="477953"/>
                </a:cubicBezTo>
                <a:cubicBezTo>
                  <a:pt x="678483" y="464242"/>
                  <a:pt x="693612" y="448270"/>
                  <a:pt x="703485" y="427832"/>
                </a:cubicBezTo>
                <a:cubicBezTo>
                  <a:pt x="706050" y="422520"/>
                  <a:pt x="708460" y="417319"/>
                  <a:pt x="710046" y="411501"/>
                </a:cubicBezTo>
                <a:cubicBezTo>
                  <a:pt x="709711" y="411372"/>
                  <a:pt x="709178" y="411397"/>
                  <a:pt x="708819" y="411663"/>
                </a:cubicBezTo>
                <a:close/>
                <a:moveTo>
                  <a:pt x="734621" y="310240"/>
                </a:moveTo>
                <a:cubicBezTo>
                  <a:pt x="728943" y="328329"/>
                  <a:pt x="718672" y="342974"/>
                  <a:pt x="703698" y="358724"/>
                </a:cubicBezTo>
                <a:cubicBezTo>
                  <a:pt x="691954" y="370831"/>
                  <a:pt x="669357" y="393728"/>
                  <a:pt x="658917" y="409606"/>
                </a:cubicBezTo>
                <a:cubicBezTo>
                  <a:pt x="658626" y="410052"/>
                  <a:pt x="657846" y="409855"/>
                  <a:pt x="658137" y="409050"/>
                </a:cubicBezTo>
                <a:cubicBezTo>
                  <a:pt x="663160" y="395228"/>
                  <a:pt x="665308" y="370780"/>
                  <a:pt x="662297" y="351834"/>
                </a:cubicBezTo>
                <a:cubicBezTo>
                  <a:pt x="659722" y="335673"/>
                  <a:pt x="652638" y="318038"/>
                  <a:pt x="650887" y="298261"/>
                </a:cubicBezTo>
                <a:cubicBezTo>
                  <a:pt x="650873" y="298167"/>
                  <a:pt x="650897" y="298149"/>
                  <a:pt x="650863" y="298055"/>
                </a:cubicBezTo>
                <a:cubicBezTo>
                  <a:pt x="650761" y="297798"/>
                  <a:pt x="650320" y="297198"/>
                  <a:pt x="650029" y="297173"/>
                </a:cubicBezTo>
                <a:cubicBezTo>
                  <a:pt x="650024" y="297233"/>
                  <a:pt x="649835" y="297516"/>
                  <a:pt x="649360" y="299049"/>
                </a:cubicBezTo>
                <a:cubicBezTo>
                  <a:pt x="645965" y="310541"/>
                  <a:pt x="641718" y="324936"/>
                  <a:pt x="641014" y="338304"/>
                </a:cubicBezTo>
                <a:cubicBezTo>
                  <a:pt x="640156" y="354431"/>
                  <a:pt x="643201" y="375168"/>
                  <a:pt x="641873" y="391766"/>
                </a:cubicBezTo>
                <a:cubicBezTo>
                  <a:pt x="640331" y="410943"/>
                  <a:pt x="639017" y="429915"/>
                  <a:pt x="630216" y="447310"/>
                </a:cubicBezTo>
                <a:cubicBezTo>
                  <a:pt x="630172" y="447396"/>
                  <a:pt x="630148" y="447498"/>
                  <a:pt x="630114" y="447593"/>
                </a:cubicBezTo>
                <a:cubicBezTo>
                  <a:pt x="629934" y="448056"/>
                  <a:pt x="630424" y="448913"/>
                  <a:pt x="630424" y="448913"/>
                </a:cubicBezTo>
                <a:cubicBezTo>
                  <a:pt x="630424" y="448913"/>
                  <a:pt x="630502" y="448895"/>
                  <a:pt x="630536" y="448870"/>
                </a:cubicBezTo>
                <a:cubicBezTo>
                  <a:pt x="637591" y="444371"/>
                  <a:pt x="657705" y="432520"/>
                  <a:pt x="670967" y="423677"/>
                </a:cubicBezTo>
                <a:cubicBezTo>
                  <a:pt x="687522" y="412631"/>
                  <a:pt x="702161" y="399504"/>
                  <a:pt x="713615" y="382991"/>
                </a:cubicBezTo>
                <a:cubicBezTo>
                  <a:pt x="727910" y="362357"/>
                  <a:pt x="736216" y="337507"/>
                  <a:pt x="735795" y="312194"/>
                </a:cubicBezTo>
                <a:cubicBezTo>
                  <a:pt x="735775" y="311337"/>
                  <a:pt x="735717" y="309829"/>
                  <a:pt x="735625" y="309641"/>
                </a:cubicBezTo>
                <a:cubicBezTo>
                  <a:pt x="735436" y="309564"/>
                  <a:pt x="734665" y="310112"/>
                  <a:pt x="734621" y="310240"/>
                </a:cubicBezTo>
                <a:close/>
                <a:moveTo>
                  <a:pt x="691954" y="321158"/>
                </a:moveTo>
                <a:cubicBezTo>
                  <a:pt x="691896" y="321397"/>
                  <a:pt x="691692" y="321500"/>
                  <a:pt x="691619" y="321526"/>
                </a:cubicBezTo>
                <a:cubicBezTo>
                  <a:pt x="691212" y="321646"/>
                  <a:pt x="691013" y="321148"/>
                  <a:pt x="691023" y="321037"/>
                </a:cubicBezTo>
                <a:cubicBezTo>
                  <a:pt x="691663" y="315913"/>
                  <a:pt x="691707" y="309589"/>
                  <a:pt x="691358" y="304773"/>
                </a:cubicBezTo>
                <a:cubicBezTo>
                  <a:pt x="689976" y="285827"/>
                  <a:pt x="678532" y="270138"/>
                  <a:pt x="668499" y="254370"/>
                </a:cubicBezTo>
                <a:cubicBezTo>
                  <a:pt x="663267" y="246144"/>
                  <a:pt x="654199" y="231766"/>
                  <a:pt x="650329" y="222083"/>
                </a:cubicBezTo>
                <a:cubicBezTo>
                  <a:pt x="650296" y="221997"/>
                  <a:pt x="649534" y="221517"/>
                  <a:pt x="649301" y="221620"/>
                </a:cubicBezTo>
                <a:cubicBezTo>
                  <a:pt x="649200" y="223317"/>
                  <a:pt x="649549" y="228895"/>
                  <a:pt x="649927" y="232502"/>
                </a:cubicBezTo>
                <a:cubicBezTo>
                  <a:pt x="652739" y="259624"/>
                  <a:pt x="661385" y="286179"/>
                  <a:pt x="670332" y="311920"/>
                </a:cubicBezTo>
                <a:cubicBezTo>
                  <a:pt x="676321" y="329152"/>
                  <a:pt x="679312" y="343917"/>
                  <a:pt x="677470" y="362134"/>
                </a:cubicBezTo>
                <a:cubicBezTo>
                  <a:pt x="677271" y="363651"/>
                  <a:pt x="677223" y="363813"/>
                  <a:pt x="677853" y="364277"/>
                </a:cubicBezTo>
                <a:cubicBezTo>
                  <a:pt x="677882" y="364294"/>
                  <a:pt x="677916" y="364233"/>
                  <a:pt x="677930" y="364260"/>
                </a:cubicBezTo>
                <a:cubicBezTo>
                  <a:pt x="684050" y="355442"/>
                  <a:pt x="695959" y="343068"/>
                  <a:pt x="703296" y="334140"/>
                </a:cubicBezTo>
                <a:cubicBezTo>
                  <a:pt x="711248" y="324473"/>
                  <a:pt x="751292" y="278869"/>
                  <a:pt x="731566" y="215331"/>
                </a:cubicBezTo>
                <a:cubicBezTo>
                  <a:pt x="730373" y="211500"/>
                  <a:pt x="728948" y="208184"/>
                  <a:pt x="728463" y="207464"/>
                </a:cubicBezTo>
                <a:cubicBezTo>
                  <a:pt x="728152" y="207472"/>
                  <a:pt x="727619" y="208261"/>
                  <a:pt x="727561" y="208467"/>
                </a:cubicBezTo>
                <a:cubicBezTo>
                  <a:pt x="727682" y="254174"/>
                  <a:pt x="705551" y="273797"/>
                  <a:pt x="696313" y="305065"/>
                </a:cubicBezTo>
                <a:cubicBezTo>
                  <a:pt x="694553" y="311020"/>
                  <a:pt x="693166" y="316547"/>
                  <a:pt x="691954" y="321158"/>
                </a:cubicBezTo>
                <a:close/>
                <a:moveTo>
                  <a:pt x="657467" y="179092"/>
                </a:moveTo>
                <a:cubicBezTo>
                  <a:pt x="650208" y="172828"/>
                  <a:pt x="639409" y="161680"/>
                  <a:pt x="633091" y="151962"/>
                </a:cubicBezTo>
                <a:cubicBezTo>
                  <a:pt x="633047" y="151885"/>
                  <a:pt x="632994" y="151834"/>
                  <a:pt x="632946" y="151782"/>
                </a:cubicBezTo>
                <a:cubicBezTo>
                  <a:pt x="632858" y="151697"/>
                  <a:pt x="632766" y="151620"/>
                  <a:pt x="632669" y="151568"/>
                </a:cubicBezTo>
                <a:cubicBezTo>
                  <a:pt x="632276" y="151320"/>
                  <a:pt x="631767" y="151294"/>
                  <a:pt x="631631" y="151363"/>
                </a:cubicBezTo>
                <a:cubicBezTo>
                  <a:pt x="631340" y="151311"/>
                  <a:pt x="631098" y="151328"/>
                  <a:pt x="631117" y="151397"/>
                </a:cubicBezTo>
                <a:cubicBezTo>
                  <a:pt x="631510" y="153299"/>
                  <a:pt x="637809" y="173462"/>
                  <a:pt x="641873" y="182854"/>
                </a:cubicBezTo>
                <a:cubicBezTo>
                  <a:pt x="647750" y="196410"/>
                  <a:pt x="657181" y="207772"/>
                  <a:pt x="666026" y="219443"/>
                </a:cubicBezTo>
                <a:cubicBezTo>
                  <a:pt x="666661" y="220292"/>
                  <a:pt x="667306" y="221131"/>
                  <a:pt x="667941" y="221989"/>
                </a:cubicBezTo>
                <a:cubicBezTo>
                  <a:pt x="676815" y="233908"/>
                  <a:pt x="691013" y="259306"/>
                  <a:pt x="694437" y="272340"/>
                </a:cubicBezTo>
                <a:cubicBezTo>
                  <a:pt x="694529" y="272708"/>
                  <a:pt x="695319" y="273051"/>
                  <a:pt x="695353" y="272897"/>
                </a:cubicBezTo>
                <a:cubicBezTo>
                  <a:pt x="696595" y="268244"/>
                  <a:pt x="702336" y="250172"/>
                  <a:pt x="706589" y="237969"/>
                </a:cubicBezTo>
                <a:cubicBezTo>
                  <a:pt x="707481" y="235433"/>
                  <a:pt x="715011" y="210934"/>
                  <a:pt x="716529" y="200335"/>
                </a:cubicBezTo>
                <a:cubicBezTo>
                  <a:pt x="720825" y="170266"/>
                  <a:pt x="710904" y="131251"/>
                  <a:pt x="693336" y="109931"/>
                </a:cubicBezTo>
                <a:cubicBezTo>
                  <a:pt x="693045" y="110034"/>
                  <a:pt x="692798" y="110814"/>
                  <a:pt x="692846" y="110986"/>
                </a:cubicBezTo>
                <a:cubicBezTo>
                  <a:pt x="693176" y="111988"/>
                  <a:pt x="693404" y="112759"/>
                  <a:pt x="693695" y="113762"/>
                </a:cubicBezTo>
                <a:cubicBezTo>
                  <a:pt x="694083" y="115073"/>
                  <a:pt x="694451" y="116393"/>
                  <a:pt x="694762" y="117738"/>
                </a:cubicBezTo>
                <a:cubicBezTo>
                  <a:pt x="699339" y="137327"/>
                  <a:pt x="697807" y="151149"/>
                  <a:pt x="695557" y="167807"/>
                </a:cubicBezTo>
                <a:cubicBezTo>
                  <a:pt x="693768" y="181088"/>
                  <a:pt x="691193" y="194233"/>
                  <a:pt x="691876" y="207627"/>
                </a:cubicBezTo>
                <a:cubicBezTo>
                  <a:pt x="691993" y="209863"/>
                  <a:pt x="693365" y="226350"/>
                  <a:pt x="693157" y="226975"/>
                </a:cubicBezTo>
                <a:cubicBezTo>
                  <a:pt x="692924" y="227712"/>
                  <a:pt x="692255" y="227146"/>
                  <a:pt x="692177" y="226761"/>
                </a:cubicBezTo>
                <a:cubicBezTo>
                  <a:pt x="692153" y="226641"/>
                  <a:pt x="690019" y="220635"/>
                  <a:pt x="687871" y="215605"/>
                </a:cubicBezTo>
                <a:cubicBezTo>
                  <a:pt x="686984" y="213419"/>
                  <a:pt x="686082" y="211354"/>
                  <a:pt x="685325" y="209863"/>
                </a:cubicBezTo>
                <a:cubicBezTo>
                  <a:pt x="678275" y="195879"/>
                  <a:pt x="669158" y="188621"/>
                  <a:pt x="657467" y="179092"/>
                </a:cubicBezTo>
                <a:close/>
                <a:moveTo>
                  <a:pt x="638090" y="57360"/>
                </a:moveTo>
                <a:cubicBezTo>
                  <a:pt x="643725" y="62853"/>
                  <a:pt x="648109" y="68989"/>
                  <a:pt x="651173" y="76187"/>
                </a:cubicBezTo>
                <a:cubicBezTo>
                  <a:pt x="656017" y="87540"/>
                  <a:pt x="657443" y="104611"/>
                  <a:pt x="660571" y="117524"/>
                </a:cubicBezTo>
                <a:cubicBezTo>
                  <a:pt x="662486" y="125364"/>
                  <a:pt x="663660" y="130917"/>
                  <a:pt x="666414" y="139820"/>
                </a:cubicBezTo>
                <a:cubicBezTo>
                  <a:pt x="666661" y="140600"/>
                  <a:pt x="665847" y="140960"/>
                  <a:pt x="665434" y="140214"/>
                </a:cubicBezTo>
                <a:cubicBezTo>
                  <a:pt x="665366" y="140111"/>
                  <a:pt x="665299" y="140017"/>
                  <a:pt x="665221" y="139923"/>
                </a:cubicBezTo>
                <a:cubicBezTo>
                  <a:pt x="656163" y="127661"/>
                  <a:pt x="644928" y="120009"/>
                  <a:pt x="628911" y="109914"/>
                </a:cubicBezTo>
                <a:cubicBezTo>
                  <a:pt x="619402" y="103676"/>
                  <a:pt x="612153" y="98030"/>
                  <a:pt x="605267" y="88698"/>
                </a:cubicBezTo>
                <a:cubicBezTo>
                  <a:pt x="604074" y="87095"/>
                  <a:pt x="602847" y="85527"/>
                  <a:pt x="601635" y="83950"/>
                </a:cubicBezTo>
                <a:cubicBezTo>
                  <a:pt x="601533" y="83822"/>
                  <a:pt x="600806" y="83565"/>
                  <a:pt x="600583" y="83650"/>
                </a:cubicBezTo>
                <a:cubicBezTo>
                  <a:pt x="600549" y="84010"/>
                  <a:pt x="600709" y="84722"/>
                  <a:pt x="600854" y="85630"/>
                </a:cubicBezTo>
                <a:cubicBezTo>
                  <a:pt x="602905" y="95939"/>
                  <a:pt x="609820" y="115013"/>
                  <a:pt x="621657" y="126315"/>
                </a:cubicBezTo>
                <a:cubicBezTo>
                  <a:pt x="630172" y="134439"/>
                  <a:pt x="639744" y="141654"/>
                  <a:pt x="648836" y="149169"/>
                </a:cubicBezTo>
                <a:cubicBezTo>
                  <a:pt x="665051" y="162725"/>
                  <a:pt x="676878" y="177361"/>
                  <a:pt x="680685" y="182203"/>
                </a:cubicBezTo>
                <a:lnTo>
                  <a:pt x="680859" y="182391"/>
                </a:lnTo>
                <a:cubicBezTo>
                  <a:pt x="680859" y="182391"/>
                  <a:pt x="681587" y="182853"/>
                  <a:pt x="681567" y="182597"/>
                </a:cubicBezTo>
                <a:cubicBezTo>
                  <a:pt x="681562" y="182536"/>
                  <a:pt x="681562" y="182459"/>
                  <a:pt x="681553" y="182399"/>
                </a:cubicBezTo>
                <a:lnTo>
                  <a:pt x="681567" y="182382"/>
                </a:lnTo>
                <a:cubicBezTo>
                  <a:pt x="681344" y="180009"/>
                  <a:pt x="681262" y="176238"/>
                  <a:pt x="681262" y="171783"/>
                </a:cubicBezTo>
                <a:cubicBezTo>
                  <a:pt x="681267" y="161860"/>
                  <a:pt x="681713" y="148587"/>
                  <a:pt x="682154" y="139452"/>
                </a:cubicBezTo>
                <a:cubicBezTo>
                  <a:pt x="682324" y="135759"/>
                  <a:pt x="682450" y="132048"/>
                  <a:pt x="682435" y="128347"/>
                </a:cubicBezTo>
                <a:cubicBezTo>
                  <a:pt x="682411" y="117318"/>
                  <a:pt x="681175" y="106419"/>
                  <a:pt x="676534" y="95964"/>
                </a:cubicBezTo>
                <a:cubicBezTo>
                  <a:pt x="668994" y="79015"/>
                  <a:pt x="657783" y="65536"/>
                  <a:pt x="641014" y="57198"/>
                </a:cubicBezTo>
                <a:cubicBezTo>
                  <a:pt x="640030" y="56710"/>
                  <a:pt x="638726" y="56213"/>
                  <a:pt x="637887" y="56006"/>
                </a:cubicBezTo>
                <a:cubicBezTo>
                  <a:pt x="637853" y="55998"/>
                  <a:pt x="637732" y="56530"/>
                  <a:pt x="637969" y="57206"/>
                </a:cubicBezTo>
                <a:cubicBezTo>
                  <a:pt x="637989" y="57275"/>
                  <a:pt x="638037" y="57318"/>
                  <a:pt x="638090" y="57360"/>
                </a:cubicBezTo>
                <a:close/>
                <a:moveTo>
                  <a:pt x="568632" y="25321"/>
                </a:moveTo>
                <a:cubicBezTo>
                  <a:pt x="578340" y="33942"/>
                  <a:pt x="586128" y="44147"/>
                  <a:pt x="593421" y="54833"/>
                </a:cubicBezTo>
                <a:cubicBezTo>
                  <a:pt x="600408" y="65081"/>
                  <a:pt x="607323" y="75476"/>
                  <a:pt x="616827" y="83702"/>
                </a:cubicBezTo>
                <a:cubicBezTo>
                  <a:pt x="623107" y="90034"/>
                  <a:pt x="641383" y="104225"/>
                  <a:pt x="645956" y="107764"/>
                </a:cubicBezTo>
                <a:cubicBezTo>
                  <a:pt x="646023" y="107824"/>
                  <a:pt x="646091" y="107892"/>
                  <a:pt x="646154" y="107918"/>
                </a:cubicBezTo>
                <a:cubicBezTo>
                  <a:pt x="646300" y="107977"/>
                  <a:pt x="646538" y="107892"/>
                  <a:pt x="646538" y="107892"/>
                </a:cubicBezTo>
                <a:cubicBezTo>
                  <a:pt x="646538" y="107892"/>
                  <a:pt x="646513" y="107764"/>
                  <a:pt x="646504" y="107686"/>
                </a:cubicBezTo>
                <a:cubicBezTo>
                  <a:pt x="645543" y="102442"/>
                  <a:pt x="637285" y="63976"/>
                  <a:pt x="613181" y="44936"/>
                </a:cubicBezTo>
                <a:cubicBezTo>
                  <a:pt x="600229" y="33745"/>
                  <a:pt x="583024" y="26889"/>
                  <a:pt x="566314" y="22288"/>
                </a:cubicBezTo>
                <a:cubicBezTo>
                  <a:pt x="566145" y="22605"/>
                  <a:pt x="566334" y="23436"/>
                  <a:pt x="566436" y="23419"/>
                </a:cubicBezTo>
                <a:cubicBezTo>
                  <a:pt x="567240" y="24121"/>
                  <a:pt x="567827" y="24610"/>
                  <a:pt x="568632" y="25321"/>
                </a:cubicBezTo>
                <a:close/>
                <a:moveTo>
                  <a:pt x="190133" y="550860"/>
                </a:moveTo>
                <a:cubicBezTo>
                  <a:pt x="206112" y="549736"/>
                  <a:pt x="221569" y="546272"/>
                  <a:pt x="236991" y="542145"/>
                </a:cubicBezTo>
                <a:cubicBezTo>
                  <a:pt x="247017" y="539471"/>
                  <a:pt x="266565" y="535227"/>
                  <a:pt x="273332" y="533687"/>
                </a:cubicBezTo>
                <a:lnTo>
                  <a:pt x="273727" y="533590"/>
                </a:lnTo>
                <a:cubicBezTo>
                  <a:pt x="273787" y="533585"/>
                  <a:pt x="273813" y="533541"/>
                  <a:pt x="273796" y="533478"/>
                </a:cubicBezTo>
                <a:cubicBezTo>
                  <a:pt x="273744" y="533333"/>
                  <a:pt x="273615" y="533028"/>
                  <a:pt x="273358" y="532694"/>
                </a:cubicBezTo>
                <a:cubicBezTo>
                  <a:pt x="273264" y="532582"/>
                  <a:pt x="272869" y="532432"/>
                  <a:pt x="272663" y="532384"/>
                </a:cubicBezTo>
                <a:cubicBezTo>
                  <a:pt x="263949" y="530131"/>
                  <a:pt x="239864" y="523102"/>
                  <a:pt x="223112" y="507120"/>
                </a:cubicBezTo>
                <a:cubicBezTo>
                  <a:pt x="212391" y="497174"/>
                  <a:pt x="202304" y="486546"/>
                  <a:pt x="191591" y="476599"/>
                </a:cubicBezTo>
                <a:cubicBezTo>
                  <a:pt x="182953" y="468587"/>
                  <a:pt x="163929" y="452408"/>
                  <a:pt x="162617" y="451972"/>
                </a:cubicBezTo>
                <a:cubicBezTo>
                  <a:pt x="162436" y="452126"/>
                  <a:pt x="162368" y="452880"/>
                  <a:pt x="162428" y="452957"/>
                </a:cubicBezTo>
                <a:cubicBezTo>
                  <a:pt x="165215" y="456676"/>
                  <a:pt x="175243" y="479427"/>
                  <a:pt x="181367" y="491071"/>
                </a:cubicBezTo>
                <a:cubicBezTo>
                  <a:pt x="190210" y="507885"/>
                  <a:pt x="201952" y="521275"/>
                  <a:pt x="219235" y="527602"/>
                </a:cubicBezTo>
                <a:cubicBezTo>
                  <a:pt x="219330" y="527636"/>
                  <a:pt x="219459" y="527728"/>
                  <a:pt x="219527" y="527801"/>
                </a:cubicBezTo>
                <a:cubicBezTo>
                  <a:pt x="219922" y="528217"/>
                  <a:pt x="219364" y="528731"/>
                  <a:pt x="218146" y="528537"/>
                </a:cubicBezTo>
                <a:lnTo>
                  <a:pt x="217837" y="528484"/>
                </a:lnTo>
                <a:cubicBezTo>
                  <a:pt x="198452" y="525340"/>
                  <a:pt x="179471" y="524492"/>
                  <a:pt x="159803" y="523465"/>
                </a:cubicBezTo>
                <a:cubicBezTo>
                  <a:pt x="144922" y="522685"/>
                  <a:pt x="129569" y="521697"/>
                  <a:pt x="115321" y="516814"/>
                </a:cubicBezTo>
                <a:cubicBezTo>
                  <a:pt x="105844" y="513563"/>
                  <a:pt x="98484" y="510661"/>
                  <a:pt x="87059" y="501893"/>
                </a:cubicBezTo>
                <a:cubicBezTo>
                  <a:pt x="86948" y="501825"/>
                  <a:pt x="86304" y="501636"/>
                  <a:pt x="85747" y="501927"/>
                </a:cubicBezTo>
                <a:cubicBezTo>
                  <a:pt x="85712" y="501946"/>
                  <a:pt x="85747" y="502033"/>
                  <a:pt x="85782" y="502082"/>
                </a:cubicBezTo>
                <a:cubicBezTo>
                  <a:pt x="98656" y="521363"/>
                  <a:pt x="121206" y="537456"/>
                  <a:pt x="139501" y="544267"/>
                </a:cubicBezTo>
                <a:cubicBezTo>
                  <a:pt x="155591" y="550259"/>
                  <a:pt x="172824" y="552076"/>
                  <a:pt x="190133" y="550860"/>
                </a:cubicBezTo>
                <a:close/>
                <a:moveTo>
                  <a:pt x="175105" y="511218"/>
                </a:moveTo>
                <a:cubicBezTo>
                  <a:pt x="176194" y="511451"/>
                  <a:pt x="177301" y="511611"/>
                  <a:pt x="178991" y="511901"/>
                </a:cubicBezTo>
                <a:cubicBezTo>
                  <a:pt x="179025" y="511911"/>
                  <a:pt x="179085" y="511824"/>
                  <a:pt x="179085" y="511775"/>
                </a:cubicBezTo>
                <a:cubicBezTo>
                  <a:pt x="179033" y="511354"/>
                  <a:pt x="178887" y="511078"/>
                  <a:pt x="178887" y="511078"/>
                </a:cubicBezTo>
                <a:cubicBezTo>
                  <a:pt x="178887" y="511078"/>
                  <a:pt x="177996" y="510148"/>
                  <a:pt x="177816" y="509968"/>
                </a:cubicBezTo>
                <a:cubicBezTo>
                  <a:pt x="166004" y="498279"/>
                  <a:pt x="158731" y="483882"/>
                  <a:pt x="153148" y="468535"/>
                </a:cubicBezTo>
                <a:cubicBezTo>
                  <a:pt x="149039" y="457224"/>
                  <a:pt x="145239" y="445802"/>
                  <a:pt x="141276" y="434439"/>
                </a:cubicBezTo>
                <a:cubicBezTo>
                  <a:pt x="135667" y="418390"/>
                  <a:pt x="123642" y="392726"/>
                  <a:pt x="109197" y="376213"/>
                </a:cubicBezTo>
                <a:cubicBezTo>
                  <a:pt x="109171" y="376179"/>
                  <a:pt x="109043" y="376093"/>
                  <a:pt x="109017" y="376127"/>
                </a:cubicBezTo>
                <a:cubicBezTo>
                  <a:pt x="108855" y="376351"/>
                  <a:pt x="108580" y="376838"/>
                  <a:pt x="108717" y="377284"/>
                </a:cubicBezTo>
                <a:cubicBezTo>
                  <a:pt x="113546" y="391629"/>
                  <a:pt x="113837" y="407696"/>
                  <a:pt x="115896" y="422571"/>
                </a:cubicBezTo>
                <a:cubicBezTo>
                  <a:pt x="121806" y="465194"/>
                  <a:pt x="141465" y="485306"/>
                  <a:pt x="142117" y="486061"/>
                </a:cubicBezTo>
                <a:cubicBezTo>
                  <a:pt x="142632" y="486657"/>
                  <a:pt x="142159" y="487244"/>
                  <a:pt x="141697" y="486900"/>
                </a:cubicBezTo>
                <a:cubicBezTo>
                  <a:pt x="140830" y="486255"/>
                  <a:pt x="140102" y="485722"/>
                  <a:pt x="139235" y="485005"/>
                </a:cubicBezTo>
                <a:cubicBezTo>
                  <a:pt x="125872" y="473951"/>
                  <a:pt x="112336" y="467293"/>
                  <a:pt x="96623" y="460001"/>
                </a:cubicBezTo>
                <a:cubicBezTo>
                  <a:pt x="84032" y="454165"/>
                  <a:pt x="73387" y="449084"/>
                  <a:pt x="61928" y="441106"/>
                </a:cubicBezTo>
                <a:cubicBezTo>
                  <a:pt x="38315" y="424953"/>
                  <a:pt x="28682" y="412348"/>
                  <a:pt x="28142" y="411663"/>
                </a:cubicBezTo>
                <a:cubicBezTo>
                  <a:pt x="27790" y="411397"/>
                  <a:pt x="27258" y="411372"/>
                  <a:pt x="26924" y="411500"/>
                </a:cubicBezTo>
                <a:cubicBezTo>
                  <a:pt x="28519" y="417318"/>
                  <a:pt x="30921" y="422520"/>
                  <a:pt x="33486" y="427832"/>
                </a:cubicBezTo>
                <a:cubicBezTo>
                  <a:pt x="43358" y="448269"/>
                  <a:pt x="58488" y="464234"/>
                  <a:pt x="76363" y="477953"/>
                </a:cubicBezTo>
                <a:cubicBezTo>
                  <a:pt x="94187" y="491618"/>
                  <a:pt x="113512" y="499471"/>
                  <a:pt x="135633" y="503152"/>
                </a:cubicBezTo>
                <a:cubicBezTo>
                  <a:pt x="148867" y="505357"/>
                  <a:pt x="161948" y="508510"/>
                  <a:pt x="175105" y="511218"/>
                </a:cubicBezTo>
                <a:close/>
                <a:moveTo>
                  <a:pt x="66002" y="423677"/>
                </a:moveTo>
                <a:cubicBezTo>
                  <a:pt x="79263" y="432520"/>
                  <a:pt x="99377" y="444371"/>
                  <a:pt x="106435" y="448870"/>
                </a:cubicBezTo>
                <a:cubicBezTo>
                  <a:pt x="106470" y="448895"/>
                  <a:pt x="106547" y="448912"/>
                  <a:pt x="106547" y="448912"/>
                </a:cubicBezTo>
                <a:cubicBezTo>
                  <a:pt x="106547" y="448912"/>
                  <a:pt x="107036" y="448056"/>
                  <a:pt x="106856" y="447593"/>
                </a:cubicBezTo>
                <a:cubicBezTo>
                  <a:pt x="106821" y="447498"/>
                  <a:pt x="106796" y="447396"/>
                  <a:pt x="106752" y="447310"/>
                </a:cubicBezTo>
                <a:cubicBezTo>
                  <a:pt x="97952" y="429915"/>
                  <a:pt x="96640" y="410943"/>
                  <a:pt x="95096" y="391766"/>
                </a:cubicBezTo>
                <a:cubicBezTo>
                  <a:pt x="93767" y="375168"/>
                  <a:pt x="96812" y="354431"/>
                  <a:pt x="95954" y="338304"/>
                </a:cubicBezTo>
                <a:cubicBezTo>
                  <a:pt x="95242" y="324936"/>
                  <a:pt x="90996" y="310541"/>
                  <a:pt x="87608" y="299049"/>
                </a:cubicBezTo>
                <a:cubicBezTo>
                  <a:pt x="87137" y="297516"/>
                  <a:pt x="86948" y="297233"/>
                  <a:pt x="86939" y="297173"/>
                </a:cubicBezTo>
                <a:cubicBezTo>
                  <a:pt x="86648" y="297198"/>
                  <a:pt x="86210" y="297798"/>
                  <a:pt x="86107" y="298055"/>
                </a:cubicBezTo>
                <a:cubicBezTo>
                  <a:pt x="86073" y="298149"/>
                  <a:pt x="86099" y="298167"/>
                  <a:pt x="86081" y="298261"/>
                </a:cubicBezTo>
                <a:cubicBezTo>
                  <a:pt x="84332" y="318038"/>
                  <a:pt x="77238" y="335673"/>
                  <a:pt x="74674" y="351834"/>
                </a:cubicBezTo>
                <a:cubicBezTo>
                  <a:pt x="71663" y="370780"/>
                  <a:pt x="73807" y="395228"/>
                  <a:pt x="78834" y="409050"/>
                </a:cubicBezTo>
                <a:cubicBezTo>
                  <a:pt x="79125" y="409855"/>
                  <a:pt x="78336" y="410052"/>
                  <a:pt x="78053" y="409606"/>
                </a:cubicBezTo>
                <a:cubicBezTo>
                  <a:pt x="67614" y="393728"/>
                  <a:pt x="45014" y="370831"/>
                  <a:pt x="33271" y="358724"/>
                </a:cubicBezTo>
                <a:cubicBezTo>
                  <a:pt x="18295" y="342974"/>
                  <a:pt x="8028" y="328329"/>
                  <a:pt x="2350" y="310240"/>
                </a:cubicBezTo>
                <a:cubicBezTo>
                  <a:pt x="2307" y="310112"/>
                  <a:pt x="1535" y="309564"/>
                  <a:pt x="1355" y="309641"/>
                </a:cubicBezTo>
                <a:cubicBezTo>
                  <a:pt x="1252" y="309829"/>
                  <a:pt x="1192" y="311337"/>
                  <a:pt x="1174" y="312194"/>
                </a:cubicBezTo>
                <a:cubicBezTo>
                  <a:pt x="754" y="337507"/>
                  <a:pt x="9058" y="362357"/>
                  <a:pt x="23356" y="382991"/>
                </a:cubicBezTo>
                <a:cubicBezTo>
                  <a:pt x="34806" y="399503"/>
                  <a:pt x="49448" y="412631"/>
                  <a:pt x="66002" y="423677"/>
                </a:cubicBezTo>
                <a:close/>
                <a:moveTo>
                  <a:pt x="59037" y="364260"/>
                </a:moveTo>
                <a:cubicBezTo>
                  <a:pt x="59055" y="364233"/>
                  <a:pt x="59088" y="364294"/>
                  <a:pt x="59115" y="364285"/>
                </a:cubicBezTo>
                <a:cubicBezTo>
                  <a:pt x="59749" y="363813"/>
                  <a:pt x="59698" y="363651"/>
                  <a:pt x="59501" y="362134"/>
                </a:cubicBezTo>
                <a:cubicBezTo>
                  <a:pt x="57657" y="343925"/>
                  <a:pt x="60650" y="329152"/>
                  <a:pt x="66637" y="311920"/>
                </a:cubicBezTo>
                <a:cubicBezTo>
                  <a:pt x="75583" y="286178"/>
                  <a:pt x="84229" y="259623"/>
                  <a:pt x="87042" y="232511"/>
                </a:cubicBezTo>
                <a:cubicBezTo>
                  <a:pt x="87420" y="228895"/>
                  <a:pt x="87771" y="223317"/>
                  <a:pt x="87668" y="221620"/>
                </a:cubicBezTo>
                <a:cubicBezTo>
                  <a:pt x="87437" y="221517"/>
                  <a:pt x="86673" y="221997"/>
                  <a:pt x="86639" y="222091"/>
                </a:cubicBezTo>
                <a:cubicBezTo>
                  <a:pt x="82770" y="231766"/>
                  <a:pt x="73705" y="246153"/>
                  <a:pt x="68472" y="254370"/>
                </a:cubicBezTo>
                <a:cubicBezTo>
                  <a:pt x="58437" y="270138"/>
                  <a:pt x="46986" y="285827"/>
                  <a:pt x="45614" y="304773"/>
                </a:cubicBezTo>
                <a:cubicBezTo>
                  <a:pt x="45262" y="309589"/>
                  <a:pt x="45305" y="315913"/>
                  <a:pt x="45948" y="321037"/>
                </a:cubicBezTo>
                <a:cubicBezTo>
                  <a:pt x="45957" y="321148"/>
                  <a:pt x="45760" y="321646"/>
                  <a:pt x="45348" y="321526"/>
                </a:cubicBezTo>
                <a:cubicBezTo>
                  <a:pt x="45279" y="321500"/>
                  <a:pt x="45073" y="321397"/>
                  <a:pt x="45014" y="321158"/>
                </a:cubicBezTo>
                <a:cubicBezTo>
                  <a:pt x="43804" y="316547"/>
                  <a:pt x="42415" y="311020"/>
                  <a:pt x="40648" y="305065"/>
                </a:cubicBezTo>
                <a:cubicBezTo>
                  <a:pt x="31419" y="273797"/>
                  <a:pt x="9289" y="254174"/>
                  <a:pt x="9409" y="208467"/>
                </a:cubicBezTo>
                <a:cubicBezTo>
                  <a:pt x="9349" y="208261"/>
                  <a:pt x="8817" y="207472"/>
                  <a:pt x="8509" y="207464"/>
                </a:cubicBezTo>
                <a:cubicBezTo>
                  <a:pt x="8019" y="208184"/>
                  <a:pt x="6596" y="211500"/>
                  <a:pt x="5403" y="215331"/>
                </a:cubicBezTo>
                <a:cubicBezTo>
                  <a:pt x="-14325" y="278869"/>
                  <a:pt x="25723" y="324473"/>
                  <a:pt x="33666" y="334140"/>
                </a:cubicBezTo>
                <a:cubicBezTo>
                  <a:pt x="41008" y="343068"/>
                  <a:pt x="52921" y="355442"/>
                  <a:pt x="59037" y="364260"/>
                </a:cubicBezTo>
                <a:close/>
                <a:moveTo>
                  <a:pt x="30372" y="237961"/>
                </a:moveTo>
                <a:cubicBezTo>
                  <a:pt x="34643" y="250172"/>
                  <a:pt x="40373" y="268243"/>
                  <a:pt x="41617" y="272905"/>
                </a:cubicBezTo>
                <a:cubicBezTo>
                  <a:pt x="41651" y="273051"/>
                  <a:pt x="42440" y="272708"/>
                  <a:pt x="42535" y="272340"/>
                </a:cubicBezTo>
                <a:cubicBezTo>
                  <a:pt x="45957" y="259306"/>
                  <a:pt x="60152" y="233908"/>
                  <a:pt x="69030" y="221988"/>
                </a:cubicBezTo>
                <a:cubicBezTo>
                  <a:pt x="69664" y="221131"/>
                  <a:pt x="70308" y="220292"/>
                  <a:pt x="70943" y="219443"/>
                </a:cubicBezTo>
                <a:cubicBezTo>
                  <a:pt x="79786" y="207772"/>
                  <a:pt x="89221" y="196410"/>
                  <a:pt x="95096" y="182853"/>
                </a:cubicBezTo>
                <a:cubicBezTo>
                  <a:pt x="99162" y="173462"/>
                  <a:pt x="105458" y="153299"/>
                  <a:pt x="105861" y="151397"/>
                </a:cubicBezTo>
                <a:cubicBezTo>
                  <a:pt x="105869" y="151328"/>
                  <a:pt x="105629" y="151311"/>
                  <a:pt x="105338" y="151354"/>
                </a:cubicBezTo>
                <a:cubicBezTo>
                  <a:pt x="105200" y="151294"/>
                  <a:pt x="104694" y="151320"/>
                  <a:pt x="104300" y="151568"/>
                </a:cubicBezTo>
                <a:cubicBezTo>
                  <a:pt x="104205" y="151620"/>
                  <a:pt x="104111" y="151697"/>
                  <a:pt x="104025" y="151782"/>
                </a:cubicBezTo>
                <a:cubicBezTo>
                  <a:pt x="103973" y="151825"/>
                  <a:pt x="103922" y="151885"/>
                  <a:pt x="103879" y="151962"/>
                </a:cubicBezTo>
                <a:cubicBezTo>
                  <a:pt x="97558" y="161680"/>
                  <a:pt x="86759" y="172828"/>
                  <a:pt x="79503" y="179092"/>
                </a:cubicBezTo>
                <a:cubicBezTo>
                  <a:pt x="67812" y="188621"/>
                  <a:pt x="58694" y="195879"/>
                  <a:pt x="51644" y="209863"/>
                </a:cubicBezTo>
                <a:cubicBezTo>
                  <a:pt x="50889" y="211354"/>
                  <a:pt x="49988" y="213419"/>
                  <a:pt x="49096" y="215596"/>
                </a:cubicBezTo>
                <a:cubicBezTo>
                  <a:pt x="46952" y="220635"/>
                  <a:pt x="44816" y="226641"/>
                  <a:pt x="44790" y="226761"/>
                </a:cubicBezTo>
                <a:cubicBezTo>
                  <a:pt x="44713" y="227146"/>
                  <a:pt x="44044" y="227712"/>
                  <a:pt x="43804" y="226975"/>
                </a:cubicBezTo>
                <a:cubicBezTo>
                  <a:pt x="43606" y="226350"/>
                  <a:pt x="44979" y="209863"/>
                  <a:pt x="45099" y="207627"/>
                </a:cubicBezTo>
                <a:cubicBezTo>
                  <a:pt x="45768" y="194233"/>
                  <a:pt x="43203" y="181088"/>
                  <a:pt x="41411" y="167807"/>
                </a:cubicBezTo>
                <a:cubicBezTo>
                  <a:pt x="39164" y="151149"/>
                  <a:pt x="37628" y="137327"/>
                  <a:pt x="42200" y="117729"/>
                </a:cubicBezTo>
                <a:cubicBezTo>
                  <a:pt x="42508" y="116401"/>
                  <a:pt x="42886" y="115073"/>
                  <a:pt x="43272" y="113762"/>
                </a:cubicBezTo>
                <a:cubicBezTo>
                  <a:pt x="43564" y="112759"/>
                  <a:pt x="43795" y="111988"/>
                  <a:pt x="44121" y="110986"/>
                </a:cubicBezTo>
                <a:cubicBezTo>
                  <a:pt x="44172" y="110814"/>
                  <a:pt x="43924" y="110034"/>
                  <a:pt x="43632" y="109931"/>
                </a:cubicBezTo>
                <a:cubicBezTo>
                  <a:pt x="26066" y="131251"/>
                  <a:pt x="16142" y="170266"/>
                  <a:pt x="20440" y="200335"/>
                </a:cubicBezTo>
                <a:cubicBezTo>
                  <a:pt x="21958" y="210934"/>
                  <a:pt x="29488" y="235433"/>
                  <a:pt x="30372" y="237961"/>
                </a:cubicBezTo>
                <a:close/>
                <a:moveTo>
                  <a:pt x="55709" y="171783"/>
                </a:moveTo>
                <a:cubicBezTo>
                  <a:pt x="55709" y="176238"/>
                  <a:pt x="55624" y="180009"/>
                  <a:pt x="55401" y="182382"/>
                </a:cubicBezTo>
                <a:lnTo>
                  <a:pt x="55418" y="182399"/>
                </a:lnTo>
                <a:cubicBezTo>
                  <a:pt x="55409" y="182459"/>
                  <a:pt x="55409" y="182537"/>
                  <a:pt x="55401" y="182597"/>
                </a:cubicBezTo>
                <a:cubicBezTo>
                  <a:pt x="55375" y="182853"/>
                  <a:pt x="56113" y="182391"/>
                  <a:pt x="56113" y="182391"/>
                </a:cubicBezTo>
                <a:lnTo>
                  <a:pt x="56284" y="182203"/>
                </a:lnTo>
                <a:cubicBezTo>
                  <a:pt x="60092" y="177361"/>
                  <a:pt x="71912" y="162725"/>
                  <a:pt x="88132" y="149169"/>
                </a:cubicBezTo>
                <a:cubicBezTo>
                  <a:pt x="97224" y="141654"/>
                  <a:pt x="106796" y="134439"/>
                  <a:pt x="115313" y="126315"/>
                </a:cubicBezTo>
                <a:cubicBezTo>
                  <a:pt x="127150" y="115013"/>
                  <a:pt x="134063" y="95939"/>
                  <a:pt x="136113" y="85630"/>
                </a:cubicBezTo>
                <a:cubicBezTo>
                  <a:pt x="136259" y="84722"/>
                  <a:pt x="136422" y="84010"/>
                  <a:pt x="136387" y="83650"/>
                </a:cubicBezTo>
                <a:cubicBezTo>
                  <a:pt x="136165" y="83565"/>
                  <a:pt x="135435" y="83822"/>
                  <a:pt x="135332" y="83950"/>
                </a:cubicBezTo>
                <a:cubicBezTo>
                  <a:pt x="134123" y="85527"/>
                  <a:pt x="132896" y="87095"/>
                  <a:pt x="131713" y="88698"/>
                </a:cubicBezTo>
                <a:cubicBezTo>
                  <a:pt x="124816" y="98030"/>
                  <a:pt x="117568" y="103676"/>
                  <a:pt x="108056" y="109914"/>
                </a:cubicBezTo>
                <a:cubicBezTo>
                  <a:pt x="92042" y="120009"/>
                  <a:pt x="80806" y="127661"/>
                  <a:pt x="71748" y="139923"/>
                </a:cubicBezTo>
                <a:cubicBezTo>
                  <a:pt x="71680" y="140017"/>
                  <a:pt x="71602" y="140111"/>
                  <a:pt x="71534" y="140214"/>
                </a:cubicBezTo>
                <a:cubicBezTo>
                  <a:pt x="71122" y="140960"/>
                  <a:pt x="70308" y="140600"/>
                  <a:pt x="70557" y="139820"/>
                </a:cubicBezTo>
                <a:cubicBezTo>
                  <a:pt x="73310" y="130917"/>
                  <a:pt x="74485" y="125364"/>
                  <a:pt x="76397" y="117524"/>
                </a:cubicBezTo>
                <a:cubicBezTo>
                  <a:pt x="79528" y="104611"/>
                  <a:pt x="80952" y="87540"/>
                  <a:pt x="85799" y="76187"/>
                </a:cubicBezTo>
                <a:cubicBezTo>
                  <a:pt x="88860" y="68989"/>
                  <a:pt x="93243" y="62853"/>
                  <a:pt x="98870" y="57360"/>
                </a:cubicBezTo>
                <a:cubicBezTo>
                  <a:pt x="98930" y="57318"/>
                  <a:pt x="98982" y="57275"/>
                  <a:pt x="99008" y="57207"/>
                </a:cubicBezTo>
                <a:cubicBezTo>
                  <a:pt x="99239" y="56530"/>
                  <a:pt x="99119" y="55998"/>
                  <a:pt x="99085" y="56016"/>
                </a:cubicBezTo>
                <a:cubicBezTo>
                  <a:pt x="98244" y="56213"/>
                  <a:pt x="96932" y="56710"/>
                  <a:pt x="95954" y="57198"/>
                </a:cubicBezTo>
                <a:cubicBezTo>
                  <a:pt x="79185" y="65536"/>
                  <a:pt x="67975" y="79015"/>
                  <a:pt x="60436" y="95964"/>
                </a:cubicBezTo>
                <a:cubicBezTo>
                  <a:pt x="55795" y="106419"/>
                  <a:pt x="54560" y="117318"/>
                  <a:pt x="54534" y="128347"/>
                </a:cubicBezTo>
                <a:cubicBezTo>
                  <a:pt x="54526" y="132048"/>
                  <a:pt x="54646" y="135759"/>
                  <a:pt x="54817" y="139452"/>
                </a:cubicBezTo>
                <a:cubicBezTo>
                  <a:pt x="55255" y="148595"/>
                  <a:pt x="55700" y="161860"/>
                  <a:pt x="55709" y="171783"/>
                </a:cubicBezTo>
                <a:close/>
                <a:moveTo>
                  <a:pt x="90430" y="107892"/>
                </a:moveTo>
                <a:cubicBezTo>
                  <a:pt x="90430" y="107892"/>
                  <a:pt x="90670" y="107977"/>
                  <a:pt x="90816" y="107918"/>
                </a:cubicBezTo>
                <a:cubicBezTo>
                  <a:pt x="90876" y="107892"/>
                  <a:pt x="90944" y="107815"/>
                  <a:pt x="91014" y="107764"/>
                </a:cubicBezTo>
                <a:cubicBezTo>
                  <a:pt x="95585" y="104225"/>
                  <a:pt x="113854" y="90034"/>
                  <a:pt x="120142" y="83702"/>
                </a:cubicBezTo>
                <a:cubicBezTo>
                  <a:pt x="129645" y="75467"/>
                  <a:pt x="136559" y="65081"/>
                  <a:pt x="143550" y="54833"/>
                </a:cubicBezTo>
                <a:cubicBezTo>
                  <a:pt x="150832" y="44147"/>
                  <a:pt x="158628" y="33942"/>
                  <a:pt x="168338" y="25321"/>
                </a:cubicBezTo>
                <a:cubicBezTo>
                  <a:pt x="169135" y="24610"/>
                  <a:pt x="169727" y="24130"/>
                  <a:pt x="170533" y="23410"/>
                </a:cubicBezTo>
                <a:cubicBezTo>
                  <a:pt x="170628" y="23436"/>
                  <a:pt x="170825" y="22605"/>
                  <a:pt x="170654" y="22288"/>
                </a:cubicBezTo>
                <a:cubicBezTo>
                  <a:pt x="153945" y="26889"/>
                  <a:pt x="136739" y="33745"/>
                  <a:pt x="123788" y="44936"/>
                </a:cubicBezTo>
                <a:cubicBezTo>
                  <a:pt x="99685" y="63976"/>
                  <a:pt x="91425" y="102442"/>
                  <a:pt x="90465" y="107686"/>
                </a:cubicBezTo>
                <a:cubicBezTo>
                  <a:pt x="90456" y="107764"/>
                  <a:pt x="90430" y="107892"/>
                  <a:pt x="90430" y="107892"/>
                </a:cubicBezTo>
                <a:close/>
                <a:moveTo>
                  <a:pt x="361962" y="317499"/>
                </a:moveTo>
                <a:cubicBezTo>
                  <a:pt x="363849" y="314662"/>
                  <a:pt x="359140" y="312871"/>
                  <a:pt x="357913" y="317798"/>
                </a:cubicBezTo>
                <a:cubicBezTo>
                  <a:pt x="356764" y="322383"/>
                  <a:pt x="360066" y="320326"/>
                  <a:pt x="361962" y="317499"/>
                </a:cubicBezTo>
                <a:close/>
                <a:moveTo>
                  <a:pt x="413348" y="198801"/>
                </a:moveTo>
                <a:cubicBezTo>
                  <a:pt x="411522" y="197850"/>
                  <a:pt x="404007" y="207001"/>
                  <a:pt x="405209" y="208483"/>
                </a:cubicBezTo>
                <a:cubicBezTo>
                  <a:pt x="405749" y="209075"/>
                  <a:pt x="414009" y="199238"/>
                  <a:pt x="413348" y="198801"/>
                </a:cubicBezTo>
                <a:close/>
                <a:moveTo>
                  <a:pt x="414961" y="197181"/>
                </a:moveTo>
                <a:cubicBezTo>
                  <a:pt x="416093" y="197772"/>
                  <a:pt x="421077" y="195065"/>
                  <a:pt x="420150" y="194336"/>
                </a:cubicBezTo>
                <a:cubicBezTo>
                  <a:pt x="419232" y="193599"/>
                  <a:pt x="413374" y="190892"/>
                  <a:pt x="413254" y="192545"/>
                </a:cubicBezTo>
                <a:cubicBezTo>
                  <a:pt x="413083" y="195236"/>
                  <a:pt x="413820" y="196590"/>
                  <a:pt x="414961" y="197181"/>
                </a:cubicBezTo>
                <a:close/>
                <a:moveTo>
                  <a:pt x="505468" y="276444"/>
                </a:moveTo>
                <a:cubicBezTo>
                  <a:pt x="503111" y="276547"/>
                  <a:pt x="500556" y="279958"/>
                  <a:pt x="501274" y="280001"/>
                </a:cubicBezTo>
                <a:cubicBezTo>
                  <a:pt x="502971" y="280086"/>
                  <a:pt x="504265" y="281303"/>
                  <a:pt x="505633" y="281003"/>
                </a:cubicBezTo>
                <a:cubicBezTo>
                  <a:pt x="508135" y="280446"/>
                  <a:pt x="507830" y="276350"/>
                  <a:pt x="505468" y="276444"/>
                </a:cubicBezTo>
                <a:close/>
                <a:moveTo>
                  <a:pt x="472669" y="191097"/>
                </a:moveTo>
                <a:cubicBezTo>
                  <a:pt x="470636" y="191149"/>
                  <a:pt x="470121" y="193359"/>
                  <a:pt x="472077" y="194362"/>
                </a:cubicBezTo>
                <a:cubicBezTo>
                  <a:pt x="472952" y="194816"/>
                  <a:pt x="475739" y="194405"/>
                  <a:pt x="477018" y="193599"/>
                </a:cubicBezTo>
                <a:cubicBezTo>
                  <a:pt x="478364" y="192751"/>
                  <a:pt x="479934" y="191697"/>
                  <a:pt x="479642" y="189640"/>
                </a:cubicBezTo>
                <a:cubicBezTo>
                  <a:pt x="479470" y="188389"/>
                  <a:pt x="476554" y="184859"/>
                  <a:pt x="478081" y="183505"/>
                </a:cubicBezTo>
                <a:cubicBezTo>
                  <a:pt x="479728" y="182031"/>
                  <a:pt x="481392" y="184319"/>
                  <a:pt x="483004" y="183693"/>
                </a:cubicBezTo>
                <a:cubicBezTo>
                  <a:pt x="484971" y="182931"/>
                  <a:pt x="484789" y="181808"/>
                  <a:pt x="484849" y="180138"/>
                </a:cubicBezTo>
                <a:cubicBezTo>
                  <a:pt x="484927" y="177824"/>
                  <a:pt x="484000" y="174782"/>
                  <a:pt x="481315" y="174782"/>
                </a:cubicBezTo>
                <a:cubicBezTo>
                  <a:pt x="479316" y="174782"/>
                  <a:pt x="475843" y="180129"/>
                  <a:pt x="475688" y="180454"/>
                </a:cubicBezTo>
                <a:cubicBezTo>
                  <a:pt x="475422" y="181037"/>
                  <a:pt x="474865" y="182991"/>
                  <a:pt x="475722" y="184979"/>
                </a:cubicBezTo>
                <a:cubicBezTo>
                  <a:pt x="476915" y="187747"/>
                  <a:pt x="476451" y="190994"/>
                  <a:pt x="472669" y="191097"/>
                </a:cubicBezTo>
                <a:close/>
                <a:moveTo>
                  <a:pt x="517125" y="191466"/>
                </a:moveTo>
                <a:cubicBezTo>
                  <a:pt x="517067" y="192700"/>
                  <a:pt x="520631" y="201286"/>
                  <a:pt x="520995" y="203625"/>
                </a:cubicBezTo>
                <a:cubicBezTo>
                  <a:pt x="521354" y="205964"/>
                  <a:pt x="522091" y="212974"/>
                  <a:pt x="523977" y="212254"/>
                </a:cubicBezTo>
                <a:cubicBezTo>
                  <a:pt x="525170" y="211791"/>
                  <a:pt x="525058" y="207498"/>
                  <a:pt x="524801" y="205836"/>
                </a:cubicBezTo>
                <a:cubicBezTo>
                  <a:pt x="524040" y="200960"/>
                  <a:pt x="523051" y="196745"/>
                  <a:pt x="521252" y="191268"/>
                </a:cubicBezTo>
                <a:cubicBezTo>
                  <a:pt x="520297" y="188355"/>
                  <a:pt x="516165" y="178844"/>
                  <a:pt x="514793" y="179177"/>
                </a:cubicBezTo>
                <a:cubicBezTo>
                  <a:pt x="513576" y="179469"/>
                  <a:pt x="516844" y="186101"/>
                  <a:pt x="517324" y="188261"/>
                </a:cubicBezTo>
                <a:cubicBezTo>
                  <a:pt x="517639" y="189666"/>
                  <a:pt x="517193" y="190223"/>
                  <a:pt x="517125" y="191466"/>
                </a:cubicBezTo>
                <a:close/>
                <a:moveTo>
                  <a:pt x="493631" y="76958"/>
                </a:moveTo>
                <a:cubicBezTo>
                  <a:pt x="495828" y="77789"/>
                  <a:pt x="495818" y="73693"/>
                  <a:pt x="492089" y="70668"/>
                </a:cubicBezTo>
                <a:cubicBezTo>
                  <a:pt x="488380" y="67652"/>
                  <a:pt x="483442" y="69118"/>
                  <a:pt x="484780" y="70609"/>
                </a:cubicBezTo>
                <a:cubicBezTo>
                  <a:pt x="485989" y="71945"/>
                  <a:pt x="491687" y="76213"/>
                  <a:pt x="493631" y="76958"/>
                </a:cubicBezTo>
                <a:close/>
                <a:moveTo>
                  <a:pt x="392480" y="47935"/>
                </a:moveTo>
                <a:cubicBezTo>
                  <a:pt x="388071" y="45090"/>
                  <a:pt x="391759" y="41166"/>
                  <a:pt x="388234" y="38527"/>
                </a:cubicBezTo>
                <a:cubicBezTo>
                  <a:pt x="385764" y="36675"/>
                  <a:pt x="378842" y="38509"/>
                  <a:pt x="377126" y="40703"/>
                </a:cubicBezTo>
                <a:cubicBezTo>
                  <a:pt x="374150" y="44550"/>
                  <a:pt x="380969" y="43273"/>
                  <a:pt x="383440" y="44370"/>
                </a:cubicBezTo>
                <a:cubicBezTo>
                  <a:pt x="386202" y="45587"/>
                  <a:pt x="392129" y="50677"/>
                  <a:pt x="393183" y="49649"/>
                </a:cubicBezTo>
                <a:cubicBezTo>
                  <a:pt x="394230" y="48612"/>
                  <a:pt x="392968" y="48389"/>
                  <a:pt x="392480" y="47935"/>
                </a:cubicBezTo>
                <a:close/>
                <a:moveTo>
                  <a:pt x="419275" y="34465"/>
                </a:moveTo>
                <a:cubicBezTo>
                  <a:pt x="413339" y="31757"/>
                  <a:pt x="390987" y="31876"/>
                  <a:pt x="391570" y="37686"/>
                </a:cubicBezTo>
                <a:cubicBezTo>
                  <a:pt x="392051" y="42648"/>
                  <a:pt x="404480" y="37986"/>
                  <a:pt x="407696" y="37712"/>
                </a:cubicBezTo>
                <a:cubicBezTo>
                  <a:pt x="410921" y="37430"/>
                  <a:pt x="424516" y="37155"/>
                  <a:pt x="419275" y="34465"/>
                </a:cubicBezTo>
                <a:close/>
                <a:moveTo>
                  <a:pt x="353873" y="294294"/>
                </a:moveTo>
                <a:cubicBezTo>
                  <a:pt x="353581" y="293188"/>
                  <a:pt x="351643" y="293368"/>
                  <a:pt x="352124" y="294388"/>
                </a:cubicBezTo>
                <a:cubicBezTo>
                  <a:pt x="352604" y="295407"/>
                  <a:pt x="351540" y="296444"/>
                  <a:pt x="352535" y="297721"/>
                </a:cubicBezTo>
                <a:cubicBezTo>
                  <a:pt x="353839" y="299118"/>
                  <a:pt x="356652" y="298947"/>
                  <a:pt x="358068" y="297790"/>
                </a:cubicBezTo>
                <a:cubicBezTo>
                  <a:pt x="358883" y="296907"/>
                  <a:pt x="358368" y="295236"/>
                  <a:pt x="357750" y="294911"/>
                </a:cubicBezTo>
                <a:cubicBezTo>
                  <a:pt x="356678" y="294379"/>
                  <a:pt x="354165" y="295399"/>
                  <a:pt x="353873" y="294294"/>
                </a:cubicBezTo>
                <a:close/>
                <a:moveTo>
                  <a:pt x="345262" y="249872"/>
                </a:moveTo>
                <a:cubicBezTo>
                  <a:pt x="347106" y="249872"/>
                  <a:pt x="347038" y="248492"/>
                  <a:pt x="348109" y="248544"/>
                </a:cubicBezTo>
                <a:cubicBezTo>
                  <a:pt x="349190" y="248587"/>
                  <a:pt x="348307" y="249941"/>
                  <a:pt x="350176" y="249941"/>
                </a:cubicBezTo>
                <a:cubicBezTo>
                  <a:pt x="352029" y="249941"/>
                  <a:pt x="353977" y="245168"/>
                  <a:pt x="348015" y="245168"/>
                </a:cubicBezTo>
                <a:cubicBezTo>
                  <a:pt x="343160" y="245168"/>
                  <a:pt x="343804" y="249804"/>
                  <a:pt x="345262" y="249871"/>
                </a:cubicBezTo>
                <a:close/>
                <a:moveTo>
                  <a:pt x="352998" y="254807"/>
                </a:moveTo>
                <a:cubicBezTo>
                  <a:pt x="349293" y="253856"/>
                  <a:pt x="350048" y="255965"/>
                  <a:pt x="347775" y="256213"/>
                </a:cubicBezTo>
                <a:cubicBezTo>
                  <a:pt x="344009" y="256625"/>
                  <a:pt x="347355" y="253436"/>
                  <a:pt x="345502" y="251971"/>
                </a:cubicBezTo>
                <a:cubicBezTo>
                  <a:pt x="344687" y="251329"/>
                  <a:pt x="342474" y="254550"/>
                  <a:pt x="342311" y="256564"/>
                </a:cubicBezTo>
                <a:cubicBezTo>
                  <a:pt x="342208" y="257532"/>
                  <a:pt x="342183" y="260814"/>
                  <a:pt x="343778" y="260917"/>
                </a:cubicBezTo>
                <a:cubicBezTo>
                  <a:pt x="345373" y="261020"/>
                  <a:pt x="353762" y="261980"/>
                  <a:pt x="356558" y="262614"/>
                </a:cubicBezTo>
                <a:cubicBezTo>
                  <a:pt x="359758" y="263351"/>
                  <a:pt x="356430" y="255691"/>
                  <a:pt x="352998" y="254807"/>
                </a:cubicBezTo>
                <a:close/>
                <a:moveTo>
                  <a:pt x="311699" y="299290"/>
                </a:moveTo>
                <a:cubicBezTo>
                  <a:pt x="312840" y="299290"/>
                  <a:pt x="313663" y="295245"/>
                  <a:pt x="312960" y="293257"/>
                </a:cubicBezTo>
                <a:cubicBezTo>
                  <a:pt x="312248" y="291269"/>
                  <a:pt x="308577" y="292760"/>
                  <a:pt x="308251" y="293685"/>
                </a:cubicBezTo>
                <a:cubicBezTo>
                  <a:pt x="307934" y="294619"/>
                  <a:pt x="310550" y="299290"/>
                  <a:pt x="311699" y="299290"/>
                </a:cubicBezTo>
                <a:close/>
                <a:moveTo>
                  <a:pt x="257567" y="298887"/>
                </a:moveTo>
                <a:cubicBezTo>
                  <a:pt x="257731" y="297147"/>
                  <a:pt x="257585" y="292057"/>
                  <a:pt x="256366" y="291072"/>
                </a:cubicBezTo>
                <a:cubicBezTo>
                  <a:pt x="255149" y="290095"/>
                  <a:pt x="255312" y="291937"/>
                  <a:pt x="254437" y="291835"/>
                </a:cubicBezTo>
                <a:cubicBezTo>
                  <a:pt x="253760" y="291757"/>
                  <a:pt x="253819" y="289392"/>
                  <a:pt x="252961" y="289401"/>
                </a:cubicBezTo>
                <a:cubicBezTo>
                  <a:pt x="252104" y="289401"/>
                  <a:pt x="253253" y="293445"/>
                  <a:pt x="254171" y="295793"/>
                </a:cubicBezTo>
                <a:cubicBezTo>
                  <a:pt x="255089" y="298149"/>
                  <a:pt x="257353" y="301997"/>
                  <a:pt x="257567" y="298887"/>
                </a:cubicBezTo>
                <a:close/>
                <a:moveTo>
                  <a:pt x="256264" y="286530"/>
                </a:moveTo>
                <a:cubicBezTo>
                  <a:pt x="256547" y="285930"/>
                  <a:pt x="258399" y="277455"/>
                  <a:pt x="258116" y="274216"/>
                </a:cubicBezTo>
                <a:cubicBezTo>
                  <a:pt x="257825" y="270986"/>
                  <a:pt x="256101" y="267935"/>
                  <a:pt x="255664" y="268158"/>
                </a:cubicBezTo>
                <a:cubicBezTo>
                  <a:pt x="255080" y="268458"/>
                  <a:pt x="255929" y="270395"/>
                  <a:pt x="256032" y="273531"/>
                </a:cubicBezTo>
                <a:cubicBezTo>
                  <a:pt x="256187" y="278218"/>
                  <a:pt x="253973" y="282117"/>
                  <a:pt x="253973" y="283660"/>
                </a:cubicBezTo>
                <a:cubicBezTo>
                  <a:pt x="253965" y="285116"/>
                  <a:pt x="255363" y="288415"/>
                  <a:pt x="256264" y="286530"/>
                </a:cubicBezTo>
                <a:close/>
                <a:moveTo>
                  <a:pt x="111728" y="256564"/>
                </a:moveTo>
                <a:cubicBezTo>
                  <a:pt x="111728" y="187978"/>
                  <a:pt x="138429" y="123539"/>
                  <a:pt x="186908" y="75107"/>
                </a:cubicBezTo>
                <a:cubicBezTo>
                  <a:pt x="235378" y="26675"/>
                  <a:pt x="299888" y="0"/>
                  <a:pt x="368541" y="0"/>
                </a:cubicBezTo>
                <a:cubicBezTo>
                  <a:pt x="437193" y="0"/>
                  <a:pt x="501695" y="26675"/>
                  <a:pt x="550172" y="75107"/>
                </a:cubicBezTo>
                <a:cubicBezTo>
                  <a:pt x="598653" y="123539"/>
                  <a:pt x="625352" y="187978"/>
                  <a:pt x="625352" y="256564"/>
                </a:cubicBezTo>
                <a:cubicBezTo>
                  <a:pt x="625352" y="325150"/>
                  <a:pt x="598653" y="389598"/>
                  <a:pt x="550172" y="438021"/>
                </a:cubicBezTo>
                <a:cubicBezTo>
                  <a:pt x="501695" y="486454"/>
                  <a:pt x="437193" y="513127"/>
                  <a:pt x="368541" y="513127"/>
                </a:cubicBezTo>
                <a:cubicBezTo>
                  <a:pt x="299888" y="513127"/>
                  <a:pt x="235378" y="486454"/>
                  <a:pt x="186908" y="438021"/>
                </a:cubicBezTo>
                <a:cubicBezTo>
                  <a:pt x="138429" y="389598"/>
                  <a:pt x="111728" y="325150"/>
                  <a:pt x="111728" y="256564"/>
                </a:cubicBezTo>
                <a:close/>
                <a:moveTo>
                  <a:pt x="190836" y="426350"/>
                </a:moveTo>
                <a:lnTo>
                  <a:pt x="218738" y="398475"/>
                </a:lnTo>
                <a:cubicBezTo>
                  <a:pt x="213248" y="392691"/>
                  <a:pt x="208093" y="386590"/>
                  <a:pt x="203299" y="380215"/>
                </a:cubicBezTo>
                <a:cubicBezTo>
                  <a:pt x="201137" y="379358"/>
                  <a:pt x="198941" y="378159"/>
                  <a:pt x="197432" y="376291"/>
                </a:cubicBezTo>
                <a:cubicBezTo>
                  <a:pt x="195047" y="373317"/>
                  <a:pt x="193795" y="368964"/>
                  <a:pt x="192663" y="368964"/>
                </a:cubicBezTo>
                <a:cubicBezTo>
                  <a:pt x="191522" y="368973"/>
                  <a:pt x="192569" y="371732"/>
                  <a:pt x="190030" y="372100"/>
                </a:cubicBezTo>
                <a:cubicBezTo>
                  <a:pt x="186573" y="372605"/>
                  <a:pt x="181693" y="364020"/>
                  <a:pt x="179788" y="360892"/>
                </a:cubicBezTo>
                <a:cubicBezTo>
                  <a:pt x="177541" y="357207"/>
                  <a:pt x="173853" y="357173"/>
                  <a:pt x="172043" y="353719"/>
                </a:cubicBezTo>
                <a:cubicBezTo>
                  <a:pt x="171520" y="352726"/>
                  <a:pt x="170267" y="349675"/>
                  <a:pt x="169110" y="351483"/>
                </a:cubicBezTo>
                <a:cubicBezTo>
                  <a:pt x="167197" y="354551"/>
                  <a:pt x="160635" y="344799"/>
                  <a:pt x="158963" y="345468"/>
                </a:cubicBezTo>
                <a:cubicBezTo>
                  <a:pt x="157239" y="346136"/>
                  <a:pt x="158757" y="348167"/>
                  <a:pt x="157788" y="349023"/>
                </a:cubicBezTo>
                <a:cubicBezTo>
                  <a:pt x="155910" y="350695"/>
                  <a:pt x="150385" y="341552"/>
                  <a:pt x="148318" y="342486"/>
                </a:cubicBezTo>
                <a:cubicBezTo>
                  <a:pt x="146380" y="343368"/>
                  <a:pt x="145934" y="344542"/>
                  <a:pt x="145822" y="346968"/>
                </a:cubicBezTo>
                <a:cubicBezTo>
                  <a:pt x="145719" y="349487"/>
                  <a:pt x="148842" y="355965"/>
                  <a:pt x="147743" y="356470"/>
                </a:cubicBezTo>
                <a:cubicBezTo>
                  <a:pt x="146183" y="357181"/>
                  <a:pt x="138197" y="336865"/>
                  <a:pt x="139938" y="335939"/>
                </a:cubicBezTo>
                <a:cubicBezTo>
                  <a:pt x="140916" y="335417"/>
                  <a:pt x="140762" y="336865"/>
                  <a:pt x="141868" y="336205"/>
                </a:cubicBezTo>
                <a:cubicBezTo>
                  <a:pt x="143009" y="335519"/>
                  <a:pt x="141070" y="334114"/>
                  <a:pt x="140548" y="331911"/>
                </a:cubicBezTo>
                <a:cubicBezTo>
                  <a:pt x="139999" y="329607"/>
                  <a:pt x="138000" y="329555"/>
                  <a:pt x="137828" y="327019"/>
                </a:cubicBezTo>
                <a:cubicBezTo>
                  <a:pt x="137674" y="324491"/>
                  <a:pt x="141285" y="325339"/>
                  <a:pt x="141243" y="324105"/>
                </a:cubicBezTo>
                <a:cubicBezTo>
                  <a:pt x="141199" y="322872"/>
                  <a:pt x="141525" y="321466"/>
                  <a:pt x="142545" y="320584"/>
                </a:cubicBezTo>
                <a:cubicBezTo>
                  <a:pt x="143738" y="319555"/>
                  <a:pt x="146526" y="320634"/>
                  <a:pt x="147126" y="317070"/>
                </a:cubicBezTo>
                <a:cubicBezTo>
                  <a:pt x="147641" y="314028"/>
                  <a:pt x="149176" y="316848"/>
                  <a:pt x="149494" y="319109"/>
                </a:cubicBezTo>
                <a:cubicBezTo>
                  <a:pt x="149863" y="321731"/>
                  <a:pt x="156570" y="322391"/>
                  <a:pt x="156896" y="320592"/>
                </a:cubicBezTo>
                <a:cubicBezTo>
                  <a:pt x="157093" y="319452"/>
                  <a:pt x="154185" y="319495"/>
                  <a:pt x="154185" y="318484"/>
                </a:cubicBezTo>
                <a:cubicBezTo>
                  <a:pt x="154176" y="316547"/>
                  <a:pt x="157873" y="318398"/>
                  <a:pt x="160395" y="318621"/>
                </a:cubicBezTo>
                <a:cubicBezTo>
                  <a:pt x="161493" y="318715"/>
                  <a:pt x="163475" y="316942"/>
                  <a:pt x="165979" y="318235"/>
                </a:cubicBezTo>
                <a:cubicBezTo>
                  <a:pt x="168707" y="319649"/>
                  <a:pt x="170388" y="320335"/>
                  <a:pt x="172198" y="320626"/>
                </a:cubicBezTo>
                <a:cubicBezTo>
                  <a:pt x="166125" y="302109"/>
                  <a:pt x="162599" y="282443"/>
                  <a:pt x="162068" y="262048"/>
                </a:cubicBezTo>
                <a:lnTo>
                  <a:pt x="122766" y="262048"/>
                </a:lnTo>
                <a:cubicBezTo>
                  <a:pt x="124113" y="323823"/>
                  <a:pt x="148121" y="381774"/>
                  <a:pt x="190836" y="426350"/>
                </a:cubicBezTo>
                <a:close/>
                <a:moveTo>
                  <a:pt x="352955" y="198903"/>
                </a:moveTo>
                <a:cubicBezTo>
                  <a:pt x="353230" y="199323"/>
                  <a:pt x="350382" y="201911"/>
                  <a:pt x="348924" y="204422"/>
                </a:cubicBezTo>
                <a:cubicBezTo>
                  <a:pt x="353470" y="202717"/>
                  <a:pt x="358196" y="201620"/>
                  <a:pt x="363051" y="201149"/>
                </a:cubicBezTo>
                <a:lnTo>
                  <a:pt x="363051" y="161783"/>
                </a:lnTo>
                <a:cubicBezTo>
                  <a:pt x="340973" y="163051"/>
                  <a:pt x="320894" y="171877"/>
                  <a:pt x="305369" y="185707"/>
                </a:cubicBezTo>
                <a:lnTo>
                  <a:pt x="333185" y="213496"/>
                </a:lnTo>
                <a:cubicBezTo>
                  <a:pt x="336385" y="210875"/>
                  <a:pt x="339858" y="208604"/>
                  <a:pt x="343598" y="206727"/>
                </a:cubicBezTo>
                <a:cubicBezTo>
                  <a:pt x="344567" y="206247"/>
                  <a:pt x="345544" y="205802"/>
                  <a:pt x="346531" y="205382"/>
                </a:cubicBezTo>
                <a:cubicBezTo>
                  <a:pt x="348435" y="202057"/>
                  <a:pt x="352595" y="198355"/>
                  <a:pt x="352955" y="198903"/>
                </a:cubicBezTo>
                <a:close/>
                <a:moveTo>
                  <a:pt x="255835" y="345674"/>
                </a:moveTo>
                <a:cubicBezTo>
                  <a:pt x="255843" y="346453"/>
                  <a:pt x="255809" y="347224"/>
                  <a:pt x="255646" y="347953"/>
                </a:cubicBezTo>
                <a:cubicBezTo>
                  <a:pt x="257687" y="350455"/>
                  <a:pt x="259772" y="352914"/>
                  <a:pt x="261968" y="355279"/>
                </a:cubicBezTo>
                <a:lnTo>
                  <a:pt x="289835" y="327438"/>
                </a:lnTo>
                <a:cubicBezTo>
                  <a:pt x="276720" y="312914"/>
                  <a:pt x="267577" y="294756"/>
                  <a:pt x="264095" y="274679"/>
                </a:cubicBezTo>
                <a:cubicBezTo>
                  <a:pt x="263263" y="274902"/>
                  <a:pt x="262517" y="274791"/>
                  <a:pt x="262053" y="273985"/>
                </a:cubicBezTo>
                <a:cubicBezTo>
                  <a:pt x="261488" y="273008"/>
                  <a:pt x="262311" y="272014"/>
                  <a:pt x="263512" y="271020"/>
                </a:cubicBezTo>
                <a:cubicBezTo>
                  <a:pt x="263109" y="268064"/>
                  <a:pt x="262817" y="265073"/>
                  <a:pt x="262663" y="262048"/>
                </a:cubicBezTo>
                <a:lnTo>
                  <a:pt x="244110" y="262048"/>
                </a:lnTo>
                <a:cubicBezTo>
                  <a:pt x="244299" y="264996"/>
                  <a:pt x="245482" y="269246"/>
                  <a:pt x="243535" y="270729"/>
                </a:cubicBezTo>
                <a:cubicBezTo>
                  <a:pt x="241931" y="271945"/>
                  <a:pt x="239658" y="270712"/>
                  <a:pt x="238208" y="270909"/>
                </a:cubicBezTo>
                <a:cubicBezTo>
                  <a:pt x="234649" y="271388"/>
                  <a:pt x="233834" y="275681"/>
                  <a:pt x="234777" y="278595"/>
                </a:cubicBezTo>
                <a:cubicBezTo>
                  <a:pt x="235395" y="280558"/>
                  <a:pt x="236252" y="282074"/>
                  <a:pt x="235910" y="284191"/>
                </a:cubicBezTo>
                <a:cubicBezTo>
                  <a:pt x="235592" y="286179"/>
                  <a:pt x="234511" y="287729"/>
                  <a:pt x="237659" y="289392"/>
                </a:cubicBezTo>
                <a:cubicBezTo>
                  <a:pt x="240541" y="290901"/>
                  <a:pt x="245208" y="296813"/>
                  <a:pt x="244822" y="297832"/>
                </a:cubicBezTo>
                <a:cubicBezTo>
                  <a:pt x="244324" y="299144"/>
                  <a:pt x="241459" y="296607"/>
                  <a:pt x="241280" y="298981"/>
                </a:cubicBezTo>
                <a:cubicBezTo>
                  <a:pt x="241168" y="300437"/>
                  <a:pt x="245508" y="298569"/>
                  <a:pt x="245259" y="303505"/>
                </a:cubicBezTo>
                <a:cubicBezTo>
                  <a:pt x="245113" y="306375"/>
                  <a:pt x="245834" y="309520"/>
                  <a:pt x="246666" y="311492"/>
                </a:cubicBezTo>
                <a:cubicBezTo>
                  <a:pt x="248381" y="315596"/>
                  <a:pt x="250354" y="318304"/>
                  <a:pt x="250182" y="322931"/>
                </a:cubicBezTo>
                <a:cubicBezTo>
                  <a:pt x="250046" y="326770"/>
                  <a:pt x="249368" y="330952"/>
                  <a:pt x="251049" y="334568"/>
                </a:cubicBezTo>
                <a:cubicBezTo>
                  <a:pt x="252782" y="338287"/>
                  <a:pt x="255818" y="341294"/>
                  <a:pt x="255835" y="345674"/>
                </a:cubicBezTo>
                <a:close/>
                <a:moveTo>
                  <a:pt x="232668" y="279444"/>
                </a:moveTo>
                <a:cubicBezTo>
                  <a:pt x="230377" y="276821"/>
                  <a:pt x="234186" y="269366"/>
                  <a:pt x="234752" y="267901"/>
                </a:cubicBezTo>
                <a:cubicBezTo>
                  <a:pt x="235361" y="266350"/>
                  <a:pt x="238818" y="264354"/>
                  <a:pt x="239855" y="262048"/>
                </a:cubicBezTo>
                <a:lnTo>
                  <a:pt x="223344" y="262048"/>
                </a:lnTo>
                <a:cubicBezTo>
                  <a:pt x="223661" y="270678"/>
                  <a:pt x="224751" y="279161"/>
                  <a:pt x="226534" y="287455"/>
                </a:cubicBezTo>
                <a:cubicBezTo>
                  <a:pt x="230498" y="288904"/>
                  <a:pt x="238115" y="285673"/>
                  <a:pt x="232668" y="279444"/>
                </a:cubicBezTo>
                <a:close/>
                <a:moveTo>
                  <a:pt x="222306" y="385519"/>
                </a:moveTo>
                <a:cubicBezTo>
                  <a:pt x="222186" y="385587"/>
                  <a:pt x="222049" y="385639"/>
                  <a:pt x="221912" y="385691"/>
                </a:cubicBezTo>
                <a:cubicBezTo>
                  <a:pt x="223413" y="387395"/>
                  <a:pt x="224940" y="389075"/>
                  <a:pt x="226501" y="390720"/>
                </a:cubicBezTo>
                <a:lnTo>
                  <a:pt x="229649" y="387576"/>
                </a:lnTo>
                <a:cubicBezTo>
                  <a:pt x="226697" y="385716"/>
                  <a:pt x="223979" y="384542"/>
                  <a:pt x="222306" y="385519"/>
                </a:cubicBezTo>
                <a:close/>
                <a:moveTo>
                  <a:pt x="289835" y="185690"/>
                </a:moveTo>
                <a:lnTo>
                  <a:pt x="262045" y="157926"/>
                </a:lnTo>
                <a:cubicBezTo>
                  <a:pt x="239135" y="182588"/>
                  <a:pt x="224691" y="215193"/>
                  <a:pt x="223352" y="251080"/>
                </a:cubicBezTo>
                <a:lnTo>
                  <a:pt x="242823" y="251080"/>
                </a:lnTo>
                <a:cubicBezTo>
                  <a:pt x="246083" y="245836"/>
                  <a:pt x="244976" y="241842"/>
                  <a:pt x="246066" y="238792"/>
                </a:cubicBezTo>
                <a:cubicBezTo>
                  <a:pt x="247112" y="235887"/>
                  <a:pt x="248827" y="233222"/>
                  <a:pt x="250440" y="230609"/>
                </a:cubicBezTo>
                <a:cubicBezTo>
                  <a:pt x="251872" y="228304"/>
                  <a:pt x="253502" y="225707"/>
                  <a:pt x="256504" y="225690"/>
                </a:cubicBezTo>
                <a:cubicBezTo>
                  <a:pt x="262851" y="225656"/>
                  <a:pt x="264429" y="222339"/>
                  <a:pt x="268452" y="220498"/>
                </a:cubicBezTo>
                <a:cubicBezTo>
                  <a:pt x="272475" y="218655"/>
                  <a:pt x="279594" y="217567"/>
                  <a:pt x="278788" y="215467"/>
                </a:cubicBezTo>
                <a:cubicBezTo>
                  <a:pt x="278239" y="214054"/>
                  <a:pt x="263932" y="219597"/>
                  <a:pt x="263623" y="218518"/>
                </a:cubicBezTo>
                <a:cubicBezTo>
                  <a:pt x="263083" y="216624"/>
                  <a:pt x="268135" y="216804"/>
                  <a:pt x="270262" y="214884"/>
                </a:cubicBezTo>
                <a:cubicBezTo>
                  <a:pt x="270682" y="214491"/>
                  <a:pt x="271094" y="214251"/>
                  <a:pt x="271488" y="214054"/>
                </a:cubicBezTo>
                <a:cubicBezTo>
                  <a:pt x="276086" y="203616"/>
                  <a:pt x="282288" y="194045"/>
                  <a:pt x="289835" y="185690"/>
                </a:cubicBezTo>
                <a:close/>
                <a:moveTo>
                  <a:pt x="284826" y="211672"/>
                </a:moveTo>
                <a:cubicBezTo>
                  <a:pt x="285203" y="211508"/>
                  <a:pt x="285581" y="211329"/>
                  <a:pt x="285975" y="211106"/>
                </a:cubicBezTo>
                <a:cubicBezTo>
                  <a:pt x="290744" y="208381"/>
                  <a:pt x="297014" y="208903"/>
                  <a:pt x="299682" y="210060"/>
                </a:cubicBezTo>
                <a:cubicBezTo>
                  <a:pt x="303121" y="211560"/>
                  <a:pt x="307521" y="215382"/>
                  <a:pt x="309520" y="216907"/>
                </a:cubicBezTo>
                <a:cubicBezTo>
                  <a:pt x="310387" y="217567"/>
                  <a:pt x="310798" y="216341"/>
                  <a:pt x="314847" y="215733"/>
                </a:cubicBezTo>
                <a:cubicBezTo>
                  <a:pt x="316536" y="215485"/>
                  <a:pt x="316923" y="217181"/>
                  <a:pt x="319333" y="217524"/>
                </a:cubicBezTo>
                <a:cubicBezTo>
                  <a:pt x="320302" y="217661"/>
                  <a:pt x="321099" y="217704"/>
                  <a:pt x="321829" y="217652"/>
                </a:cubicBezTo>
                <a:lnTo>
                  <a:pt x="297606" y="193462"/>
                </a:lnTo>
                <a:cubicBezTo>
                  <a:pt x="292674" y="198989"/>
                  <a:pt x="288377" y="205107"/>
                  <a:pt x="284826" y="211672"/>
                </a:cubicBezTo>
                <a:close/>
                <a:moveTo>
                  <a:pt x="257550" y="241568"/>
                </a:moveTo>
                <a:cubicBezTo>
                  <a:pt x="254471" y="241251"/>
                  <a:pt x="251349" y="242528"/>
                  <a:pt x="249694" y="245202"/>
                </a:cubicBezTo>
                <a:cubicBezTo>
                  <a:pt x="248536" y="247053"/>
                  <a:pt x="248210" y="249126"/>
                  <a:pt x="248604" y="251080"/>
                </a:cubicBezTo>
                <a:lnTo>
                  <a:pt x="262663" y="251080"/>
                </a:lnTo>
                <a:cubicBezTo>
                  <a:pt x="262800" y="248424"/>
                  <a:pt x="263040" y="245793"/>
                  <a:pt x="263366" y="243196"/>
                </a:cubicBezTo>
                <a:cubicBezTo>
                  <a:pt x="261555" y="242254"/>
                  <a:pt x="259403" y="241757"/>
                  <a:pt x="257550" y="241568"/>
                </a:cubicBezTo>
                <a:close/>
                <a:moveTo>
                  <a:pt x="297615" y="319675"/>
                </a:moveTo>
                <a:lnTo>
                  <a:pt x="325448" y="291860"/>
                </a:lnTo>
                <a:cubicBezTo>
                  <a:pt x="323175" y="289100"/>
                  <a:pt x="321185" y="286110"/>
                  <a:pt x="319469" y="282948"/>
                </a:cubicBezTo>
                <a:lnTo>
                  <a:pt x="319461" y="282965"/>
                </a:lnTo>
                <a:cubicBezTo>
                  <a:pt x="319024" y="283471"/>
                  <a:pt x="318655" y="283985"/>
                  <a:pt x="318432" y="284474"/>
                </a:cubicBezTo>
                <a:cubicBezTo>
                  <a:pt x="317858" y="285716"/>
                  <a:pt x="318603" y="289855"/>
                  <a:pt x="316880" y="291629"/>
                </a:cubicBezTo>
                <a:cubicBezTo>
                  <a:pt x="314658" y="293925"/>
                  <a:pt x="308689" y="286573"/>
                  <a:pt x="306801" y="285965"/>
                </a:cubicBezTo>
                <a:cubicBezTo>
                  <a:pt x="304237" y="285159"/>
                  <a:pt x="303010" y="287978"/>
                  <a:pt x="303147" y="288792"/>
                </a:cubicBezTo>
                <a:cubicBezTo>
                  <a:pt x="303490" y="290909"/>
                  <a:pt x="303062" y="291757"/>
                  <a:pt x="302135" y="291946"/>
                </a:cubicBezTo>
                <a:cubicBezTo>
                  <a:pt x="301208" y="292126"/>
                  <a:pt x="296543" y="288955"/>
                  <a:pt x="298627" y="288158"/>
                </a:cubicBezTo>
                <a:cubicBezTo>
                  <a:pt x="301055" y="287242"/>
                  <a:pt x="297992" y="285150"/>
                  <a:pt x="296946" y="284336"/>
                </a:cubicBezTo>
                <a:cubicBezTo>
                  <a:pt x="295145" y="282948"/>
                  <a:pt x="292332" y="284242"/>
                  <a:pt x="291010" y="282400"/>
                </a:cubicBezTo>
                <a:cubicBezTo>
                  <a:pt x="289595" y="280420"/>
                  <a:pt x="286928" y="278998"/>
                  <a:pt x="286104" y="278758"/>
                </a:cubicBezTo>
                <a:cubicBezTo>
                  <a:pt x="285546" y="278595"/>
                  <a:pt x="282810" y="277438"/>
                  <a:pt x="281018" y="278381"/>
                </a:cubicBezTo>
                <a:cubicBezTo>
                  <a:pt x="279611" y="279135"/>
                  <a:pt x="278093" y="277601"/>
                  <a:pt x="277038" y="276573"/>
                </a:cubicBezTo>
                <a:cubicBezTo>
                  <a:pt x="276455" y="276007"/>
                  <a:pt x="275871" y="275348"/>
                  <a:pt x="275254" y="274705"/>
                </a:cubicBezTo>
                <a:cubicBezTo>
                  <a:pt x="278573" y="291757"/>
                  <a:pt x="286473" y="307190"/>
                  <a:pt x="297615" y="319675"/>
                </a:cubicBezTo>
                <a:close/>
                <a:moveTo>
                  <a:pt x="325474" y="271646"/>
                </a:moveTo>
                <a:cubicBezTo>
                  <a:pt x="325482" y="271406"/>
                  <a:pt x="325500" y="271157"/>
                  <a:pt x="325526" y="270909"/>
                </a:cubicBezTo>
                <a:cubicBezTo>
                  <a:pt x="325534" y="270840"/>
                  <a:pt x="325534" y="270772"/>
                  <a:pt x="325543" y="270712"/>
                </a:cubicBezTo>
                <a:cubicBezTo>
                  <a:pt x="325560" y="270523"/>
                  <a:pt x="325585" y="270335"/>
                  <a:pt x="325602" y="270146"/>
                </a:cubicBezTo>
                <a:cubicBezTo>
                  <a:pt x="325620" y="270069"/>
                  <a:pt x="325628" y="269983"/>
                  <a:pt x="325637" y="269906"/>
                </a:cubicBezTo>
                <a:lnTo>
                  <a:pt x="325688" y="269546"/>
                </a:lnTo>
                <a:cubicBezTo>
                  <a:pt x="325706" y="269478"/>
                  <a:pt x="325714" y="269418"/>
                  <a:pt x="325723" y="269349"/>
                </a:cubicBezTo>
                <a:cubicBezTo>
                  <a:pt x="325731" y="269281"/>
                  <a:pt x="325748" y="269204"/>
                  <a:pt x="325757" y="269135"/>
                </a:cubicBezTo>
                <a:cubicBezTo>
                  <a:pt x="325800" y="268878"/>
                  <a:pt x="325851" y="268629"/>
                  <a:pt x="325911" y="268389"/>
                </a:cubicBezTo>
                <a:lnTo>
                  <a:pt x="325911" y="268372"/>
                </a:lnTo>
                <a:cubicBezTo>
                  <a:pt x="325963" y="268141"/>
                  <a:pt x="326023" y="267910"/>
                  <a:pt x="326092" y="267695"/>
                </a:cubicBezTo>
                <a:cubicBezTo>
                  <a:pt x="326109" y="267618"/>
                  <a:pt x="326134" y="267558"/>
                  <a:pt x="326152" y="267490"/>
                </a:cubicBezTo>
                <a:cubicBezTo>
                  <a:pt x="326203" y="267336"/>
                  <a:pt x="326246" y="267190"/>
                  <a:pt x="326306" y="267044"/>
                </a:cubicBezTo>
                <a:lnTo>
                  <a:pt x="326383" y="266838"/>
                </a:lnTo>
                <a:cubicBezTo>
                  <a:pt x="326443" y="266701"/>
                  <a:pt x="326495" y="266573"/>
                  <a:pt x="326563" y="266453"/>
                </a:cubicBezTo>
                <a:lnTo>
                  <a:pt x="326641" y="266290"/>
                </a:lnTo>
                <a:cubicBezTo>
                  <a:pt x="326734" y="266127"/>
                  <a:pt x="326829" y="265973"/>
                  <a:pt x="326932" y="265845"/>
                </a:cubicBezTo>
                <a:cubicBezTo>
                  <a:pt x="327292" y="265390"/>
                  <a:pt x="327773" y="265305"/>
                  <a:pt x="328339" y="265382"/>
                </a:cubicBezTo>
                <a:cubicBezTo>
                  <a:pt x="329316" y="265519"/>
                  <a:pt x="330543" y="266153"/>
                  <a:pt x="331735" y="266213"/>
                </a:cubicBezTo>
                <a:cubicBezTo>
                  <a:pt x="332593" y="266256"/>
                  <a:pt x="333433" y="266007"/>
                  <a:pt x="334163" y="265064"/>
                </a:cubicBezTo>
                <a:cubicBezTo>
                  <a:pt x="334497" y="264636"/>
                  <a:pt x="334806" y="264148"/>
                  <a:pt x="335029" y="263668"/>
                </a:cubicBezTo>
                <a:cubicBezTo>
                  <a:pt x="335261" y="263188"/>
                  <a:pt x="335406" y="262717"/>
                  <a:pt x="335415" y="262331"/>
                </a:cubicBezTo>
                <a:cubicBezTo>
                  <a:pt x="335415" y="262143"/>
                  <a:pt x="335389" y="261971"/>
                  <a:pt x="335321" y="261825"/>
                </a:cubicBezTo>
                <a:cubicBezTo>
                  <a:pt x="335115" y="261405"/>
                  <a:pt x="334548" y="261269"/>
                  <a:pt x="333433" y="261654"/>
                </a:cubicBezTo>
                <a:cubicBezTo>
                  <a:pt x="333202" y="261732"/>
                  <a:pt x="332979" y="261809"/>
                  <a:pt x="332748" y="261869"/>
                </a:cubicBezTo>
                <a:cubicBezTo>
                  <a:pt x="332284" y="261997"/>
                  <a:pt x="331830" y="262083"/>
                  <a:pt x="331392" y="262100"/>
                </a:cubicBezTo>
                <a:cubicBezTo>
                  <a:pt x="331169" y="262108"/>
                  <a:pt x="330963" y="262100"/>
                  <a:pt x="330758" y="262065"/>
                </a:cubicBezTo>
                <a:cubicBezTo>
                  <a:pt x="330140" y="261980"/>
                  <a:pt x="329600" y="261706"/>
                  <a:pt x="329188" y="261148"/>
                </a:cubicBezTo>
                <a:cubicBezTo>
                  <a:pt x="329059" y="260960"/>
                  <a:pt x="328939" y="260746"/>
                  <a:pt x="328836" y="260488"/>
                </a:cubicBezTo>
                <a:cubicBezTo>
                  <a:pt x="328708" y="260163"/>
                  <a:pt x="328553" y="259880"/>
                  <a:pt x="328373" y="259631"/>
                </a:cubicBezTo>
                <a:cubicBezTo>
                  <a:pt x="327679" y="258621"/>
                  <a:pt x="326658" y="258115"/>
                  <a:pt x="325594" y="257481"/>
                </a:cubicBezTo>
                <a:cubicBezTo>
                  <a:pt x="325062" y="257164"/>
                  <a:pt x="324522" y="256830"/>
                  <a:pt x="323999" y="256376"/>
                </a:cubicBezTo>
                <a:cubicBezTo>
                  <a:pt x="323742" y="256153"/>
                  <a:pt x="323484" y="255904"/>
                  <a:pt x="323244" y="255622"/>
                </a:cubicBezTo>
                <a:cubicBezTo>
                  <a:pt x="323047" y="255399"/>
                  <a:pt x="322858" y="255185"/>
                  <a:pt x="322661" y="254979"/>
                </a:cubicBezTo>
                <a:cubicBezTo>
                  <a:pt x="322583" y="254902"/>
                  <a:pt x="322506" y="254834"/>
                  <a:pt x="322429" y="254765"/>
                </a:cubicBezTo>
                <a:cubicBezTo>
                  <a:pt x="322300" y="254636"/>
                  <a:pt x="322180" y="254516"/>
                  <a:pt x="322043" y="254396"/>
                </a:cubicBezTo>
                <a:cubicBezTo>
                  <a:pt x="321949" y="254310"/>
                  <a:pt x="321846" y="254225"/>
                  <a:pt x="321751" y="254148"/>
                </a:cubicBezTo>
                <a:cubicBezTo>
                  <a:pt x="321640" y="254054"/>
                  <a:pt x="321528" y="253967"/>
                  <a:pt x="321417" y="253882"/>
                </a:cubicBezTo>
                <a:cubicBezTo>
                  <a:pt x="321297" y="253788"/>
                  <a:pt x="321185" y="253711"/>
                  <a:pt x="321065" y="253625"/>
                </a:cubicBezTo>
                <a:cubicBezTo>
                  <a:pt x="320970" y="253565"/>
                  <a:pt x="320868" y="253497"/>
                  <a:pt x="320765" y="253436"/>
                </a:cubicBezTo>
                <a:cubicBezTo>
                  <a:pt x="320636" y="253351"/>
                  <a:pt x="320508" y="253274"/>
                  <a:pt x="320370" y="253205"/>
                </a:cubicBezTo>
                <a:lnTo>
                  <a:pt x="320113" y="253077"/>
                </a:lnTo>
                <a:cubicBezTo>
                  <a:pt x="319967" y="253008"/>
                  <a:pt x="319813" y="252939"/>
                  <a:pt x="319667" y="252880"/>
                </a:cubicBezTo>
                <a:cubicBezTo>
                  <a:pt x="319598" y="252854"/>
                  <a:pt x="319530" y="252837"/>
                  <a:pt x="319461" y="252811"/>
                </a:cubicBezTo>
                <a:cubicBezTo>
                  <a:pt x="319290" y="252759"/>
                  <a:pt x="319118" y="252700"/>
                  <a:pt x="318947" y="252665"/>
                </a:cubicBezTo>
                <a:lnTo>
                  <a:pt x="318843" y="252648"/>
                </a:lnTo>
                <a:cubicBezTo>
                  <a:pt x="317531" y="252400"/>
                  <a:pt x="316159" y="252742"/>
                  <a:pt x="314829" y="254028"/>
                </a:cubicBezTo>
                <a:lnTo>
                  <a:pt x="314778" y="254071"/>
                </a:lnTo>
                <a:cubicBezTo>
                  <a:pt x="314572" y="254276"/>
                  <a:pt x="314358" y="254508"/>
                  <a:pt x="314152" y="254765"/>
                </a:cubicBezTo>
                <a:lnTo>
                  <a:pt x="314083" y="254842"/>
                </a:lnTo>
                <a:cubicBezTo>
                  <a:pt x="313878" y="255107"/>
                  <a:pt x="313671" y="255381"/>
                  <a:pt x="313466" y="255699"/>
                </a:cubicBezTo>
                <a:cubicBezTo>
                  <a:pt x="313457" y="255724"/>
                  <a:pt x="313440" y="255750"/>
                  <a:pt x="313414" y="255776"/>
                </a:cubicBezTo>
                <a:cubicBezTo>
                  <a:pt x="313208" y="256101"/>
                  <a:pt x="313002" y="256453"/>
                  <a:pt x="312797" y="256830"/>
                </a:cubicBezTo>
                <a:cubicBezTo>
                  <a:pt x="312368" y="257619"/>
                  <a:pt x="311956" y="258501"/>
                  <a:pt x="311562" y="259546"/>
                </a:cubicBezTo>
                <a:cubicBezTo>
                  <a:pt x="308371" y="267892"/>
                  <a:pt x="304674" y="265339"/>
                  <a:pt x="305283" y="268313"/>
                </a:cubicBezTo>
                <a:cubicBezTo>
                  <a:pt x="305351" y="268663"/>
                  <a:pt x="306252" y="268904"/>
                  <a:pt x="307556" y="269006"/>
                </a:cubicBezTo>
                <a:cubicBezTo>
                  <a:pt x="308079" y="269049"/>
                  <a:pt x="308671" y="269075"/>
                  <a:pt x="309288" y="269075"/>
                </a:cubicBezTo>
                <a:cubicBezTo>
                  <a:pt x="309915" y="269075"/>
                  <a:pt x="310584" y="269058"/>
                  <a:pt x="311253" y="269015"/>
                </a:cubicBezTo>
                <a:cubicBezTo>
                  <a:pt x="311931" y="268981"/>
                  <a:pt x="312616" y="268921"/>
                  <a:pt x="313285" y="268835"/>
                </a:cubicBezTo>
                <a:cubicBezTo>
                  <a:pt x="313620" y="268792"/>
                  <a:pt x="313946" y="268741"/>
                  <a:pt x="314264" y="268690"/>
                </a:cubicBezTo>
                <a:cubicBezTo>
                  <a:pt x="314460" y="268663"/>
                  <a:pt x="314640" y="268629"/>
                  <a:pt x="314829" y="268595"/>
                </a:cubicBezTo>
                <a:cubicBezTo>
                  <a:pt x="315010" y="268561"/>
                  <a:pt x="315189" y="268527"/>
                  <a:pt x="315370" y="268484"/>
                </a:cubicBezTo>
                <a:lnTo>
                  <a:pt x="315841" y="268381"/>
                </a:lnTo>
                <a:cubicBezTo>
                  <a:pt x="316048" y="268330"/>
                  <a:pt x="316236" y="268270"/>
                  <a:pt x="316425" y="268218"/>
                </a:cubicBezTo>
                <a:cubicBezTo>
                  <a:pt x="316545" y="268184"/>
                  <a:pt x="316665" y="268149"/>
                  <a:pt x="316768" y="268115"/>
                </a:cubicBezTo>
                <a:cubicBezTo>
                  <a:pt x="317068" y="268021"/>
                  <a:pt x="317343" y="267918"/>
                  <a:pt x="317583" y="267806"/>
                </a:cubicBezTo>
                <a:cubicBezTo>
                  <a:pt x="318011" y="267610"/>
                  <a:pt x="318449" y="267438"/>
                  <a:pt x="318878" y="267292"/>
                </a:cubicBezTo>
                <a:lnTo>
                  <a:pt x="318921" y="267284"/>
                </a:lnTo>
                <a:cubicBezTo>
                  <a:pt x="319332" y="267147"/>
                  <a:pt x="319744" y="267044"/>
                  <a:pt x="320139" y="266976"/>
                </a:cubicBezTo>
                <a:cubicBezTo>
                  <a:pt x="320970" y="266822"/>
                  <a:pt x="321734" y="266830"/>
                  <a:pt x="322335" y="267044"/>
                </a:cubicBezTo>
                <a:cubicBezTo>
                  <a:pt x="322772" y="267198"/>
                  <a:pt x="323673" y="267575"/>
                  <a:pt x="324316" y="268509"/>
                </a:cubicBezTo>
                <a:cubicBezTo>
                  <a:pt x="324848" y="269272"/>
                  <a:pt x="325354" y="270592"/>
                  <a:pt x="325474" y="271646"/>
                </a:cubicBezTo>
                <a:close/>
                <a:moveTo>
                  <a:pt x="363051" y="150797"/>
                </a:moveTo>
                <a:lnTo>
                  <a:pt x="363051" y="111517"/>
                </a:lnTo>
                <a:cubicBezTo>
                  <a:pt x="327120" y="112854"/>
                  <a:pt x="294484" y="127284"/>
                  <a:pt x="269798" y="150172"/>
                </a:cubicBezTo>
                <a:lnTo>
                  <a:pt x="297598" y="177935"/>
                </a:lnTo>
                <a:cubicBezTo>
                  <a:pt x="315130" y="162134"/>
                  <a:pt x="337945" y="152083"/>
                  <a:pt x="363051" y="150797"/>
                </a:cubicBezTo>
                <a:close/>
                <a:moveTo>
                  <a:pt x="363051" y="100540"/>
                </a:moveTo>
                <a:lnTo>
                  <a:pt x="363051" y="61260"/>
                </a:lnTo>
                <a:cubicBezTo>
                  <a:pt x="313268" y="62639"/>
                  <a:pt x="268075" y="82699"/>
                  <a:pt x="234255" y="114662"/>
                </a:cubicBezTo>
                <a:lnTo>
                  <a:pt x="262045" y="142416"/>
                </a:lnTo>
                <a:cubicBezTo>
                  <a:pt x="288720" y="117550"/>
                  <a:pt x="324093" y="101894"/>
                  <a:pt x="363051" y="100540"/>
                </a:cubicBezTo>
                <a:close/>
                <a:moveTo>
                  <a:pt x="226492" y="122408"/>
                </a:moveTo>
                <a:cubicBezTo>
                  <a:pt x="194507" y="156196"/>
                  <a:pt x="174428" y="201346"/>
                  <a:pt x="173055" y="251080"/>
                </a:cubicBezTo>
                <a:lnTo>
                  <a:pt x="212365" y="251080"/>
                </a:lnTo>
                <a:cubicBezTo>
                  <a:pt x="213721" y="212168"/>
                  <a:pt x="229391" y="176830"/>
                  <a:pt x="254282" y="150172"/>
                </a:cubicBezTo>
                <a:lnTo>
                  <a:pt x="226492" y="122408"/>
                </a:lnTo>
                <a:close/>
                <a:moveTo>
                  <a:pt x="173055" y="262048"/>
                </a:moveTo>
                <a:cubicBezTo>
                  <a:pt x="173613" y="282417"/>
                  <a:pt x="177318" y="302005"/>
                  <a:pt x="183683" y="320369"/>
                </a:cubicBezTo>
                <a:cubicBezTo>
                  <a:pt x="183914" y="320352"/>
                  <a:pt x="184129" y="320343"/>
                  <a:pt x="184360" y="320335"/>
                </a:cubicBezTo>
                <a:cubicBezTo>
                  <a:pt x="188349" y="320146"/>
                  <a:pt x="193684" y="320275"/>
                  <a:pt x="196197" y="318338"/>
                </a:cubicBezTo>
                <a:cubicBezTo>
                  <a:pt x="200065" y="315356"/>
                  <a:pt x="196488" y="304688"/>
                  <a:pt x="198916" y="300241"/>
                </a:cubicBezTo>
                <a:cubicBezTo>
                  <a:pt x="201909" y="294739"/>
                  <a:pt x="209389" y="281688"/>
                  <a:pt x="211636" y="281603"/>
                </a:cubicBezTo>
                <a:cubicBezTo>
                  <a:pt x="213626" y="281526"/>
                  <a:pt x="213540" y="283008"/>
                  <a:pt x="214552" y="283248"/>
                </a:cubicBezTo>
                <a:cubicBezTo>
                  <a:pt x="213360" y="276290"/>
                  <a:pt x="212614" y="269221"/>
                  <a:pt x="212373" y="262048"/>
                </a:cubicBezTo>
                <a:lnTo>
                  <a:pt x="173055" y="262048"/>
                </a:lnTo>
                <a:close/>
                <a:moveTo>
                  <a:pt x="363051" y="462837"/>
                </a:moveTo>
                <a:cubicBezTo>
                  <a:pt x="310241" y="461458"/>
                  <a:pt x="262302" y="440172"/>
                  <a:pt x="226492" y="406230"/>
                </a:cubicBezTo>
                <a:lnTo>
                  <a:pt x="198590" y="434105"/>
                </a:lnTo>
                <a:cubicBezTo>
                  <a:pt x="243209" y="476770"/>
                  <a:pt x="301218" y="500754"/>
                  <a:pt x="363051" y="502101"/>
                </a:cubicBezTo>
                <a:lnTo>
                  <a:pt x="363051" y="462837"/>
                </a:lnTo>
                <a:close/>
                <a:moveTo>
                  <a:pt x="363051" y="412597"/>
                </a:moveTo>
                <a:cubicBezTo>
                  <a:pt x="328176" y="411397"/>
                  <a:pt x="295334" y="398836"/>
                  <a:pt x="268735" y="376718"/>
                </a:cubicBezTo>
                <a:cubicBezTo>
                  <a:pt x="269335" y="377447"/>
                  <a:pt x="269859" y="378150"/>
                  <a:pt x="270262" y="378827"/>
                </a:cubicBezTo>
                <a:cubicBezTo>
                  <a:pt x="272072" y="381945"/>
                  <a:pt x="278367" y="388287"/>
                  <a:pt x="274362" y="390823"/>
                </a:cubicBezTo>
                <a:cubicBezTo>
                  <a:pt x="271034" y="392923"/>
                  <a:pt x="265519" y="391509"/>
                  <a:pt x="262431" y="391457"/>
                </a:cubicBezTo>
                <a:cubicBezTo>
                  <a:pt x="259026" y="391414"/>
                  <a:pt x="254077" y="396496"/>
                  <a:pt x="251161" y="397002"/>
                </a:cubicBezTo>
                <a:cubicBezTo>
                  <a:pt x="247447" y="397635"/>
                  <a:pt x="245319" y="397353"/>
                  <a:pt x="241845" y="395947"/>
                </a:cubicBezTo>
                <a:cubicBezTo>
                  <a:pt x="240988" y="395596"/>
                  <a:pt x="239907" y="394919"/>
                  <a:pt x="238680" y="394054"/>
                </a:cubicBezTo>
                <a:lnTo>
                  <a:pt x="234255" y="398475"/>
                </a:lnTo>
                <a:cubicBezTo>
                  <a:pt x="268075" y="430429"/>
                  <a:pt x="313268" y="450489"/>
                  <a:pt x="363051" y="451869"/>
                </a:cubicBezTo>
                <a:lnTo>
                  <a:pt x="363051" y="412597"/>
                </a:lnTo>
                <a:close/>
                <a:moveTo>
                  <a:pt x="363051" y="398792"/>
                </a:moveTo>
                <a:cubicBezTo>
                  <a:pt x="357519" y="399204"/>
                  <a:pt x="349156" y="399067"/>
                  <a:pt x="347174" y="397704"/>
                </a:cubicBezTo>
                <a:cubicBezTo>
                  <a:pt x="343049" y="394850"/>
                  <a:pt x="338134" y="392049"/>
                  <a:pt x="337576" y="389838"/>
                </a:cubicBezTo>
                <a:cubicBezTo>
                  <a:pt x="336581" y="385913"/>
                  <a:pt x="331204" y="382966"/>
                  <a:pt x="331204" y="379289"/>
                </a:cubicBezTo>
                <a:cubicBezTo>
                  <a:pt x="331204" y="375202"/>
                  <a:pt x="336856" y="373865"/>
                  <a:pt x="335346" y="369718"/>
                </a:cubicBezTo>
                <a:cubicBezTo>
                  <a:pt x="334137" y="366419"/>
                  <a:pt x="337353" y="362288"/>
                  <a:pt x="343238" y="359409"/>
                </a:cubicBezTo>
                <a:cubicBezTo>
                  <a:pt x="325989" y="355168"/>
                  <a:pt x="310387" y="346719"/>
                  <a:pt x="297598" y="335193"/>
                </a:cubicBezTo>
                <a:lnTo>
                  <a:pt x="269747" y="363017"/>
                </a:lnTo>
                <a:cubicBezTo>
                  <a:pt x="295342" y="386770"/>
                  <a:pt x="328098" y="400309"/>
                  <a:pt x="363051" y="401603"/>
                </a:cubicBezTo>
                <a:lnTo>
                  <a:pt x="363051" y="398792"/>
                </a:lnTo>
                <a:close/>
                <a:moveTo>
                  <a:pt x="371551" y="346307"/>
                </a:moveTo>
                <a:cubicBezTo>
                  <a:pt x="375737" y="345604"/>
                  <a:pt x="380180" y="344396"/>
                  <a:pt x="383954" y="344020"/>
                </a:cubicBezTo>
                <a:cubicBezTo>
                  <a:pt x="388088" y="343608"/>
                  <a:pt x="383782" y="349487"/>
                  <a:pt x="386235" y="349726"/>
                </a:cubicBezTo>
                <a:cubicBezTo>
                  <a:pt x="389169" y="350018"/>
                  <a:pt x="401228" y="352074"/>
                  <a:pt x="402078" y="349341"/>
                </a:cubicBezTo>
                <a:cubicBezTo>
                  <a:pt x="402773" y="347096"/>
                  <a:pt x="402936" y="346085"/>
                  <a:pt x="405526" y="345528"/>
                </a:cubicBezTo>
                <a:cubicBezTo>
                  <a:pt x="410406" y="344465"/>
                  <a:pt x="414274" y="344619"/>
                  <a:pt x="418409" y="341466"/>
                </a:cubicBezTo>
                <a:cubicBezTo>
                  <a:pt x="419901" y="340326"/>
                  <a:pt x="422981" y="339915"/>
                  <a:pt x="423864" y="338227"/>
                </a:cubicBezTo>
                <a:cubicBezTo>
                  <a:pt x="424747" y="336539"/>
                  <a:pt x="423229" y="328552"/>
                  <a:pt x="420253" y="329855"/>
                </a:cubicBezTo>
                <a:cubicBezTo>
                  <a:pt x="418803" y="330498"/>
                  <a:pt x="417054" y="332563"/>
                  <a:pt x="413957" y="334123"/>
                </a:cubicBezTo>
                <a:cubicBezTo>
                  <a:pt x="411153" y="335528"/>
                  <a:pt x="409162" y="336170"/>
                  <a:pt x="407173" y="333505"/>
                </a:cubicBezTo>
                <a:cubicBezTo>
                  <a:pt x="405354" y="331080"/>
                  <a:pt x="408236" y="329178"/>
                  <a:pt x="409729" y="327550"/>
                </a:cubicBezTo>
                <a:cubicBezTo>
                  <a:pt x="412036" y="325021"/>
                  <a:pt x="414128" y="322460"/>
                  <a:pt x="416694" y="322460"/>
                </a:cubicBezTo>
                <a:cubicBezTo>
                  <a:pt x="417689" y="322460"/>
                  <a:pt x="422989" y="319829"/>
                  <a:pt x="422543" y="317421"/>
                </a:cubicBezTo>
                <a:cubicBezTo>
                  <a:pt x="421960" y="314302"/>
                  <a:pt x="415801" y="317704"/>
                  <a:pt x="414369" y="316419"/>
                </a:cubicBezTo>
                <a:cubicBezTo>
                  <a:pt x="413374" y="315536"/>
                  <a:pt x="414352" y="313291"/>
                  <a:pt x="413579" y="312948"/>
                </a:cubicBezTo>
                <a:cubicBezTo>
                  <a:pt x="412859" y="312614"/>
                  <a:pt x="410587" y="315716"/>
                  <a:pt x="412345" y="317396"/>
                </a:cubicBezTo>
                <a:cubicBezTo>
                  <a:pt x="413254" y="318269"/>
                  <a:pt x="410869" y="320703"/>
                  <a:pt x="408194" y="318955"/>
                </a:cubicBezTo>
                <a:cubicBezTo>
                  <a:pt x="406135" y="317593"/>
                  <a:pt x="405603" y="325090"/>
                  <a:pt x="405783" y="326462"/>
                </a:cubicBezTo>
                <a:cubicBezTo>
                  <a:pt x="405964" y="327833"/>
                  <a:pt x="408802" y="327455"/>
                  <a:pt x="406916" y="329923"/>
                </a:cubicBezTo>
                <a:cubicBezTo>
                  <a:pt x="405020" y="332408"/>
                  <a:pt x="404317" y="330566"/>
                  <a:pt x="402918" y="331783"/>
                </a:cubicBezTo>
                <a:cubicBezTo>
                  <a:pt x="401237" y="333257"/>
                  <a:pt x="400860" y="333822"/>
                  <a:pt x="402918" y="335956"/>
                </a:cubicBezTo>
                <a:cubicBezTo>
                  <a:pt x="404565" y="337652"/>
                  <a:pt x="401949" y="340875"/>
                  <a:pt x="401340" y="337858"/>
                </a:cubicBezTo>
                <a:cubicBezTo>
                  <a:pt x="400937" y="335853"/>
                  <a:pt x="396717" y="336462"/>
                  <a:pt x="395920" y="334191"/>
                </a:cubicBezTo>
                <a:cubicBezTo>
                  <a:pt x="395096" y="331852"/>
                  <a:pt x="391665" y="332083"/>
                  <a:pt x="387496" y="329949"/>
                </a:cubicBezTo>
                <a:cubicBezTo>
                  <a:pt x="384340" y="328329"/>
                  <a:pt x="384743" y="333111"/>
                  <a:pt x="390095" y="334328"/>
                </a:cubicBezTo>
                <a:cubicBezTo>
                  <a:pt x="394641" y="335365"/>
                  <a:pt x="394410" y="335904"/>
                  <a:pt x="393106" y="338749"/>
                </a:cubicBezTo>
                <a:cubicBezTo>
                  <a:pt x="392042" y="341080"/>
                  <a:pt x="392248" y="336958"/>
                  <a:pt x="386844" y="335528"/>
                </a:cubicBezTo>
                <a:cubicBezTo>
                  <a:pt x="383370" y="334610"/>
                  <a:pt x="383208" y="332760"/>
                  <a:pt x="380471" y="332794"/>
                </a:cubicBezTo>
                <a:cubicBezTo>
                  <a:pt x="377701" y="332820"/>
                  <a:pt x="378610" y="335442"/>
                  <a:pt x="375685" y="334756"/>
                </a:cubicBezTo>
                <a:cubicBezTo>
                  <a:pt x="373472" y="334233"/>
                  <a:pt x="373129" y="337215"/>
                  <a:pt x="371088" y="338081"/>
                </a:cubicBezTo>
                <a:cubicBezTo>
                  <a:pt x="368600" y="339144"/>
                  <a:pt x="368747" y="343642"/>
                  <a:pt x="366216" y="344885"/>
                </a:cubicBezTo>
                <a:cubicBezTo>
                  <a:pt x="362451" y="346727"/>
                  <a:pt x="354731" y="345339"/>
                  <a:pt x="355083" y="341612"/>
                </a:cubicBezTo>
                <a:cubicBezTo>
                  <a:pt x="355435" y="337884"/>
                  <a:pt x="355606" y="335099"/>
                  <a:pt x="357768" y="333788"/>
                </a:cubicBezTo>
                <a:cubicBezTo>
                  <a:pt x="359671" y="332648"/>
                  <a:pt x="362811" y="335990"/>
                  <a:pt x="365453" y="334808"/>
                </a:cubicBezTo>
                <a:cubicBezTo>
                  <a:pt x="368215" y="333582"/>
                  <a:pt x="367520" y="330643"/>
                  <a:pt x="365847" y="328758"/>
                </a:cubicBezTo>
                <a:cubicBezTo>
                  <a:pt x="365350" y="328115"/>
                  <a:pt x="363326" y="327113"/>
                  <a:pt x="363368" y="326479"/>
                </a:cubicBezTo>
                <a:cubicBezTo>
                  <a:pt x="363411" y="325699"/>
                  <a:pt x="367348" y="325330"/>
                  <a:pt x="369338" y="323994"/>
                </a:cubicBezTo>
                <a:cubicBezTo>
                  <a:pt x="371337" y="322657"/>
                  <a:pt x="373481" y="319092"/>
                  <a:pt x="374502" y="318295"/>
                </a:cubicBezTo>
                <a:cubicBezTo>
                  <a:pt x="375591" y="317447"/>
                  <a:pt x="377727" y="317233"/>
                  <a:pt x="377924" y="316444"/>
                </a:cubicBezTo>
                <a:cubicBezTo>
                  <a:pt x="378199" y="315442"/>
                  <a:pt x="376414" y="313616"/>
                  <a:pt x="376586" y="312391"/>
                </a:cubicBezTo>
                <a:cubicBezTo>
                  <a:pt x="376758" y="311166"/>
                  <a:pt x="377186" y="310223"/>
                  <a:pt x="378139" y="310292"/>
                </a:cubicBezTo>
                <a:cubicBezTo>
                  <a:pt x="379091" y="310369"/>
                  <a:pt x="380223" y="313111"/>
                  <a:pt x="379614" y="313771"/>
                </a:cubicBezTo>
                <a:cubicBezTo>
                  <a:pt x="378919" y="314516"/>
                  <a:pt x="380111" y="315776"/>
                  <a:pt x="381407" y="315245"/>
                </a:cubicBezTo>
                <a:cubicBezTo>
                  <a:pt x="382710" y="314713"/>
                  <a:pt x="387333" y="312905"/>
                  <a:pt x="388680" y="312554"/>
                </a:cubicBezTo>
                <a:cubicBezTo>
                  <a:pt x="390507" y="312066"/>
                  <a:pt x="388226" y="307935"/>
                  <a:pt x="388818" y="307198"/>
                </a:cubicBezTo>
                <a:cubicBezTo>
                  <a:pt x="389375" y="306504"/>
                  <a:pt x="389915" y="307421"/>
                  <a:pt x="390619" y="306718"/>
                </a:cubicBezTo>
                <a:cubicBezTo>
                  <a:pt x="391322" y="306016"/>
                  <a:pt x="389177" y="305322"/>
                  <a:pt x="389521" y="303822"/>
                </a:cubicBezTo>
                <a:cubicBezTo>
                  <a:pt x="389769" y="302691"/>
                  <a:pt x="394607" y="301380"/>
                  <a:pt x="393278" y="300523"/>
                </a:cubicBezTo>
                <a:cubicBezTo>
                  <a:pt x="391948" y="299658"/>
                  <a:pt x="390156" y="302160"/>
                  <a:pt x="389092" y="302631"/>
                </a:cubicBezTo>
                <a:cubicBezTo>
                  <a:pt x="386681" y="303694"/>
                  <a:pt x="385507" y="301063"/>
                  <a:pt x="385583" y="299066"/>
                </a:cubicBezTo>
                <a:cubicBezTo>
                  <a:pt x="385626" y="298098"/>
                  <a:pt x="386939" y="294670"/>
                  <a:pt x="385789" y="294002"/>
                </a:cubicBezTo>
                <a:cubicBezTo>
                  <a:pt x="384194" y="293085"/>
                  <a:pt x="383928" y="297164"/>
                  <a:pt x="383680" y="297961"/>
                </a:cubicBezTo>
                <a:cubicBezTo>
                  <a:pt x="383294" y="299169"/>
                  <a:pt x="382265" y="300694"/>
                  <a:pt x="384031" y="303985"/>
                </a:cubicBezTo>
                <a:cubicBezTo>
                  <a:pt x="384983" y="305759"/>
                  <a:pt x="384495" y="311765"/>
                  <a:pt x="382642" y="312425"/>
                </a:cubicBezTo>
                <a:cubicBezTo>
                  <a:pt x="380669" y="313136"/>
                  <a:pt x="379803" y="309375"/>
                  <a:pt x="378877" y="307824"/>
                </a:cubicBezTo>
                <a:cubicBezTo>
                  <a:pt x="378722" y="307558"/>
                  <a:pt x="378559" y="307361"/>
                  <a:pt x="378388" y="307267"/>
                </a:cubicBezTo>
                <a:lnTo>
                  <a:pt x="378336" y="307241"/>
                </a:lnTo>
                <a:cubicBezTo>
                  <a:pt x="378259" y="307207"/>
                  <a:pt x="378182" y="307190"/>
                  <a:pt x="378096" y="307198"/>
                </a:cubicBezTo>
                <a:lnTo>
                  <a:pt x="378087" y="307198"/>
                </a:lnTo>
                <a:cubicBezTo>
                  <a:pt x="378001" y="307207"/>
                  <a:pt x="377915" y="307259"/>
                  <a:pt x="377830" y="307327"/>
                </a:cubicBezTo>
                <a:lnTo>
                  <a:pt x="377761" y="307387"/>
                </a:lnTo>
                <a:cubicBezTo>
                  <a:pt x="377667" y="307472"/>
                  <a:pt x="377581" y="307575"/>
                  <a:pt x="377478" y="307729"/>
                </a:cubicBezTo>
                <a:cubicBezTo>
                  <a:pt x="377324" y="307970"/>
                  <a:pt x="377075" y="308389"/>
                  <a:pt x="376870" y="308749"/>
                </a:cubicBezTo>
                <a:cubicBezTo>
                  <a:pt x="376724" y="309006"/>
                  <a:pt x="376432" y="309615"/>
                  <a:pt x="376063" y="310669"/>
                </a:cubicBezTo>
                <a:cubicBezTo>
                  <a:pt x="375831" y="311337"/>
                  <a:pt x="375411" y="311740"/>
                  <a:pt x="374665" y="311903"/>
                </a:cubicBezTo>
                <a:cubicBezTo>
                  <a:pt x="372649" y="312126"/>
                  <a:pt x="370616" y="312262"/>
                  <a:pt x="368541" y="312262"/>
                </a:cubicBezTo>
                <a:cubicBezTo>
                  <a:pt x="367743" y="312262"/>
                  <a:pt x="366945" y="312245"/>
                  <a:pt x="366156" y="312211"/>
                </a:cubicBezTo>
                <a:cubicBezTo>
                  <a:pt x="366491" y="313445"/>
                  <a:pt x="366843" y="314782"/>
                  <a:pt x="367297" y="315648"/>
                </a:cubicBezTo>
                <a:cubicBezTo>
                  <a:pt x="368387" y="317704"/>
                  <a:pt x="370470" y="319366"/>
                  <a:pt x="370119" y="320883"/>
                </a:cubicBezTo>
                <a:cubicBezTo>
                  <a:pt x="369767" y="322408"/>
                  <a:pt x="363403" y="323788"/>
                  <a:pt x="362879" y="322674"/>
                </a:cubicBezTo>
                <a:cubicBezTo>
                  <a:pt x="362228" y="321286"/>
                  <a:pt x="364483" y="318501"/>
                  <a:pt x="364303" y="317241"/>
                </a:cubicBezTo>
                <a:cubicBezTo>
                  <a:pt x="363978" y="314945"/>
                  <a:pt x="362819" y="313574"/>
                  <a:pt x="362965" y="311980"/>
                </a:cubicBezTo>
                <a:cubicBezTo>
                  <a:pt x="351738" y="310857"/>
                  <a:pt x="341479" y="306410"/>
                  <a:pt x="333211" y="299615"/>
                </a:cubicBezTo>
                <a:lnTo>
                  <a:pt x="305369" y="327430"/>
                </a:lnTo>
                <a:cubicBezTo>
                  <a:pt x="319101" y="339649"/>
                  <a:pt x="336376" y="347970"/>
                  <a:pt x="355452" y="350609"/>
                </a:cubicBezTo>
                <a:cubicBezTo>
                  <a:pt x="358145" y="348964"/>
                  <a:pt x="359251" y="346024"/>
                  <a:pt x="361379" y="347618"/>
                </a:cubicBezTo>
                <a:cubicBezTo>
                  <a:pt x="364767" y="350172"/>
                  <a:pt x="368850" y="346762"/>
                  <a:pt x="371552" y="346307"/>
                </a:cubicBezTo>
                <a:close/>
                <a:moveTo>
                  <a:pt x="374030" y="412589"/>
                </a:moveTo>
                <a:lnTo>
                  <a:pt x="374030" y="451869"/>
                </a:lnTo>
                <a:cubicBezTo>
                  <a:pt x="389949" y="451423"/>
                  <a:pt x="405406" y="449067"/>
                  <a:pt x="420176" y="445022"/>
                </a:cubicBezTo>
                <a:cubicBezTo>
                  <a:pt x="417105" y="442417"/>
                  <a:pt x="415707" y="438193"/>
                  <a:pt x="411908" y="436890"/>
                </a:cubicBezTo>
                <a:cubicBezTo>
                  <a:pt x="405371" y="434645"/>
                  <a:pt x="403613" y="430626"/>
                  <a:pt x="407147" y="424799"/>
                </a:cubicBezTo>
                <a:cubicBezTo>
                  <a:pt x="409060" y="421654"/>
                  <a:pt x="408305" y="420412"/>
                  <a:pt x="406066" y="417061"/>
                </a:cubicBezTo>
                <a:cubicBezTo>
                  <a:pt x="403339" y="412983"/>
                  <a:pt x="399813" y="411115"/>
                  <a:pt x="397257" y="410009"/>
                </a:cubicBezTo>
                <a:cubicBezTo>
                  <a:pt x="389683" y="411423"/>
                  <a:pt x="381939" y="412314"/>
                  <a:pt x="374030" y="412589"/>
                </a:cubicBezTo>
                <a:close/>
                <a:moveTo>
                  <a:pt x="392901" y="399667"/>
                </a:moveTo>
                <a:cubicBezTo>
                  <a:pt x="391614" y="398278"/>
                  <a:pt x="389006" y="398176"/>
                  <a:pt x="387162" y="398672"/>
                </a:cubicBezTo>
                <a:cubicBezTo>
                  <a:pt x="380772" y="400404"/>
                  <a:pt x="382908" y="395330"/>
                  <a:pt x="374030" y="396624"/>
                </a:cubicBezTo>
                <a:lnTo>
                  <a:pt x="374030" y="401620"/>
                </a:lnTo>
                <a:cubicBezTo>
                  <a:pt x="380437" y="401380"/>
                  <a:pt x="386733" y="400703"/>
                  <a:pt x="392901" y="399667"/>
                </a:cubicBezTo>
                <a:close/>
                <a:moveTo>
                  <a:pt x="538481" y="434105"/>
                </a:moveTo>
                <a:lnTo>
                  <a:pt x="510579" y="406230"/>
                </a:lnTo>
                <a:cubicBezTo>
                  <a:pt x="496197" y="419863"/>
                  <a:pt x="479848" y="431449"/>
                  <a:pt x="462016" y="440532"/>
                </a:cubicBezTo>
                <a:cubicBezTo>
                  <a:pt x="456140" y="444962"/>
                  <a:pt x="448961" y="448184"/>
                  <a:pt x="443532" y="450643"/>
                </a:cubicBezTo>
                <a:cubicBezTo>
                  <a:pt x="441259" y="451672"/>
                  <a:pt x="438797" y="453017"/>
                  <a:pt x="436215" y="453017"/>
                </a:cubicBezTo>
                <a:cubicBezTo>
                  <a:pt x="435383" y="453017"/>
                  <a:pt x="434663" y="452743"/>
                  <a:pt x="433943" y="452298"/>
                </a:cubicBezTo>
                <a:cubicBezTo>
                  <a:pt x="415029" y="458621"/>
                  <a:pt x="394915" y="462289"/>
                  <a:pt x="374030" y="462837"/>
                </a:cubicBezTo>
                <a:lnTo>
                  <a:pt x="374030" y="502101"/>
                </a:lnTo>
                <a:cubicBezTo>
                  <a:pt x="435864" y="500754"/>
                  <a:pt x="493874" y="476770"/>
                  <a:pt x="538481" y="434105"/>
                </a:cubicBezTo>
                <a:close/>
                <a:moveTo>
                  <a:pt x="483477" y="150112"/>
                </a:moveTo>
                <a:cubicBezTo>
                  <a:pt x="483425" y="150343"/>
                  <a:pt x="483305" y="150471"/>
                  <a:pt x="483159" y="150566"/>
                </a:cubicBezTo>
                <a:cubicBezTo>
                  <a:pt x="489636" y="157550"/>
                  <a:pt x="495460" y="165133"/>
                  <a:pt x="500590" y="173205"/>
                </a:cubicBezTo>
                <a:cubicBezTo>
                  <a:pt x="501186" y="172443"/>
                  <a:pt x="501662" y="171765"/>
                  <a:pt x="502491" y="172717"/>
                </a:cubicBezTo>
                <a:cubicBezTo>
                  <a:pt x="503882" y="174301"/>
                  <a:pt x="501041" y="177181"/>
                  <a:pt x="505158" y="176427"/>
                </a:cubicBezTo>
                <a:cubicBezTo>
                  <a:pt x="507640" y="175973"/>
                  <a:pt x="507131" y="179143"/>
                  <a:pt x="505124" y="180840"/>
                </a:cubicBezTo>
                <a:cubicBezTo>
                  <a:pt x="506394" y="183128"/>
                  <a:pt x="507621" y="185442"/>
                  <a:pt x="508780" y="187789"/>
                </a:cubicBezTo>
                <a:cubicBezTo>
                  <a:pt x="510230" y="188441"/>
                  <a:pt x="511326" y="189229"/>
                  <a:pt x="511549" y="190172"/>
                </a:cubicBezTo>
                <a:cubicBezTo>
                  <a:pt x="512203" y="192931"/>
                  <a:pt x="513469" y="195990"/>
                  <a:pt x="513779" y="199041"/>
                </a:cubicBezTo>
                <a:cubicBezTo>
                  <a:pt x="515743" y="203984"/>
                  <a:pt x="517474" y="209049"/>
                  <a:pt x="518944" y="214225"/>
                </a:cubicBezTo>
                <a:cubicBezTo>
                  <a:pt x="520966" y="212494"/>
                  <a:pt x="523250" y="213436"/>
                  <a:pt x="523487" y="216324"/>
                </a:cubicBezTo>
                <a:cubicBezTo>
                  <a:pt x="523730" y="219212"/>
                  <a:pt x="522813" y="222339"/>
                  <a:pt x="521552" y="224928"/>
                </a:cubicBezTo>
                <a:cubicBezTo>
                  <a:pt x="523308" y="233419"/>
                  <a:pt x="524409" y="242151"/>
                  <a:pt x="524714" y="251080"/>
                </a:cubicBezTo>
                <a:lnTo>
                  <a:pt x="564026" y="251080"/>
                </a:lnTo>
                <a:cubicBezTo>
                  <a:pt x="563313" y="225656"/>
                  <a:pt x="557610" y="200506"/>
                  <a:pt x="547393" y="177396"/>
                </a:cubicBezTo>
                <a:cubicBezTo>
                  <a:pt x="546613" y="178021"/>
                  <a:pt x="545565" y="178072"/>
                  <a:pt x="544246" y="179744"/>
                </a:cubicBezTo>
                <a:cubicBezTo>
                  <a:pt x="542258" y="182254"/>
                  <a:pt x="539038" y="179118"/>
                  <a:pt x="537273" y="176924"/>
                </a:cubicBezTo>
                <a:cubicBezTo>
                  <a:pt x="533981" y="172862"/>
                  <a:pt x="526227" y="161440"/>
                  <a:pt x="522736" y="160866"/>
                </a:cubicBezTo>
                <a:cubicBezTo>
                  <a:pt x="519816" y="160386"/>
                  <a:pt x="517639" y="156599"/>
                  <a:pt x="514570" y="155973"/>
                </a:cubicBezTo>
                <a:cubicBezTo>
                  <a:pt x="511505" y="155347"/>
                  <a:pt x="507679" y="153625"/>
                  <a:pt x="507185" y="150386"/>
                </a:cubicBezTo>
                <a:cubicBezTo>
                  <a:pt x="506661" y="147070"/>
                  <a:pt x="505454" y="145707"/>
                  <a:pt x="502045" y="145176"/>
                </a:cubicBezTo>
                <a:cubicBezTo>
                  <a:pt x="498194" y="144585"/>
                  <a:pt x="495508" y="143059"/>
                  <a:pt x="492797" y="140180"/>
                </a:cubicBezTo>
                <a:lnTo>
                  <a:pt x="483391" y="149581"/>
                </a:lnTo>
                <a:cubicBezTo>
                  <a:pt x="483468" y="149786"/>
                  <a:pt x="483511" y="149966"/>
                  <a:pt x="483477" y="150112"/>
                </a:cubicBezTo>
                <a:close/>
                <a:moveTo>
                  <a:pt x="508426" y="388570"/>
                </a:moveTo>
                <a:lnTo>
                  <a:pt x="510579" y="390720"/>
                </a:lnTo>
                <a:cubicBezTo>
                  <a:pt x="542573" y="356941"/>
                  <a:pt x="562653" y="311791"/>
                  <a:pt x="564026" y="262048"/>
                </a:cubicBezTo>
                <a:lnTo>
                  <a:pt x="524714" y="262048"/>
                </a:lnTo>
                <a:cubicBezTo>
                  <a:pt x="523361" y="300969"/>
                  <a:pt x="507689" y="336307"/>
                  <a:pt x="482799" y="362966"/>
                </a:cubicBezTo>
                <a:lnTo>
                  <a:pt x="496987" y="377138"/>
                </a:lnTo>
                <a:cubicBezTo>
                  <a:pt x="497089" y="376941"/>
                  <a:pt x="497181" y="376745"/>
                  <a:pt x="497278" y="376547"/>
                </a:cubicBezTo>
                <a:cubicBezTo>
                  <a:pt x="498451" y="374062"/>
                  <a:pt x="497947" y="370814"/>
                  <a:pt x="498141" y="368535"/>
                </a:cubicBezTo>
                <a:cubicBezTo>
                  <a:pt x="498262" y="367045"/>
                  <a:pt x="503674" y="367404"/>
                  <a:pt x="504062" y="369863"/>
                </a:cubicBezTo>
                <a:cubicBezTo>
                  <a:pt x="504387" y="371937"/>
                  <a:pt x="505458" y="373462"/>
                  <a:pt x="507340" y="378613"/>
                </a:cubicBezTo>
                <a:cubicBezTo>
                  <a:pt x="508693" y="382323"/>
                  <a:pt x="509338" y="385733"/>
                  <a:pt x="508426" y="388570"/>
                </a:cubicBezTo>
                <a:close/>
                <a:moveTo>
                  <a:pt x="478578" y="413077"/>
                </a:moveTo>
                <a:cubicBezTo>
                  <a:pt x="477541" y="415571"/>
                  <a:pt x="472283" y="420061"/>
                  <a:pt x="473193" y="421535"/>
                </a:cubicBezTo>
                <a:cubicBezTo>
                  <a:pt x="483802" y="414791"/>
                  <a:pt x="493724" y="407070"/>
                  <a:pt x="502825" y="398475"/>
                </a:cubicBezTo>
                <a:lnTo>
                  <a:pt x="475036" y="370720"/>
                </a:lnTo>
                <a:cubicBezTo>
                  <a:pt x="473098" y="372528"/>
                  <a:pt x="471099" y="374268"/>
                  <a:pt x="469067" y="375982"/>
                </a:cubicBezTo>
                <a:cubicBezTo>
                  <a:pt x="468586" y="379161"/>
                  <a:pt x="469023" y="381654"/>
                  <a:pt x="472935" y="382863"/>
                </a:cubicBezTo>
                <a:cubicBezTo>
                  <a:pt x="477155" y="384165"/>
                  <a:pt x="484197" y="388450"/>
                  <a:pt x="482713" y="392606"/>
                </a:cubicBezTo>
                <a:cubicBezTo>
                  <a:pt x="481049" y="396325"/>
                  <a:pt x="476932" y="401894"/>
                  <a:pt x="474942" y="405587"/>
                </a:cubicBezTo>
                <a:cubicBezTo>
                  <a:pt x="473252" y="408741"/>
                  <a:pt x="479831" y="410086"/>
                  <a:pt x="478578" y="413077"/>
                </a:cubicBezTo>
                <a:close/>
                <a:moveTo>
                  <a:pt x="485063" y="250583"/>
                </a:moveTo>
                <a:cubicBezTo>
                  <a:pt x="485005" y="250746"/>
                  <a:pt x="484901" y="250917"/>
                  <a:pt x="484780" y="251080"/>
                </a:cubicBezTo>
                <a:lnTo>
                  <a:pt x="513726" y="251080"/>
                </a:lnTo>
                <a:cubicBezTo>
                  <a:pt x="513576" y="246907"/>
                  <a:pt x="513222" y="242776"/>
                  <a:pt x="512727" y="238689"/>
                </a:cubicBezTo>
                <a:cubicBezTo>
                  <a:pt x="512494" y="239118"/>
                  <a:pt x="512242" y="239546"/>
                  <a:pt x="512048" y="239966"/>
                </a:cubicBezTo>
                <a:cubicBezTo>
                  <a:pt x="509886" y="244456"/>
                  <a:pt x="509561" y="241748"/>
                  <a:pt x="509716" y="239795"/>
                </a:cubicBezTo>
                <a:cubicBezTo>
                  <a:pt x="509920" y="237301"/>
                  <a:pt x="510870" y="234970"/>
                  <a:pt x="511801" y="232417"/>
                </a:cubicBezTo>
                <a:cubicBezTo>
                  <a:pt x="511578" y="231080"/>
                  <a:pt x="511335" y="229760"/>
                  <a:pt x="511069" y="228441"/>
                </a:cubicBezTo>
                <a:cubicBezTo>
                  <a:pt x="510201" y="229675"/>
                  <a:pt x="508950" y="230549"/>
                  <a:pt x="506986" y="231526"/>
                </a:cubicBezTo>
                <a:cubicBezTo>
                  <a:pt x="505711" y="232177"/>
                  <a:pt x="504498" y="235185"/>
                  <a:pt x="504028" y="236333"/>
                </a:cubicBezTo>
                <a:cubicBezTo>
                  <a:pt x="503470" y="237721"/>
                  <a:pt x="500289" y="236007"/>
                  <a:pt x="497671" y="237267"/>
                </a:cubicBezTo>
                <a:cubicBezTo>
                  <a:pt x="493084" y="239478"/>
                  <a:pt x="488380" y="239812"/>
                  <a:pt x="491735" y="244559"/>
                </a:cubicBezTo>
                <a:cubicBezTo>
                  <a:pt x="493879" y="247583"/>
                  <a:pt x="486600" y="246736"/>
                  <a:pt x="485063" y="250583"/>
                </a:cubicBezTo>
                <a:close/>
                <a:moveTo>
                  <a:pt x="475036" y="157926"/>
                </a:moveTo>
                <a:lnTo>
                  <a:pt x="447246" y="185690"/>
                </a:lnTo>
                <a:cubicBezTo>
                  <a:pt x="452023" y="190986"/>
                  <a:pt x="456269" y="196770"/>
                  <a:pt x="459914" y="202948"/>
                </a:cubicBezTo>
                <a:cubicBezTo>
                  <a:pt x="463183" y="203454"/>
                  <a:pt x="467643" y="204765"/>
                  <a:pt x="470516" y="208458"/>
                </a:cubicBezTo>
                <a:cubicBezTo>
                  <a:pt x="472549" y="211080"/>
                  <a:pt x="478416" y="216324"/>
                  <a:pt x="477515" y="218672"/>
                </a:cubicBezTo>
                <a:cubicBezTo>
                  <a:pt x="476966" y="220111"/>
                  <a:pt x="478192" y="221894"/>
                  <a:pt x="479531" y="222836"/>
                </a:cubicBezTo>
                <a:cubicBezTo>
                  <a:pt x="481581" y="224268"/>
                  <a:pt x="483030" y="224234"/>
                  <a:pt x="484154" y="222803"/>
                </a:cubicBezTo>
                <a:cubicBezTo>
                  <a:pt x="486203" y="220189"/>
                  <a:pt x="486494" y="216658"/>
                  <a:pt x="489214" y="214430"/>
                </a:cubicBezTo>
                <a:cubicBezTo>
                  <a:pt x="492540" y="211689"/>
                  <a:pt x="499363" y="219606"/>
                  <a:pt x="499353" y="221054"/>
                </a:cubicBezTo>
                <a:cubicBezTo>
                  <a:pt x="499344" y="222502"/>
                  <a:pt x="497583" y="222845"/>
                  <a:pt x="497079" y="225416"/>
                </a:cubicBezTo>
                <a:cubicBezTo>
                  <a:pt x="496395" y="228929"/>
                  <a:pt x="493374" y="233120"/>
                  <a:pt x="496808" y="234293"/>
                </a:cubicBezTo>
                <a:cubicBezTo>
                  <a:pt x="501807" y="235999"/>
                  <a:pt x="502442" y="234037"/>
                  <a:pt x="504843" y="230523"/>
                </a:cubicBezTo>
                <a:cubicBezTo>
                  <a:pt x="505948" y="228904"/>
                  <a:pt x="505711" y="226290"/>
                  <a:pt x="506899" y="224687"/>
                </a:cubicBezTo>
                <a:cubicBezTo>
                  <a:pt x="507655" y="223676"/>
                  <a:pt x="508780" y="223248"/>
                  <a:pt x="509784" y="222579"/>
                </a:cubicBezTo>
                <a:cubicBezTo>
                  <a:pt x="507907" y="214790"/>
                  <a:pt x="505415" y="207233"/>
                  <a:pt x="502336" y="199992"/>
                </a:cubicBezTo>
                <a:cubicBezTo>
                  <a:pt x="501599" y="199272"/>
                  <a:pt x="500740" y="198681"/>
                  <a:pt x="499669" y="198329"/>
                </a:cubicBezTo>
                <a:cubicBezTo>
                  <a:pt x="497879" y="197738"/>
                  <a:pt x="498888" y="196136"/>
                  <a:pt x="496541" y="195399"/>
                </a:cubicBezTo>
                <a:cubicBezTo>
                  <a:pt x="493845" y="194551"/>
                  <a:pt x="492802" y="193779"/>
                  <a:pt x="492550" y="189057"/>
                </a:cubicBezTo>
                <a:cubicBezTo>
                  <a:pt x="492351" y="185253"/>
                  <a:pt x="495770" y="190309"/>
                  <a:pt x="496619" y="189649"/>
                </a:cubicBezTo>
                <a:cubicBezTo>
                  <a:pt x="496798" y="189503"/>
                  <a:pt x="496958" y="189280"/>
                  <a:pt x="497123" y="189024"/>
                </a:cubicBezTo>
                <a:cubicBezTo>
                  <a:pt x="491129" y="177687"/>
                  <a:pt x="483691" y="167241"/>
                  <a:pt x="475036" y="157926"/>
                </a:cubicBezTo>
                <a:close/>
                <a:moveTo>
                  <a:pt x="441319" y="195622"/>
                </a:moveTo>
                <a:cubicBezTo>
                  <a:pt x="439998" y="195604"/>
                  <a:pt x="438909" y="195347"/>
                  <a:pt x="437949" y="194979"/>
                </a:cubicBezTo>
                <a:lnTo>
                  <a:pt x="428762" y="204148"/>
                </a:lnTo>
                <a:cubicBezTo>
                  <a:pt x="430520" y="204619"/>
                  <a:pt x="432467" y="203968"/>
                  <a:pt x="434663" y="204945"/>
                </a:cubicBezTo>
                <a:cubicBezTo>
                  <a:pt x="437108" y="206016"/>
                  <a:pt x="435915" y="198124"/>
                  <a:pt x="439654" y="198844"/>
                </a:cubicBezTo>
                <a:cubicBezTo>
                  <a:pt x="443472" y="199572"/>
                  <a:pt x="444449" y="202023"/>
                  <a:pt x="441293" y="203214"/>
                </a:cubicBezTo>
                <a:cubicBezTo>
                  <a:pt x="438763" y="204036"/>
                  <a:pt x="441919" y="206144"/>
                  <a:pt x="438857" y="207181"/>
                </a:cubicBezTo>
                <a:cubicBezTo>
                  <a:pt x="436069" y="208132"/>
                  <a:pt x="441122" y="210592"/>
                  <a:pt x="441079" y="211689"/>
                </a:cubicBezTo>
                <a:cubicBezTo>
                  <a:pt x="441027" y="213205"/>
                  <a:pt x="437271" y="213771"/>
                  <a:pt x="442914" y="215510"/>
                </a:cubicBezTo>
                <a:cubicBezTo>
                  <a:pt x="448550" y="217250"/>
                  <a:pt x="442931" y="210771"/>
                  <a:pt x="443789" y="209863"/>
                </a:cubicBezTo>
                <a:cubicBezTo>
                  <a:pt x="444836" y="208758"/>
                  <a:pt x="447846" y="211611"/>
                  <a:pt x="448678" y="210352"/>
                </a:cubicBezTo>
                <a:cubicBezTo>
                  <a:pt x="448987" y="209889"/>
                  <a:pt x="449545" y="209084"/>
                  <a:pt x="450231" y="208158"/>
                </a:cubicBezTo>
                <a:cubicBezTo>
                  <a:pt x="447597" y="203736"/>
                  <a:pt x="444613" y="199538"/>
                  <a:pt x="441319" y="195622"/>
                </a:cubicBezTo>
                <a:close/>
                <a:moveTo>
                  <a:pt x="426995" y="341397"/>
                </a:moveTo>
                <a:cubicBezTo>
                  <a:pt x="427063" y="343325"/>
                  <a:pt x="425116" y="341783"/>
                  <a:pt x="424524" y="342442"/>
                </a:cubicBezTo>
                <a:cubicBezTo>
                  <a:pt x="423933" y="343085"/>
                  <a:pt x="439981" y="350592"/>
                  <a:pt x="442503" y="351020"/>
                </a:cubicBezTo>
                <a:cubicBezTo>
                  <a:pt x="444227" y="351311"/>
                  <a:pt x="447512" y="352537"/>
                  <a:pt x="453319" y="351380"/>
                </a:cubicBezTo>
                <a:cubicBezTo>
                  <a:pt x="457212" y="350609"/>
                  <a:pt x="458293" y="352400"/>
                  <a:pt x="460112" y="352331"/>
                </a:cubicBezTo>
                <a:cubicBezTo>
                  <a:pt x="462702" y="352237"/>
                  <a:pt x="464383" y="348741"/>
                  <a:pt x="465884" y="346590"/>
                </a:cubicBezTo>
                <a:cubicBezTo>
                  <a:pt x="469864" y="340917"/>
                  <a:pt x="469109" y="340155"/>
                  <a:pt x="470164" y="339272"/>
                </a:cubicBezTo>
                <a:cubicBezTo>
                  <a:pt x="471511" y="338141"/>
                  <a:pt x="475422" y="346822"/>
                  <a:pt x="474925" y="352323"/>
                </a:cubicBezTo>
                <a:cubicBezTo>
                  <a:pt x="474839" y="353197"/>
                  <a:pt x="474736" y="354011"/>
                  <a:pt x="474616" y="354791"/>
                </a:cubicBezTo>
                <a:lnTo>
                  <a:pt x="475036" y="355211"/>
                </a:lnTo>
                <a:cubicBezTo>
                  <a:pt x="497947" y="330549"/>
                  <a:pt x="512388" y="297944"/>
                  <a:pt x="513726" y="262048"/>
                </a:cubicBezTo>
                <a:lnTo>
                  <a:pt x="483845" y="262048"/>
                </a:lnTo>
                <a:cubicBezTo>
                  <a:pt x="484875" y="263745"/>
                  <a:pt x="486658" y="265938"/>
                  <a:pt x="488535" y="269811"/>
                </a:cubicBezTo>
                <a:cubicBezTo>
                  <a:pt x="490048" y="272914"/>
                  <a:pt x="490940" y="277841"/>
                  <a:pt x="493476" y="278081"/>
                </a:cubicBezTo>
                <a:cubicBezTo>
                  <a:pt x="497569" y="278466"/>
                  <a:pt x="501778" y="281851"/>
                  <a:pt x="501899" y="284696"/>
                </a:cubicBezTo>
                <a:cubicBezTo>
                  <a:pt x="502142" y="290643"/>
                  <a:pt x="483674" y="292083"/>
                  <a:pt x="481246" y="291320"/>
                </a:cubicBezTo>
                <a:cubicBezTo>
                  <a:pt x="479205" y="290678"/>
                  <a:pt x="477850" y="290541"/>
                  <a:pt x="477713" y="293736"/>
                </a:cubicBezTo>
                <a:cubicBezTo>
                  <a:pt x="477558" y="297361"/>
                  <a:pt x="471039" y="297387"/>
                  <a:pt x="468474" y="299555"/>
                </a:cubicBezTo>
                <a:cubicBezTo>
                  <a:pt x="465593" y="301988"/>
                  <a:pt x="465276" y="306436"/>
                  <a:pt x="463346" y="309537"/>
                </a:cubicBezTo>
                <a:cubicBezTo>
                  <a:pt x="462188" y="311397"/>
                  <a:pt x="455369" y="317832"/>
                  <a:pt x="453507" y="319135"/>
                </a:cubicBezTo>
                <a:cubicBezTo>
                  <a:pt x="449064" y="322237"/>
                  <a:pt x="440701" y="322391"/>
                  <a:pt x="444527" y="324439"/>
                </a:cubicBezTo>
                <a:cubicBezTo>
                  <a:pt x="447254" y="325896"/>
                  <a:pt x="453448" y="326410"/>
                  <a:pt x="452666" y="324971"/>
                </a:cubicBezTo>
                <a:cubicBezTo>
                  <a:pt x="451775" y="323317"/>
                  <a:pt x="453138" y="323163"/>
                  <a:pt x="454185" y="324516"/>
                </a:cubicBezTo>
                <a:cubicBezTo>
                  <a:pt x="454991" y="325536"/>
                  <a:pt x="457899" y="323531"/>
                  <a:pt x="457839" y="321663"/>
                </a:cubicBezTo>
                <a:cubicBezTo>
                  <a:pt x="457779" y="319898"/>
                  <a:pt x="457393" y="317019"/>
                  <a:pt x="459031" y="316907"/>
                </a:cubicBezTo>
                <a:cubicBezTo>
                  <a:pt x="461690" y="316736"/>
                  <a:pt x="464486" y="313788"/>
                  <a:pt x="465807" y="314062"/>
                </a:cubicBezTo>
                <a:cubicBezTo>
                  <a:pt x="467308" y="314371"/>
                  <a:pt x="469341" y="317704"/>
                  <a:pt x="467814" y="327858"/>
                </a:cubicBezTo>
                <a:cubicBezTo>
                  <a:pt x="466304" y="338021"/>
                  <a:pt x="461450" y="345091"/>
                  <a:pt x="459511" y="348278"/>
                </a:cubicBezTo>
                <a:cubicBezTo>
                  <a:pt x="457419" y="351689"/>
                  <a:pt x="455326" y="349084"/>
                  <a:pt x="452521" y="347644"/>
                </a:cubicBezTo>
                <a:cubicBezTo>
                  <a:pt x="448953" y="345810"/>
                  <a:pt x="443575" y="345888"/>
                  <a:pt x="439818" y="344662"/>
                </a:cubicBezTo>
                <a:cubicBezTo>
                  <a:pt x="437828" y="344020"/>
                  <a:pt x="426935" y="339898"/>
                  <a:pt x="426995" y="341397"/>
                </a:cubicBezTo>
                <a:close/>
                <a:moveTo>
                  <a:pt x="614306" y="262048"/>
                </a:moveTo>
                <a:lnTo>
                  <a:pt x="575014" y="262048"/>
                </a:lnTo>
                <a:cubicBezTo>
                  <a:pt x="573622" y="314808"/>
                  <a:pt x="552315" y="362700"/>
                  <a:pt x="518342" y="398475"/>
                </a:cubicBezTo>
                <a:lnTo>
                  <a:pt x="546244" y="426350"/>
                </a:lnTo>
                <a:cubicBezTo>
                  <a:pt x="588960" y="381774"/>
                  <a:pt x="612967" y="323823"/>
                  <a:pt x="614306" y="262048"/>
                </a:cubicBezTo>
                <a:close/>
                <a:moveTo>
                  <a:pt x="546244" y="86787"/>
                </a:moveTo>
                <a:lnTo>
                  <a:pt x="517135" y="115870"/>
                </a:lnTo>
                <a:cubicBezTo>
                  <a:pt x="519802" y="120515"/>
                  <a:pt x="524811" y="126367"/>
                  <a:pt x="531876" y="133556"/>
                </a:cubicBezTo>
                <a:cubicBezTo>
                  <a:pt x="534776" y="136512"/>
                  <a:pt x="537855" y="139409"/>
                  <a:pt x="540440" y="142022"/>
                </a:cubicBezTo>
                <a:cubicBezTo>
                  <a:pt x="542918" y="144516"/>
                  <a:pt x="558793" y="164250"/>
                  <a:pt x="555724" y="167112"/>
                </a:cubicBezTo>
                <a:cubicBezTo>
                  <a:pt x="555501" y="167327"/>
                  <a:pt x="555258" y="167524"/>
                  <a:pt x="555021" y="167721"/>
                </a:cubicBezTo>
                <a:cubicBezTo>
                  <a:pt x="567371" y="193633"/>
                  <a:pt x="574233" y="222194"/>
                  <a:pt x="575004" y="251080"/>
                </a:cubicBezTo>
                <a:lnTo>
                  <a:pt x="614306" y="251080"/>
                </a:lnTo>
                <a:cubicBezTo>
                  <a:pt x="612967" y="189306"/>
                  <a:pt x="588960" y="131354"/>
                  <a:pt x="546244" y="86787"/>
                </a:cubicBezTo>
                <a:close/>
                <a:moveTo>
                  <a:pt x="374030" y="50292"/>
                </a:moveTo>
                <a:cubicBezTo>
                  <a:pt x="406872" y="51140"/>
                  <a:pt x="438402" y="59606"/>
                  <a:pt x="466605" y="74824"/>
                </a:cubicBezTo>
                <a:cubicBezTo>
                  <a:pt x="469238" y="74413"/>
                  <a:pt x="471837" y="74087"/>
                  <a:pt x="473578" y="73274"/>
                </a:cubicBezTo>
                <a:cubicBezTo>
                  <a:pt x="477078" y="71646"/>
                  <a:pt x="483956" y="75347"/>
                  <a:pt x="487274" y="77275"/>
                </a:cubicBezTo>
                <a:cubicBezTo>
                  <a:pt x="490305" y="79023"/>
                  <a:pt x="492652" y="81611"/>
                  <a:pt x="495983" y="83479"/>
                </a:cubicBezTo>
                <a:cubicBezTo>
                  <a:pt x="499387" y="85390"/>
                  <a:pt x="504857" y="90874"/>
                  <a:pt x="506060" y="96401"/>
                </a:cubicBezTo>
                <a:cubicBezTo>
                  <a:pt x="507272" y="101928"/>
                  <a:pt x="510778" y="101551"/>
                  <a:pt x="509027" y="103788"/>
                </a:cubicBezTo>
                <a:cubicBezTo>
                  <a:pt x="508154" y="104902"/>
                  <a:pt x="509493" y="105330"/>
                  <a:pt x="511166" y="106324"/>
                </a:cubicBezTo>
                <a:lnTo>
                  <a:pt x="538490" y="79032"/>
                </a:lnTo>
                <a:cubicBezTo>
                  <a:pt x="493874" y="36358"/>
                  <a:pt x="435864" y="12374"/>
                  <a:pt x="374030" y="11037"/>
                </a:cubicBezTo>
                <a:lnTo>
                  <a:pt x="374030" y="50292"/>
                </a:lnTo>
                <a:close/>
                <a:moveTo>
                  <a:pt x="374030" y="100540"/>
                </a:moveTo>
                <a:cubicBezTo>
                  <a:pt x="407387" y="101697"/>
                  <a:pt x="438094" y="113367"/>
                  <a:pt x="462994" y="132306"/>
                </a:cubicBezTo>
                <a:cubicBezTo>
                  <a:pt x="460181" y="128586"/>
                  <a:pt x="457332" y="124739"/>
                  <a:pt x="456011" y="123325"/>
                </a:cubicBezTo>
                <a:cubicBezTo>
                  <a:pt x="453601" y="120763"/>
                  <a:pt x="444578" y="117609"/>
                  <a:pt x="445488" y="116144"/>
                </a:cubicBezTo>
                <a:cubicBezTo>
                  <a:pt x="446388" y="114670"/>
                  <a:pt x="454416" y="121071"/>
                  <a:pt x="455823" y="119948"/>
                </a:cubicBezTo>
                <a:cubicBezTo>
                  <a:pt x="457513" y="118595"/>
                  <a:pt x="451792" y="111243"/>
                  <a:pt x="452221" y="110960"/>
                </a:cubicBezTo>
                <a:cubicBezTo>
                  <a:pt x="452812" y="110574"/>
                  <a:pt x="459589" y="117113"/>
                  <a:pt x="462916" y="122974"/>
                </a:cubicBezTo>
                <a:cubicBezTo>
                  <a:pt x="464306" y="125039"/>
                  <a:pt x="467994" y="123993"/>
                  <a:pt x="470868" y="125990"/>
                </a:cubicBezTo>
                <a:cubicBezTo>
                  <a:pt x="473398" y="127764"/>
                  <a:pt x="473569" y="130600"/>
                  <a:pt x="475697" y="132425"/>
                </a:cubicBezTo>
                <a:cubicBezTo>
                  <a:pt x="476040" y="132725"/>
                  <a:pt x="480543" y="135322"/>
                  <a:pt x="477927" y="135022"/>
                </a:cubicBezTo>
                <a:cubicBezTo>
                  <a:pt x="477172" y="134936"/>
                  <a:pt x="476014" y="133333"/>
                  <a:pt x="475148" y="134148"/>
                </a:cubicBezTo>
                <a:cubicBezTo>
                  <a:pt x="474607" y="134662"/>
                  <a:pt x="475474" y="137421"/>
                  <a:pt x="477026" y="140437"/>
                </a:cubicBezTo>
                <a:lnTo>
                  <a:pt x="490082" y="127387"/>
                </a:lnTo>
                <a:cubicBezTo>
                  <a:pt x="488186" y="123548"/>
                  <a:pt x="484446" y="118484"/>
                  <a:pt x="481838" y="117841"/>
                </a:cubicBezTo>
                <a:cubicBezTo>
                  <a:pt x="479145" y="117181"/>
                  <a:pt x="477489" y="119443"/>
                  <a:pt x="475637" y="120977"/>
                </a:cubicBezTo>
                <a:cubicBezTo>
                  <a:pt x="473784" y="122511"/>
                  <a:pt x="471468" y="123025"/>
                  <a:pt x="471177" y="121997"/>
                </a:cubicBezTo>
                <a:cubicBezTo>
                  <a:pt x="470851" y="120831"/>
                  <a:pt x="471554" y="117978"/>
                  <a:pt x="471417" y="116778"/>
                </a:cubicBezTo>
                <a:cubicBezTo>
                  <a:pt x="471228" y="115279"/>
                  <a:pt x="470053" y="114096"/>
                  <a:pt x="469658" y="112648"/>
                </a:cubicBezTo>
                <a:cubicBezTo>
                  <a:pt x="468723" y="109238"/>
                  <a:pt x="470113" y="105433"/>
                  <a:pt x="468037" y="103170"/>
                </a:cubicBezTo>
                <a:cubicBezTo>
                  <a:pt x="465756" y="100686"/>
                  <a:pt x="464229" y="96924"/>
                  <a:pt x="462445" y="94071"/>
                </a:cubicBezTo>
                <a:cubicBezTo>
                  <a:pt x="460497" y="90960"/>
                  <a:pt x="456989" y="86153"/>
                  <a:pt x="456783" y="82074"/>
                </a:cubicBezTo>
                <a:cubicBezTo>
                  <a:pt x="431352" y="69229"/>
                  <a:pt x="403244" y="62057"/>
                  <a:pt x="374030" y="61260"/>
                </a:cubicBezTo>
                <a:lnTo>
                  <a:pt x="374030" y="100540"/>
                </a:lnTo>
                <a:close/>
                <a:moveTo>
                  <a:pt x="374030" y="150797"/>
                </a:moveTo>
                <a:cubicBezTo>
                  <a:pt x="399127" y="152083"/>
                  <a:pt x="421951" y="162134"/>
                  <a:pt x="439483" y="177935"/>
                </a:cubicBezTo>
                <a:lnTo>
                  <a:pt x="467283" y="150172"/>
                </a:lnTo>
                <a:cubicBezTo>
                  <a:pt x="442588" y="127284"/>
                  <a:pt x="409960" y="112854"/>
                  <a:pt x="374030" y="111517"/>
                </a:cubicBezTo>
                <a:lnTo>
                  <a:pt x="374030" y="150797"/>
                </a:lnTo>
                <a:close/>
                <a:moveTo>
                  <a:pt x="374030" y="201140"/>
                </a:moveTo>
                <a:cubicBezTo>
                  <a:pt x="377770" y="201509"/>
                  <a:pt x="381449" y="202263"/>
                  <a:pt x="385034" y="203368"/>
                </a:cubicBezTo>
                <a:cubicBezTo>
                  <a:pt x="385969" y="201080"/>
                  <a:pt x="388311" y="199940"/>
                  <a:pt x="390232" y="198638"/>
                </a:cubicBezTo>
                <a:cubicBezTo>
                  <a:pt x="392505" y="197095"/>
                  <a:pt x="394152" y="195356"/>
                  <a:pt x="393826" y="199546"/>
                </a:cubicBezTo>
                <a:cubicBezTo>
                  <a:pt x="393526" y="202494"/>
                  <a:pt x="392299" y="204276"/>
                  <a:pt x="390773" y="205476"/>
                </a:cubicBezTo>
                <a:cubicBezTo>
                  <a:pt x="394624" y="207156"/>
                  <a:pt x="398286" y="209246"/>
                  <a:pt x="401692" y="211766"/>
                </a:cubicBezTo>
                <a:cubicBezTo>
                  <a:pt x="402438" y="212322"/>
                  <a:pt x="403167" y="212905"/>
                  <a:pt x="403888" y="213496"/>
                </a:cubicBezTo>
                <a:lnTo>
                  <a:pt x="407662" y="209726"/>
                </a:lnTo>
                <a:cubicBezTo>
                  <a:pt x="407627" y="209597"/>
                  <a:pt x="407593" y="209469"/>
                  <a:pt x="407593" y="209306"/>
                </a:cubicBezTo>
                <a:cubicBezTo>
                  <a:pt x="407662" y="207164"/>
                  <a:pt x="410767" y="204610"/>
                  <a:pt x="414352" y="203042"/>
                </a:cubicBezTo>
                <a:lnTo>
                  <a:pt x="426608" y="190798"/>
                </a:lnTo>
                <a:cubicBezTo>
                  <a:pt x="426334" y="190738"/>
                  <a:pt x="426034" y="190686"/>
                  <a:pt x="425682" y="190643"/>
                </a:cubicBezTo>
                <a:cubicBezTo>
                  <a:pt x="424036" y="190438"/>
                  <a:pt x="421694" y="193848"/>
                  <a:pt x="420090" y="192905"/>
                </a:cubicBezTo>
                <a:cubicBezTo>
                  <a:pt x="418280" y="191851"/>
                  <a:pt x="425502" y="185493"/>
                  <a:pt x="428728" y="186719"/>
                </a:cubicBezTo>
                <a:cubicBezTo>
                  <a:pt x="429165" y="186881"/>
                  <a:pt x="429645" y="187070"/>
                  <a:pt x="430142" y="187267"/>
                </a:cubicBezTo>
                <a:lnTo>
                  <a:pt x="431703" y="185707"/>
                </a:lnTo>
                <a:cubicBezTo>
                  <a:pt x="416179" y="171877"/>
                  <a:pt x="396108" y="163051"/>
                  <a:pt x="374030" y="161783"/>
                </a:cubicBezTo>
                <a:lnTo>
                  <a:pt x="374030" y="201140"/>
                </a:lnTo>
                <a:close/>
                <a:moveTo>
                  <a:pt x="368541" y="211834"/>
                </a:moveTo>
                <a:cubicBezTo>
                  <a:pt x="363934" y="211834"/>
                  <a:pt x="359466" y="212520"/>
                  <a:pt x="355177" y="213856"/>
                </a:cubicBezTo>
                <a:cubicBezTo>
                  <a:pt x="354611" y="214474"/>
                  <a:pt x="354182" y="214988"/>
                  <a:pt x="354508" y="215450"/>
                </a:cubicBezTo>
                <a:cubicBezTo>
                  <a:pt x="355589" y="217027"/>
                  <a:pt x="358883" y="213719"/>
                  <a:pt x="359320" y="216762"/>
                </a:cubicBezTo>
                <a:cubicBezTo>
                  <a:pt x="359646" y="218972"/>
                  <a:pt x="355675" y="217344"/>
                  <a:pt x="356035" y="218972"/>
                </a:cubicBezTo>
                <a:cubicBezTo>
                  <a:pt x="356326" y="220274"/>
                  <a:pt x="359080" y="219735"/>
                  <a:pt x="359148" y="221526"/>
                </a:cubicBezTo>
                <a:cubicBezTo>
                  <a:pt x="359208" y="223171"/>
                  <a:pt x="357484" y="226401"/>
                  <a:pt x="356155" y="227250"/>
                </a:cubicBezTo>
                <a:cubicBezTo>
                  <a:pt x="354388" y="228381"/>
                  <a:pt x="344970" y="229623"/>
                  <a:pt x="344069" y="231808"/>
                </a:cubicBezTo>
                <a:cubicBezTo>
                  <a:pt x="343280" y="233719"/>
                  <a:pt x="342457" y="235442"/>
                  <a:pt x="340981" y="237010"/>
                </a:cubicBezTo>
                <a:cubicBezTo>
                  <a:pt x="339378" y="238698"/>
                  <a:pt x="331821" y="243179"/>
                  <a:pt x="331804" y="244345"/>
                </a:cubicBezTo>
                <a:cubicBezTo>
                  <a:pt x="331761" y="247096"/>
                  <a:pt x="335432" y="243591"/>
                  <a:pt x="336452" y="242511"/>
                </a:cubicBezTo>
                <a:cubicBezTo>
                  <a:pt x="338074" y="240797"/>
                  <a:pt x="340304" y="240806"/>
                  <a:pt x="342732" y="239418"/>
                </a:cubicBezTo>
                <a:cubicBezTo>
                  <a:pt x="346076" y="237515"/>
                  <a:pt x="347363" y="244174"/>
                  <a:pt x="343778" y="244413"/>
                </a:cubicBezTo>
                <a:cubicBezTo>
                  <a:pt x="341539" y="244567"/>
                  <a:pt x="339652" y="250849"/>
                  <a:pt x="336144" y="249640"/>
                </a:cubicBezTo>
                <a:cubicBezTo>
                  <a:pt x="335261" y="249332"/>
                  <a:pt x="332765" y="247789"/>
                  <a:pt x="332224" y="249384"/>
                </a:cubicBezTo>
                <a:cubicBezTo>
                  <a:pt x="331649" y="251080"/>
                  <a:pt x="337439" y="251346"/>
                  <a:pt x="339258" y="252546"/>
                </a:cubicBezTo>
                <a:cubicBezTo>
                  <a:pt x="343880" y="255596"/>
                  <a:pt x="335749" y="255382"/>
                  <a:pt x="334445" y="256213"/>
                </a:cubicBezTo>
                <a:cubicBezTo>
                  <a:pt x="333159" y="257035"/>
                  <a:pt x="333794" y="258809"/>
                  <a:pt x="335552" y="258090"/>
                </a:cubicBezTo>
                <a:cubicBezTo>
                  <a:pt x="337251" y="257387"/>
                  <a:pt x="339558" y="255613"/>
                  <a:pt x="340612" y="258493"/>
                </a:cubicBezTo>
                <a:cubicBezTo>
                  <a:pt x="342037" y="262391"/>
                  <a:pt x="334188" y="276615"/>
                  <a:pt x="331907" y="275116"/>
                </a:cubicBezTo>
                <a:cubicBezTo>
                  <a:pt x="330663" y="274302"/>
                  <a:pt x="329377" y="275459"/>
                  <a:pt x="328210" y="275956"/>
                </a:cubicBezTo>
                <a:cubicBezTo>
                  <a:pt x="329771" y="279186"/>
                  <a:pt x="331735" y="282185"/>
                  <a:pt x="333991" y="284936"/>
                </a:cubicBezTo>
                <a:cubicBezTo>
                  <a:pt x="335535" y="282391"/>
                  <a:pt x="337971" y="278792"/>
                  <a:pt x="339000" y="278767"/>
                </a:cubicBezTo>
                <a:cubicBezTo>
                  <a:pt x="340458" y="278724"/>
                  <a:pt x="339969" y="277576"/>
                  <a:pt x="340518" y="276547"/>
                </a:cubicBezTo>
                <a:cubicBezTo>
                  <a:pt x="341196" y="275305"/>
                  <a:pt x="342928" y="276607"/>
                  <a:pt x="343049" y="274911"/>
                </a:cubicBezTo>
                <a:cubicBezTo>
                  <a:pt x="343168" y="273222"/>
                  <a:pt x="347492" y="270797"/>
                  <a:pt x="347989" y="268313"/>
                </a:cubicBezTo>
                <a:cubicBezTo>
                  <a:pt x="348246" y="266976"/>
                  <a:pt x="346651" y="265647"/>
                  <a:pt x="347311" y="264542"/>
                </a:cubicBezTo>
                <a:cubicBezTo>
                  <a:pt x="348118" y="263196"/>
                  <a:pt x="348701" y="262991"/>
                  <a:pt x="349568" y="262700"/>
                </a:cubicBezTo>
                <a:cubicBezTo>
                  <a:pt x="350433" y="262400"/>
                  <a:pt x="352484" y="264439"/>
                  <a:pt x="353110" y="263557"/>
                </a:cubicBezTo>
                <a:cubicBezTo>
                  <a:pt x="353736" y="262674"/>
                  <a:pt x="356789" y="263351"/>
                  <a:pt x="359122" y="264825"/>
                </a:cubicBezTo>
                <a:cubicBezTo>
                  <a:pt x="360186" y="265501"/>
                  <a:pt x="362253" y="264722"/>
                  <a:pt x="363523" y="266521"/>
                </a:cubicBezTo>
                <a:cubicBezTo>
                  <a:pt x="365281" y="268998"/>
                  <a:pt x="363437" y="269212"/>
                  <a:pt x="363754" y="269761"/>
                </a:cubicBezTo>
                <a:cubicBezTo>
                  <a:pt x="364063" y="270309"/>
                  <a:pt x="364826" y="269452"/>
                  <a:pt x="365289" y="269906"/>
                </a:cubicBezTo>
                <a:cubicBezTo>
                  <a:pt x="366276" y="270866"/>
                  <a:pt x="360709" y="274123"/>
                  <a:pt x="361344" y="275896"/>
                </a:cubicBezTo>
                <a:cubicBezTo>
                  <a:pt x="361970" y="277661"/>
                  <a:pt x="356627" y="286402"/>
                  <a:pt x="355160" y="287790"/>
                </a:cubicBezTo>
                <a:cubicBezTo>
                  <a:pt x="353144" y="289624"/>
                  <a:pt x="349816" y="287576"/>
                  <a:pt x="348504" y="287953"/>
                </a:cubicBezTo>
                <a:cubicBezTo>
                  <a:pt x="347088" y="288355"/>
                  <a:pt x="346814" y="289563"/>
                  <a:pt x="344635" y="289033"/>
                </a:cubicBezTo>
                <a:cubicBezTo>
                  <a:pt x="342954" y="288629"/>
                  <a:pt x="340939" y="289307"/>
                  <a:pt x="339077" y="290189"/>
                </a:cubicBezTo>
                <a:cubicBezTo>
                  <a:pt x="346952" y="297096"/>
                  <a:pt x="357261" y="301303"/>
                  <a:pt x="368540" y="301303"/>
                </a:cubicBezTo>
                <a:cubicBezTo>
                  <a:pt x="370968" y="301303"/>
                  <a:pt x="373343" y="301081"/>
                  <a:pt x="375660" y="300703"/>
                </a:cubicBezTo>
                <a:cubicBezTo>
                  <a:pt x="377109" y="298843"/>
                  <a:pt x="377709" y="296556"/>
                  <a:pt x="378018" y="294217"/>
                </a:cubicBezTo>
                <a:cubicBezTo>
                  <a:pt x="378199" y="292948"/>
                  <a:pt x="377976" y="291303"/>
                  <a:pt x="378645" y="290172"/>
                </a:cubicBezTo>
                <a:cubicBezTo>
                  <a:pt x="379219" y="289212"/>
                  <a:pt x="382873" y="284722"/>
                  <a:pt x="384331" y="284782"/>
                </a:cubicBezTo>
                <a:cubicBezTo>
                  <a:pt x="385609" y="284833"/>
                  <a:pt x="386484" y="285956"/>
                  <a:pt x="388328" y="285382"/>
                </a:cubicBezTo>
                <a:cubicBezTo>
                  <a:pt x="391905" y="284259"/>
                  <a:pt x="394118" y="285210"/>
                  <a:pt x="394152" y="286753"/>
                </a:cubicBezTo>
                <a:cubicBezTo>
                  <a:pt x="394204" y="288904"/>
                  <a:pt x="389649" y="288287"/>
                  <a:pt x="389838" y="289495"/>
                </a:cubicBezTo>
                <a:cubicBezTo>
                  <a:pt x="389958" y="290343"/>
                  <a:pt x="393260" y="291620"/>
                  <a:pt x="394341" y="290386"/>
                </a:cubicBezTo>
                <a:cubicBezTo>
                  <a:pt x="396365" y="288107"/>
                  <a:pt x="396065" y="285116"/>
                  <a:pt x="395542" y="284465"/>
                </a:cubicBezTo>
                <a:cubicBezTo>
                  <a:pt x="394109" y="282657"/>
                  <a:pt x="394195" y="281911"/>
                  <a:pt x="396254" y="282614"/>
                </a:cubicBezTo>
                <a:cubicBezTo>
                  <a:pt x="397523" y="283051"/>
                  <a:pt x="397514" y="278047"/>
                  <a:pt x="398724" y="276128"/>
                </a:cubicBezTo>
                <a:cubicBezTo>
                  <a:pt x="400371" y="273548"/>
                  <a:pt x="395679" y="275356"/>
                  <a:pt x="393723" y="275630"/>
                </a:cubicBezTo>
                <a:cubicBezTo>
                  <a:pt x="391879" y="275887"/>
                  <a:pt x="390352" y="271954"/>
                  <a:pt x="390310" y="270574"/>
                </a:cubicBezTo>
                <a:cubicBezTo>
                  <a:pt x="390275" y="269580"/>
                  <a:pt x="393809" y="274088"/>
                  <a:pt x="395593" y="274182"/>
                </a:cubicBezTo>
                <a:cubicBezTo>
                  <a:pt x="397609" y="274285"/>
                  <a:pt x="399993" y="271946"/>
                  <a:pt x="400019" y="270232"/>
                </a:cubicBezTo>
                <a:cubicBezTo>
                  <a:pt x="400062" y="268518"/>
                  <a:pt x="396176" y="268287"/>
                  <a:pt x="395585" y="266204"/>
                </a:cubicBezTo>
                <a:cubicBezTo>
                  <a:pt x="395259" y="265064"/>
                  <a:pt x="398741" y="266196"/>
                  <a:pt x="398475" y="265073"/>
                </a:cubicBezTo>
                <a:cubicBezTo>
                  <a:pt x="398252" y="264088"/>
                  <a:pt x="398827" y="261714"/>
                  <a:pt x="396631" y="260772"/>
                </a:cubicBezTo>
                <a:cubicBezTo>
                  <a:pt x="394444" y="259838"/>
                  <a:pt x="392437" y="252837"/>
                  <a:pt x="390686" y="252357"/>
                </a:cubicBezTo>
                <a:cubicBezTo>
                  <a:pt x="389134" y="251937"/>
                  <a:pt x="387839" y="254036"/>
                  <a:pt x="386887" y="254807"/>
                </a:cubicBezTo>
                <a:cubicBezTo>
                  <a:pt x="385944" y="255570"/>
                  <a:pt x="384434" y="254251"/>
                  <a:pt x="385223" y="253522"/>
                </a:cubicBezTo>
                <a:cubicBezTo>
                  <a:pt x="386347" y="252477"/>
                  <a:pt x="388954" y="250232"/>
                  <a:pt x="389495" y="248467"/>
                </a:cubicBezTo>
                <a:cubicBezTo>
                  <a:pt x="390404" y="245501"/>
                  <a:pt x="394220" y="248621"/>
                  <a:pt x="393543" y="244482"/>
                </a:cubicBezTo>
                <a:cubicBezTo>
                  <a:pt x="392814" y="240000"/>
                  <a:pt x="388988" y="240866"/>
                  <a:pt x="390764" y="238707"/>
                </a:cubicBezTo>
                <a:cubicBezTo>
                  <a:pt x="392582" y="236513"/>
                  <a:pt x="391227" y="232940"/>
                  <a:pt x="387531" y="233651"/>
                </a:cubicBezTo>
                <a:cubicBezTo>
                  <a:pt x="385824" y="233977"/>
                  <a:pt x="384031" y="231200"/>
                  <a:pt x="383851" y="228801"/>
                </a:cubicBezTo>
                <a:cubicBezTo>
                  <a:pt x="383739" y="227481"/>
                  <a:pt x="379948" y="227687"/>
                  <a:pt x="380094" y="226290"/>
                </a:cubicBezTo>
                <a:cubicBezTo>
                  <a:pt x="380394" y="223436"/>
                  <a:pt x="376114" y="223137"/>
                  <a:pt x="373498" y="223334"/>
                </a:cubicBezTo>
                <a:cubicBezTo>
                  <a:pt x="370882" y="223522"/>
                  <a:pt x="365821" y="219495"/>
                  <a:pt x="365255" y="218509"/>
                </a:cubicBezTo>
                <a:cubicBezTo>
                  <a:pt x="364698" y="217515"/>
                  <a:pt x="361061" y="219383"/>
                  <a:pt x="362262" y="215545"/>
                </a:cubicBezTo>
                <a:cubicBezTo>
                  <a:pt x="363445" y="211766"/>
                  <a:pt x="367031" y="216230"/>
                  <a:pt x="368540" y="215142"/>
                </a:cubicBezTo>
                <a:cubicBezTo>
                  <a:pt x="370171" y="213977"/>
                  <a:pt x="369664" y="212785"/>
                  <a:pt x="369398" y="211868"/>
                </a:cubicBezTo>
                <a:cubicBezTo>
                  <a:pt x="369107" y="211860"/>
                  <a:pt x="368823" y="211834"/>
                  <a:pt x="368540" y="211834"/>
                </a:cubicBezTo>
                <a:close/>
                <a:moveTo>
                  <a:pt x="198590" y="79032"/>
                </a:moveTo>
                <a:lnTo>
                  <a:pt x="226492" y="106907"/>
                </a:lnTo>
                <a:cubicBezTo>
                  <a:pt x="262302" y="72965"/>
                  <a:pt x="310241" y="51671"/>
                  <a:pt x="363051" y="50292"/>
                </a:cubicBezTo>
                <a:lnTo>
                  <a:pt x="363051" y="11037"/>
                </a:lnTo>
                <a:cubicBezTo>
                  <a:pt x="301217" y="12374"/>
                  <a:pt x="243209" y="36358"/>
                  <a:pt x="198590" y="79032"/>
                </a:cubicBezTo>
                <a:close/>
                <a:moveTo>
                  <a:pt x="122766" y="251080"/>
                </a:moveTo>
                <a:lnTo>
                  <a:pt x="162068" y="251080"/>
                </a:lnTo>
                <a:cubicBezTo>
                  <a:pt x="163449" y="198320"/>
                  <a:pt x="184763" y="150429"/>
                  <a:pt x="218729" y="114662"/>
                </a:cubicBezTo>
                <a:lnTo>
                  <a:pt x="190827" y="86787"/>
                </a:lnTo>
                <a:cubicBezTo>
                  <a:pt x="148121" y="131354"/>
                  <a:pt x="124113" y="189306"/>
                  <a:pt x="122766" y="251080"/>
                </a:cubicBezTo>
                <a:close/>
              </a:path>
            </a:pathLst>
          </a:custGeom>
          <a:solidFill>
            <a:srgbClr val="009EDB"/>
          </a:solidFill>
          <a:ln w="4834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404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CD1EF0-2989-8AC5-80CF-A495EA4B3AF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marL="0" marR="0" indent="0" algn="r" defTabSz="9143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en-US"/>
              <a:t>Office for Digital and Emerging Technologi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3C91D62-BF0C-3748-82C1-B5387CCA56D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5EDD575-C673-CF4D-BF44-B5D5410D0CF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247860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-Section Slide Red Oran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AE5F38E-2AC8-4CDF-901A-1000B0F55A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7577064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AE5F38E-2AC8-4CDF-901A-1000B0F55A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9A897F1-4D5C-4AF3-9EEB-8235EBAFFDA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3563" b="1" i="0" baseline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FB9616-F4AE-44AB-8C7C-82A947677EF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85877" y="1248600"/>
            <a:ext cx="3779207" cy="44802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en-CA" sz="1125" dirty="0">
                <a:solidFill>
                  <a:schemeClr val="accent2"/>
                </a:solidFill>
              </a:defRPr>
            </a:lvl1pPr>
            <a:lvl2pPr>
              <a:buClr>
                <a:schemeClr val="accent2"/>
              </a:buClr>
              <a:defRPr lang="en-CA" sz="1031" dirty="0"/>
            </a:lvl2pPr>
          </a:lstStyle>
          <a:p>
            <a:pPr lvl="0"/>
            <a:r>
              <a:rPr lang="en-CA"/>
              <a:t>HEADING</a:t>
            </a:r>
          </a:p>
          <a:p>
            <a:pPr lvl="1"/>
            <a:r>
              <a:rPr lang="en-CA"/>
              <a:t>Click to edit Master text style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CAF9827-8752-417E-ACB0-DC6FD0D50375}"/>
              </a:ext>
            </a:extLst>
          </p:cNvPr>
          <p:cNvSpPr/>
          <p:nvPr userDrawn="1"/>
        </p:nvSpPr>
        <p:spPr>
          <a:xfrm>
            <a:off x="0" y="0"/>
            <a:ext cx="7547996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688">
              <a:solidFill>
                <a:schemeClr val="tx1"/>
              </a:solidFill>
              <a:latin typeface="Roboto" panose="02000000000000000000" pitchFamily="2" charset="0"/>
              <a:sym typeface="Roboto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3940" y="5397773"/>
            <a:ext cx="6688726" cy="730970"/>
          </a:xfrm>
          <a:prstGeom prst="rect">
            <a:avLst/>
          </a:prstGeom>
        </p:spPr>
        <p:txBody>
          <a:bodyPr wrap="square" tIns="0" bIns="0" anchor="b">
            <a:spAutoFit/>
          </a:bodyPr>
          <a:lstStyle>
            <a:lvl1pPr algn="l">
              <a:lnSpc>
                <a:spcPct val="150000"/>
              </a:lnSpc>
              <a:defRPr sz="3563" b="1" cap="none" baseline="0">
                <a:solidFill>
                  <a:schemeClr val="bg2"/>
                </a:solidFill>
              </a:defRPr>
            </a:lvl1pPr>
          </a:lstStyle>
          <a:p>
            <a:r>
              <a:rPr lang="en-CA"/>
              <a:t>Click to edit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2F5636-CB1A-4151-9035-36E9AC4C733F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523940" y="6468071"/>
            <a:ext cx="2530387" cy="2530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UNITED NATION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473D515-4FBE-4DAC-8ACB-BF7683E349D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CA"/>
              <a:t>TOPIC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F064D72-43B3-4DD3-A9A9-F0C299B9865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5A024545-4646-4E2E-A411-C01AA2A557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r="75842"/>
          <a:stretch/>
        </p:blipFill>
        <p:spPr>
          <a:xfrm>
            <a:off x="11742018" y="147161"/>
            <a:ext cx="303787" cy="248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961251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y-Large 2 Columns 75-2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FA3F1E-89F7-499F-8A00-0B051660F4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98007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9" imgH="290" progId="TCLayout.ActiveDocument.1">
                  <p:embed/>
                </p:oleObj>
              </mc:Choice>
              <mc:Fallback>
                <p:oleObj name="think-cell Slide" r:id="rId4" imgW="289" imgH="29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EFA3F1E-89F7-499F-8A00-0B051660F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C5A20EC-6FCC-45EE-ACE4-4D8383F4FDE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250" b="0" i="0" baseline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2FEAE83-94A7-4AE2-B1BD-243CD239F74F}"/>
              </a:ext>
            </a:extLst>
          </p:cNvPr>
          <p:cNvSpPr/>
          <p:nvPr userDrawn="1"/>
        </p:nvSpPr>
        <p:spPr>
          <a:xfrm>
            <a:off x="1" y="0"/>
            <a:ext cx="845893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88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22997" y="547106"/>
            <a:ext cx="8135938" cy="3462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250" b="0" spc="19" baseline="0">
                <a:solidFill>
                  <a:schemeClr val="bg2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Footer Placeholder 30">
            <a:extLst>
              <a:ext uri="{FF2B5EF4-FFF2-40B4-BE49-F238E27FC236}">
                <a16:creationId xmlns:a16="http://schemas.microsoft.com/office/drawing/2014/main" id="{ED10B30B-F49E-438A-A9FF-7E7A3E18352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322997" y="140510"/>
            <a:ext cx="2720099" cy="11398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TOPIC</a:t>
            </a:r>
          </a:p>
        </p:txBody>
      </p:sp>
      <p:sp>
        <p:nvSpPr>
          <p:cNvPr id="32" name="Slide Number Placeholder 31">
            <a:extLst>
              <a:ext uri="{FF2B5EF4-FFF2-40B4-BE49-F238E27FC236}">
                <a16:creationId xmlns:a16="http://schemas.microsoft.com/office/drawing/2014/main" id="{22355562-172D-4B3D-BBE6-B077AD0B8CC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r"/>
            <a:fld id="{73A950B1-DE82-4A29-B648-3078557F46E8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13" name="Date Placeholder 29">
            <a:extLst>
              <a:ext uri="{FF2B5EF4-FFF2-40B4-BE49-F238E27FC236}">
                <a16:creationId xmlns:a16="http://schemas.microsoft.com/office/drawing/2014/main" id="{4022FC2F-0158-43C3-99BD-4CF8D50C0784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322997" y="6468071"/>
            <a:ext cx="2575312" cy="2530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UNITED NATIONS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C38E427-6BE7-431E-8A66-118391C3D01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799792" y="2801094"/>
            <a:ext cx="3034977" cy="1255813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1406" dirty="0" smtClean="0">
                <a:solidFill>
                  <a:schemeClr val="tx2">
                    <a:lumMod val="50000"/>
                  </a:schemeClr>
                </a:solidFill>
                <a:latin typeface="+mn-lt"/>
              </a:defRPr>
            </a:lvl1pPr>
            <a:lvl2pPr>
              <a:defRPr lang="en-US" sz="1125" dirty="0" smtClean="0"/>
            </a:lvl2pPr>
            <a:lvl3pPr>
              <a:defRPr lang="en-US" sz="1125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>
              <a:lnSpc>
                <a:spcPct val="110000"/>
              </a:lnSpc>
            </a:pPr>
            <a:r>
              <a:rPr lang="en-US"/>
              <a:t>Click to edit Master text styles</a:t>
            </a:r>
          </a:p>
          <a:p>
            <a:pPr lvl="1">
              <a:lnSpc>
                <a:spcPct val="110000"/>
              </a:lnSpc>
            </a:pPr>
            <a:r>
              <a:rPr lang="en-US"/>
              <a:t>Second level</a:t>
            </a:r>
          </a:p>
          <a:p>
            <a:pPr lvl="2">
              <a:lnSpc>
                <a:spcPct val="110000"/>
              </a:lnSpc>
            </a:pPr>
            <a:r>
              <a:rPr lang="en-US"/>
              <a:t>Third level</a:t>
            </a:r>
          </a:p>
          <a:p>
            <a:pPr lvl="3">
              <a:lnSpc>
                <a:spcPct val="110000"/>
              </a:lnSpc>
            </a:pPr>
            <a:r>
              <a:rPr lang="en-US"/>
              <a:t>Fourth level</a:t>
            </a:r>
          </a:p>
          <a:p>
            <a:pPr lvl="4">
              <a:lnSpc>
                <a:spcPct val="110000"/>
              </a:lnSpc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8462883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4232">
          <p15:clr>
            <a:srgbClr val="5ACBF0"/>
          </p15:clr>
        </p15:guide>
        <p15:guide id="3" orient="horz" pos="1170">
          <p15:clr>
            <a:srgbClr val="5ACBF0"/>
          </p15:clr>
        </p15:guide>
        <p15:guide id="4" orient="horz" pos="4005">
          <p15:clr>
            <a:srgbClr val="5ACBF0"/>
          </p15:clr>
        </p15:guide>
        <p15:guide id="5" orient="horz" pos="1283">
          <p15:clr>
            <a:srgbClr val="5ACBF0"/>
          </p15:clr>
        </p15:guide>
        <p15:guide id="6" pos="217">
          <p15:clr>
            <a:srgbClr val="FBAE40"/>
          </p15:clr>
        </p15:guide>
        <p15:guide id="7" pos="5683">
          <p15:clr>
            <a:srgbClr val="FBAE40"/>
          </p15:clr>
        </p15:guide>
        <p15:guide id="8" orient="horz" pos="2304">
          <p15:clr>
            <a:srgbClr val="FBAE40"/>
          </p15:clr>
        </p15:guide>
        <p15:guide id="9" pos="5456">
          <p15:clr>
            <a:srgbClr val="FBAE40"/>
          </p15:clr>
        </p15:guide>
        <p15:guide id="10" pos="7951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y-Large 2 Columns 75-2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FA3F1E-89F7-499F-8A00-0B051660F4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3608177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9" imgH="290" progId="TCLayout.ActiveDocument.1">
                  <p:embed/>
                </p:oleObj>
              </mc:Choice>
              <mc:Fallback>
                <p:oleObj name="think-cell Slide" r:id="rId4" imgW="289" imgH="29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EFA3F1E-89F7-499F-8A00-0B051660F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C5A20EC-6FCC-45EE-ACE4-4D8383F4FDE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250" b="0" i="0" baseline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2FEAE83-94A7-4AE2-B1BD-243CD239F74F}"/>
              </a:ext>
            </a:extLst>
          </p:cNvPr>
          <p:cNvSpPr/>
          <p:nvPr userDrawn="1"/>
        </p:nvSpPr>
        <p:spPr>
          <a:xfrm>
            <a:off x="1" y="0"/>
            <a:ext cx="8458935" cy="68580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88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22997" y="547106"/>
            <a:ext cx="7798057" cy="3462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250" b="0" spc="19" baseline="0">
                <a:solidFill>
                  <a:schemeClr val="bg2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Footer Placeholder 30">
            <a:extLst>
              <a:ext uri="{FF2B5EF4-FFF2-40B4-BE49-F238E27FC236}">
                <a16:creationId xmlns:a16="http://schemas.microsoft.com/office/drawing/2014/main" id="{ED10B30B-F49E-438A-A9FF-7E7A3E18352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322997" y="140510"/>
            <a:ext cx="2720099" cy="113987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TOPIC</a:t>
            </a:r>
          </a:p>
        </p:txBody>
      </p:sp>
      <p:sp>
        <p:nvSpPr>
          <p:cNvPr id="32" name="Slide Number Placeholder 31">
            <a:extLst>
              <a:ext uri="{FF2B5EF4-FFF2-40B4-BE49-F238E27FC236}">
                <a16:creationId xmlns:a16="http://schemas.microsoft.com/office/drawing/2014/main" id="{22355562-172D-4B3D-BBE6-B077AD0B8CC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r"/>
            <a:fld id="{73A950B1-DE82-4A29-B648-3078557F46E8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13" name="Date Placeholder 29">
            <a:extLst>
              <a:ext uri="{FF2B5EF4-FFF2-40B4-BE49-F238E27FC236}">
                <a16:creationId xmlns:a16="http://schemas.microsoft.com/office/drawing/2014/main" id="{4022FC2F-0158-43C3-99BD-4CF8D50C0784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322997" y="6468071"/>
            <a:ext cx="2575312" cy="2530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UNITED NATIONS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C38E427-6BE7-431E-8A66-118391C3D01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799792" y="2801094"/>
            <a:ext cx="3034977" cy="1255813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1406" dirty="0" smtClean="0">
                <a:solidFill>
                  <a:schemeClr val="tx2">
                    <a:lumMod val="50000"/>
                  </a:schemeClr>
                </a:solidFill>
                <a:latin typeface="+mn-lt"/>
              </a:defRPr>
            </a:lvl1pPr>
            <a:lvl2pPr>
              <a:defRPr lang="en-US" sz="1125" dirty="0" smtClean="0"/>
            </a:lvl2pPr>
            <a:lvl3pPr>
              <a:defRPr lang="en-US" sz="1125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>
              <a:lnSpc>
                <a:spcPct val="110000"/>
              </a:lnSpc>
            </a:pPr>
            <a:r>
              <a:rPr lang="en-US"/>
              <a:t>Click to edit Master text styles</a:t>
            </a:r>
          </a:p>
          <a:p>
            <a:pPr lvl="1">
              <a:lnSpc>
                <a:spcPct val="110000"/>
              </a:lnSpc>
            </a:pPr>
            <a:r>
              <a:rPr lang="en-US"/>
              <a:t>Second level</a:t>
            </a:r>
          </a:p>
          <a:p>
            <a:pPr lvl="2">
              <a:lnSpc>
                <a:spcPct val="110000"/>
              </a:lnSpc>
            </a:pPr>
            <a:r>
              <a:rPr lang="en-US"/>
              <a:t>Third level</a:t>
            </a:r>
          </a:p>
          <a:p>
            <a:pPr lvl="3">
              <a:lnSpc>
                <a:spcPct val="110000"/>
              </a:lnSpc>
            </a:pPr>
            <a:r>
              <a:rPr lang="en-US"/>
              <a:t>Fourth level</a:t>
            </a:r>
          </a:p>
          <a:p>
            <a:pPr lvl="4">
              <a:lnSpc>
                <a:spcPct val="110000"/>
              </a:lnSpc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34000989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4232">
          <p15:clr>
            <a:srgbClr val="5ACBF0"/>
          </p15:clr>
        </p15:guide>
        <p15:guide id="3" orient="horz" pos="1170">
          <p15:clr>
            <a:srgbClr val="5ACBF0"/>
          </p15:clr>
        </p15:guide>
        <p15:guide id="4" orient="horz" pos="4005">
          <p15:clr>
            <a:srgbClr val="5ACBF0"/>
          </p15:clr>
        </p15:guide>
        <p15:guide id="5" orient="horz" pos="1283">
          <p15:clr>
            <a:srgbClr val="5ACBF0"/>
          </p15:clr>
        </p15:guide>
        <p15:guide id="6" pos="217">
          <p15:clr>
            <a:srgbClr val="FBAE40"/>
          </p15:clr>
        </p15:guide>
        <p15:guide id="7" pos="5683">
          <p15:clr>
            <a:srgbClr val="FBAE40"/>
          </p15:clr>
        </p15:guide>
        <p15:guide id="8" orient="horz" pos="2304">
          <p15:clr>
            <a:srgbClr val="FBAE40"/>
          </p15:clr>
        </p15:guide>
        <p15:guide id="9" pos="5456">
          <p15:clr>
            <a:srgbClr val="FBAE40"/>
          </p15:clr>
        </p15:guide>
        <p15:guide id="10" pos="7951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Very-Large 2 Columns 75-2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FA3F1E-89F7-499F-8A00-0B051660F4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883132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9" imgH="290" progId="TCLayout.ActiveDocument.1">
                  <p:embed/>
                </p:oleObj>
              </mc:Choice>
              <mc:Fallback>
                <p:oleObj name="think-cell Slide" r:id="rId4" imgW="289" imgH="29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EFA3F1E-89F7-499F-8A00-0B051660F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C5A20EC-6FCC-45EE-ACE4-4D8383F4FDE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250" b="0" i="0" baseline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22997" y="547106"/>
            <a:ext cx="7798057" cy="3462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250" b="0" spc="19" baseline="0">
                <a:solidFill>
                  <a:schemeClr val="tx2">
                    <a:lumMod val="50000"/>
                  </a:schemeClr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Footer Placeholder 30">
            <a:extLst>
              <a:ext uri="{FF2B5EF4-FFF2-40B4-BE49-F238E27FC236}">
                <a16:creationId xmlns:a16="http://schemas.microsoft.com/office/drawing/2014/main" id="{ED10B30B-F49E-438A-A9FF-7E7A3E18352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322997" y="140510"/>
            <a:ext cx="2720099" cy="1139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OPIC</a:t>
            </a:r>
          </a:p>
        </p:txBody>
      </p:sp>
      <p:sp>
        <p:nvSpPr>
          <p:cNvPr id="32" name="Slide Number Placeholder 31">
            <a:extLst>
              <a:ext uri="{FF2B5EF4-FFF2-40B4-BE49-F238E27FC236}">
                <a16:creationId xmlns:a16="http://schemas.microsoft.com/office/drawing/2014/main" id="{22355562-172D-4B3D-BBE6-B077AD0B8CC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algn="r"/>
            <a:fld id="{73A950B1-DE82-4A29-B648-3078557F46E8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13" name="Date Placeholder 29">
            <a:extLst>
              <a:ext uri="{FF2B5EF4-FFF2-40B4-BE49-F238E27FC236}">
                <a16:creationId xmlns:a16="http://schemas.microsoft.com/office/drawing/2014/main" id="{4022FC2F-0158-43C3-99BD-4CF8D50C0784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322997" y="6468071"/>
            <a:ext cx="2575312" cy="2530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NITED NATIONS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C38E427-6BE7-431E-8A66-118391C3D01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22997" y="1571625"/>
            <a:ext cx="11511772" cy="1255813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6" dirty="0" smtClean="0">
                <a:solidFill>
                  <a:schemeClr val="tx2">
                    <a:lumMod val="50000"/>
                  </a:schemeClr>
                </a:solidFill>
                <a:latin typeface="+mn-lt"/>
              </a:defRPr>
            </a:lvl1pPr>
            <a:lvl2pPr>
              <a:defRPr lang="en-US" sz="1125" dirty="0" smtClean="0"/>
            </a:lvl2pPr>
            <a:lvl3pPr>
              <a:defRPr lang="en-US" sz="1125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>
              <a:lnSpc>
                <a:spcPct val="110000"/>
              </a:lnSpc>
            </a:pPr>
            <a:r>
              <a:rPr lang="en-US"/>
              <a:t>Click to edit Master text styles</a:t>
            </a:r>
          </a:p>
          <a:p>
            <a:pPr lvl="1">
              <a:lnSpc>
                <a:spcPct val="110000"/>
              </a:lnSpc>
            </a:pPr>
            <a:r>
              <a:rPr lang="en-US"/>
              <a:t>Second level</a:t>
            </a:r>
          </a:p>
          <a:p>
            <a:pPr lvl="2">
              <a:lnSpc>
                <a:spcPct val="110000"/>
              </a:lnSpc>
            </a:pPr>
            <a:r>
              <a:rPr lang="en-US"/>
              <a:t>Third level</a:t>
            </a:r>
          </a:p>
          <a:p>
            <a:pPr lvl="3">
              <a:lnSpc>
                <a:spcPct val="110000"/>
              </a:lnSpc>
            </a:pPr>
            <a:r>
              <a:rPr lang="en-US"/>
              <a:t>Fourth level</a:t>
            </a:r>
          </a:p>
          <a:p>
            <a:pPr lvl="4">
              <a:lnSpc>
                <a:spcPct val="110000"/>
              </a:lnSpc>
            </a:pPr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8595760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4232">
          <p15:clr>
            <a:srgbClr val="5ACBF0"/>
          </p15:clr>
        </p15:guide>
        <p15:guide id="3" orient="horz" pos="1170">
          <p15:clr>
            <a:srgbClr val="5ACBF0"/>
          </p15:clr>
        </p15:guide>
        <p15:guide id="4" orient="horz" pos="4005">
          <p15:clr>
            <a:srgbClr val="5ACBF0"/>
          </p15:clr>
        </p15:guide>
        <p15:guide id="5" orient="horz" pos="1283">
          <p15:clr>
            <a:srgbClr val="5ACBF0"/>
          </p15:clr>
        </p15:guide>
        <p15:guide id="6" pos="217">
          <p15:clr>
            <a:srgbClr val="FBAE40"/>
          </p15:clr>
        </p15:guide>
        <p15:guide id="7" pos="5683">
          <p15:clr>
            <a:srgbClr val="FBAE40"/>
          </p15:clr>
        </p15:guide>
        <p15:guide id="8" orient="horz" pos="2304">
          <p15:clr>
            <a:srgbClr val="FBAE40"/>
          </p15:clr>
        </p15:guide>
        <p15:guide id="9" pos="5456">
          <p15:clr>
            <a:srgbClr val="FBAE40"/>
          </p15:clr>
        </p15:guide>
        <p15:guide id="10" pos="7951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Very-Large 2 Columns 75-2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FA3F1E-89F7-499F-8A00-0B051660F4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2907499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9" imgH="290" progId="TCLayout.ActiveDocument.1">
                  <p:embed/>
                </p:oleObj>
              </mc:Choice>
              <mc:Fallback>
                <p:oleObj name="think-cell Slide" r:id="rId4" imgW="289" imgH="29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EFA3F1E-89F7-499F-8A00-0B051660F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C5A20EC-6FCC-45EE-ACE4-4D8383F4FDE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625" b="0" i="0" baseline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22996" y="547106"/>
            <a:ext cx="11511772" cy="3462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250" b="0" spc="19" baseline="0">
                <a:solidFill>
                  <a:schemeClr val="tx2">
                    <a:lumMod val="50000"/>
                  </a:schemeClr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2" name="Slide Number Placeholder 31">
            <a:extLst>
              <a:ext uri="{FF2B5EF4-FFF2-40B4-BE49-F238E27FC236}">
                <a16:creationId xmlns:a16="http://schemas.microsoft.com/office/drawing/2014/main" id="{22355562-172D-4B3D-BBE6-B077AD0B8CC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9091531" y="6612875"/>
            <a:ext cx="2743237" cy="108203"/>
          </a:xfrm>
        </p:spPr>
        <p:txBody>
          <a:bodyPr/>
          <a:lstStyle>
            <a:lvl1pPr>
              <a:defRPr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algn="r"/>
            <a:fld id="{73A950B1-DE82-4A29-B648-3078557F46E8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13" name="Date Placeholder 29">
            <a:extLst>
              <a:ext uri="{FF2B5EF4-FFF2-40B4-BE49-F238E27FC236}">
                <a16:creationId xmlns:a16="http://schemas.microsoft.com/office/drawing/2014/main" id="{4022FC2F-0158-43C3-99BD-4CF8D50C0784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322997" y="6468071"/>
            <a:ext cx="2575312" cy="25300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UNITED NATIONS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C38E427-6BE7-431E-8A66-118391C3D01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22997" y="1571626"/>
            <a:ext cx="11511772" cy="1382830"/>
          </a:xfrm>
        </p:spPr>
        <p:txBody>
          <a:bodyPr vert="horz" wrap="square" lIns="0" tIns="0" rIns="0" bIns="0" rtlCol="0" anchor="t" anchorCtr="0">
            <a:spAutoFit/>
          </a:bodyPr>
          <a:lstStyle>
            <a:lvl1pPr marL="267891" indent="-267891">
              <a:spcBef>
                <a:spcPts val="1688"/>
              </a:spcBef>
              <a:buClr>
                <a:schemeClr val="bg1"/>
              </a:buClr>
              <a:buSzPct val="100000"/>
              <a:buFont typeface="Arial" panose="020B0604020202020204" pitchFamily="34" charset="0"/>
              <a:buChar char="●"/>
              <a:defRPr lang="en-US" sz="1688" dirty="0" smtClean="0">
                <a:solidFill>
                  <a:schemeClr val="tx2">
                    <a:lumMod val="50000"/>
                  </a:schemeClr>
                </a:solidFill>
                <a:latin typeface="+mn-lt"/>
              </a:defRPr>
            </a:lvl1pPr>
            <a:lvl2pPr marL="508992" indent="-254497">
              <a:spcBef>
                <a:spcPts val="1688"/>
              </a:spcBef>
              <a:buClr>
                <a:schemeClr val="bg1"/>
              </a:buClr>
              <a:buFont typeface="Arial" panose="020B0604020202020204" pitchFamily="34" charset="0"/>
              <a:buChar char="‒"/>
              <a:defRPr lang="en-US" sz="1313" dirty="0" smtClean="0">
                <a:solidFill>
                  <a:schemeClr val="tx2">
                    <a:lumMod val="50000"/>
                  </a:schemeClr>
                </a:solidFill>
              </a:defRPr>
            </a:lvl2pPr>
            <a:lvl3pPr marL="753070" indent="-244078">
              <a:spcBef>
                <a:spcPts val="1688"/>
              </a:spcBef>
              <a:buClr>
                <a:schemeClr val="bg1"/>
              </a:buClr>
              <a:buFont typeface="Arial" panose="020B0604020202020204" pitchFamily="34" charset="0"/>
              <a:buChar char="○"/>
              <a:defRPr lang="en-US" sz="1313" dirty="0" smtClean="0">
                <a:solidFill>
                  <a:schemeClr val="tx2">
                    <a:lumMod val="50000"/>
                  </a:schemeClr>
                </a:solidFill>
              </a:defRPr>
            </a:lvl3pPr>
            <a:lvl4pPr>
              <a:defRPr lang="en-US" dirty="0" smtClean="0">
                <a:solidFill>
                  <a:schemeClr val="tx2">
                    <a:lumMod val="50000"/>
                  </a:schemeClr>
                </a:solidFill>
              </a:defRPr>
            </a:lvl4pPr>
            <a:lvl5pPr>
              <a:defRPr lang="en-US" dirty="0">
                <a:solidFill>
                  <a:schemeClr val="bg2"/>
                </a:solidFill>
              </a:defRPr>
            </a:lvl5pPr>
          </a:lstStyle>
          <a:p>
            <a:pPr lvl="0">
              <a:lnSpc>
                <a:spcPct val="110000"/>
              </a:lnSpc>
            </a:pPr>
            <a:r>
              <a:rPr lang="en-US"/>
              <a:t>Click to edit Master text styles</a:t>
            </a:r>
          </a:p>
          <a:p>
            <a:pPr lvl="1">
              <a:lnSpc>
                <a:spcPct val="110000"/>
              </a:lnSpc>
            </a:pPr>
            <a:r>
              <a:rPr lang="en-US"/>
              <a:t>Second level</a:t>
            </a:r>
          </a:p>
          <a:p>
            <a:pPr lvl="2">
              <a:lnSpc>
                <a:spcPct val="110000"/>
              </a:lnSpc>
            </a:pPr>
            <a:r>
              <a:rPr lang="en-US"/>
              <a:t>Third level</a:t>
            </a:r>
          </a:p>
          <a:p>
            <a:pPr lvl="3">
              <a:lnSpc>
                <a:spcPct val="110000"/>
              </a:lnSpc>
            </a:pPr>
            <a:r>
              <a:rPr lang="en-US"/>
              <a:t>Fourth level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F5948F06-AFDD-4FDC-89E1-78DE530D09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r="75842"/>
          <a:stretch/>
        </p:blipFill>
        <p:spPr>
          <a:xfrm>
            <a:off x="11742018" y="147161"/>
            <a:ext cx="303787" cy="248981"/>
          </a:xfrm>
          <a:prstGeom prst="rect">
            <a:avLst/>
          </a:prstGeom>
        </p:spPr>
      </p:pic>
      <p:sp>
        <p:nvSpPr>
          <p:cNvPr id="10" name="Footer Placeholder 30">
            <a:extLst>
              <a:ext uri="{FF2B5EF4-FFF2-40B4-BE49-F238E27FC236}">
                <a16:creationId xmlns:a16="http://schemas.microsoft.com/office/drawing/2014/main" id="{608C9D0F-7A53-31E1-95ED-97C58D335C0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322997" y="140510"/>
            <a:ext cx="2720099" cy="1139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OPIC</a:t>
            </a:r>
          </a:p>
        </p:txBody>
      </p:sp>
    </p:spTree>
    <p:extLst>
      <p:ext uri="{BB962C8B-B14F-4D97-AF65-F5344CB8AC3E}">
        <p14:creationId xmlns:p14="http://schemas.microsoft.com/office/powerpoint/2010/main" val="2793163384"/>
      </p:ext>
    </p:extLst>
  </p:cSld>
  <p:clrMapOvr>
    <a:masterClrMapping/>
  </p:clrMapOvr>
  <p:hf hdr="0"/>
  <p:extLst>
    <p:ext uri="{DCECCB84-F9BA-43D5-87BE-67443E8EF086}">
      <p15:sldGuideLst xmlns:p15="http://schemas.microsoft.com/office/powerpoint/2012/main">
        <p15:guide id="1" orient="horz" pos="4232">
          <p15:clr>
            <a:srgbClr val="5ACBF0"/>
          </p15:clr>
        </p15:guide>
        <p15:guide id="3" orient="horz" pos="1170">
          <p15:clr>
            <a:srgbClr val="5ACBF0"/>
          </p15:clr>
        </p15:guide>
        <p15:guide id="4" orient="horz" pos="4005">
          <p15:clr>
            <a:srgbClr val="5ACBF0"/>
          </p15:clr>
        </p15:guide>
        <p15:guide id="5" orient="horz" pos="1283">
          <p15:clr>
            <a:srgbClr val="5ACBF0"/>
          </p15:clr>
        </p15:guide>
        <p15:guide id="6" pos="217">
          <p15:clr>
            <a:srgbClr val="FBAE40"/>
          </p15:clr>
        </p15:guide>
        <p15:guide id="7" pos="5683">
          <p15:clr>
            <a:srgbClr val="FBAE40"/>
          </p15:clr>
        </p15:guide>
        <p15:guide id="8" orient="horz" pos="2304">
          <p15:clr>
            <a:srgbClr val="FBAE40"/>
          </p15:clr>
        </p15:guide>
        <p15:guide id="9" pos="5456">
          <p15:clr>
            <a:srgbClr val="FBAE40"/>
          </p15:clr>
        </p15:guide>
        <p15:guide id="10" pos="7951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Column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FA3F1E-89F7-499F-8A00-0B051660F4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7333346"/>
              </p:ext>
            </p:extLst>
          </p:nvPr>
        </p:nvGraphicFramePr>
        <p:xfrm>
          <a:off x="1490" y="1490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9" imgH="290" progId="TCLayout.ActiveDocument.1">
                  <p:embed/>
                </p:oleObj>
              </mc:Choice>
              <mc:Fallback>
                <p:oleObj name="think-cell Slide" r:id="rId4" imgW="289" imgH="29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EFA3F1E-89F7-499F-8A00-0B051660F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90" y="1490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EEB0B56-9EAB-4850-AB5E-F155665269B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1125" b="0" i="0" baseline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8270B25-C592-4683-8A72-9BA547BB150B}"/>
              </a:ext>
            </a:extLst>
          </p:cNvPr>
          <p:cNvCxnSpPr/>
          <p:nvPr userDrawn="1"/>
        </p:nvCxnSpPr>
        <p:spPr>
          <a:xfrm>
            <a:off x="523939" y="1419241"/>
            <a:ext cx="11142634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C6C3F224-9B30-4A25-A4DC-E00B4E98DCA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23940" y="1192453"/>
            <a:ext cx="11144123" cy="201137"/>
          </a:xfrm>
        </p:spPr>
        <p:txBody>
          <a:bodyPr anchor="b"/>
          <a:lstStyle>
            <a:lvl1pPr>
              <a:defRPr sz="1313">
                <a:solidFill>
                  <a:schemeClr val="tx2">
                    <a:lumMod val="50000"/>
                  </a:schemeClr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IN"/>
              <a:t>Click to edit the heading (1-2 lines)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90797620-7E67-4275-8FD2-DA5C3E1C14FB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523940" y="1462288"/>
            <a:ext cx="11144123" cy="752369"/>
          </a:xfrm>
        </p:spPr>
        <p:txBody>
          <a:bodyPr/>
          <a:lstStyle>
            <a:lvl1pPr>
              <a:defRPr sz="1125">
                <a:solidFill>
                  <a:schemeClr val="tx2">
                    <a:lumMod val="50000"/>
                  </a:schemeClr>
                </a:solidFill>
                <a:latin typeface="+mn-lt"/>
              </a:defRPr>
            </a:lvl1pPr>
            <a:lvl2pPr marL="123896" indent="-123896">
              <a:buFont typeface="Arial" panose="020B0604020202020204" pitchFamily="34" charset="0"/>
              <a:buChar char="•"/>
              <a:defRPr sz="1125"/>
            </a:lvl2pPr>
            <a:lvl3pPr>
              <a:defRPr sz="1125"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Date Placeholder 2">
            <a:extLst>
              <a:ext uri="{FF2B5EF4-FFF2-40B4-BE49-F238E27FC236}">
                <a16:creationId xmlns:a16="http://schemas.microsoft.com/office/drawing/2014/main" id="{1C734F2C-D749-40E6-9398-81B5D839E9E4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523939" y="6605661"/>
            <a:ext cx="2530388" cy="115418"/>
          </a:xfrm>
          <a:prstGeom prst="rect">
            <a:avLst/>
          </a:prstGeom>
        </p:spPr>
        <p:txBody>
          <a:bodyPr/>
          <a:lstStyle/>
          <a:p>
            <a:r>
              <a:rPr lang="en-CA"/>
              <a:t>UNITED NATIONS | UNOCC</a:t>
            </a:r>
          </a:p>
        </p:txBody>
      </p:sp>
      <p:sp>
        <p:nvSpPr>
          <p:cNvPr id="21" name="Slide Number Placeholder 4">
            <a:extLst>
              <a:ext uri="{FF2B5EF4-FFF2-40B4-BE49-F238E27FC236}">
                <a16:creationId xmlns:a16="http://schemas.microsoft.com/office/drawing/2014/main" id="{F35CDBB9-17D0-440B-A405-C4ACEA918E5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293965" y="6605663"/>
            <a:ext cx="2743236" cy="115417"/>
          </a:xfrm>
        </p:spPr>
        <p:txBody>
          <a:bodyPr/>
          <a:lstStyle>
            <a:lvl1pPr>
              <a:defRPr sz="750"/>
            </a:lvl1pPr>
          </a:lstStyle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D961CECE-101D-45AA-AEE8-DCF00EA34CD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3939" y="6312051"/>
            <a:ext cx="11142634" cy="114936"/>
          </a:xfrm>
        </p:spPr>
        <p:txBody>
          <a:bodyPr/>
          <a:lstStyle>
            <a:lvl1pPr>
              <a:defRPr sz="750">
                <a:solidFill>
                  <a:srgbClr val="7F7F7F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IN"/>
              <a:t>Footnote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BD56FE32-D6F5-4110-A11E-8DFD224E6DA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3939" y="6446365"/>
            <a:ext cx="11142634" cy="114936"/>
          </a:xfrm>
        </p:spPr>
        <p:txBody>
          <a:bodyPr/>
          <a:lstStyle>
            <a:lvl1pPr>
              <a:defRPr sz="750">
                <a:solidFill>
                  <a:srgbClr val="7F7F7F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IN"/>
              <a:t>Source:</a:t>
            </a:r>
          </a:p>
        </p:txBody>
      </p:sp>
      <p:sp>
        <p:nvSpPr>
          <p:cNvPr id="25" name="Title Placeholder 7">
            <a:extLst>
              <a:ext uri="{FF2B5EF4-FFF2-40B4-BE49-F238E27FC236}">
                <a16:creationId xmlns:a16="http://schemas.microsoft.com/office/drawing/2014/main" id="{9B30CE2F-1AB4-44B7-8B8F-4F6E7292A3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3939" y="429189"/>
            <a:ext cx="11138859" cy="230832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US"/>
              <a:t>Slide Title (20 point Roboto Black, 1-2 lines)</a:t>
            </a:r>
            <a:endParaRPr lang="en-CA"/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47AE5FCB-715D-44C0-AA62-BDB6CA9A975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23939" y="740536"/>
            <a:ext cx="11138169" cy="229870"/>
          </a:xfrm>
        </p:spPr>
        <p:txBody>
          <a:bodyPr/>
          <a:lstStyle>
            <a:lvl1pPr>
              <a:defRPr sz="1500" b="0">
                <a:solidFill>
                  <a:srgbClr val="7F7F7F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US"/>
              <a:t>Subtitle (Optional) – 16 point Roboto, 1-2 lines</a:t>
            </a:r>
          </a:p>
        </p:txBody>
      </p:sp>
      <p:sp>
        <p:nvSpPr>
          <p:cNvPr id="3" name="Footer Placeholder 30">
            <a:extLst>
              <a:ext uri="{FF2B5EF4-FFF2-40B4-BE49-F238E27FC236}">
                <a16:creationId xmlns:a16="http://schemas.microsoft.com/office/drawing/2014/main" id="{2ECFB041-6C85-1B70-51CB-A49002F89BED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523939" y="140510"/>
            <a:ext cx="2700330" cy="101250"/>
          </a:xfrm>
        </p:spPr>
        <p:txBody>
          <a:bodyPr/>
          <a:lstStyle>
            <a:lvl1pPr>
              <a:defRPr>
                <a:solidFill>
                  <a:srgbClr val="A6A6A6"/>
                </a:solidFill>
              </a:defRPr>
            </a:lvl1pPr>
          </a:lstStyle>
          <a:p>
            <a:r>
              <a:rPr lang="en-CA"/>
              <a:t>TOPIC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888B6516-D094-29C9-3B08-84ADC919E1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r="75842"/>
          <a:stretch/>
        </p:blipFill>
        <p:spPr>
          <a:xfrm>
            <a:off x="11742018" y="147161"/>
            <a:ext cx="303787" cy="248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56597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2254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FA3F1E-89F7-499F-8A00-0B051660F4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523269"/>
              </p:ext>
            </p:extLst>
          </p:nvPr>
        </p:nvGraphicFramePr>
        <p:xfrm>
          <a:off x="1490" y="1490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9" imgH="290" progId="TCLayout.ActiveDocument.1">
                  <p:embed/>
                </p:oleObj>
              </mc:Choice>
              <mc:Fallback>
                <p:oleObj name="think-cell Slide" r:id="rId4" imgW="289" imgH="29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EFA3F1E-89F7-499F-8A00-0B051660F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90" y="1490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EEB0B56-9EAB-4850-AB5E-F155665269B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1500" b="0" i="0" baseline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23939" y="569657"/>
            <a:ext cx="11138859" cy="230832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>
              <a:defRPr sz="1500" b="0" spc="19" baseline="0">
                <a:solidFill>
                  <a:schemeClr val="tx2">
                    <a:lumMod val="50000"/>
                  </a:schemeClr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CC855E-9C85-4BE7-8D80-7A30B4653696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523940" y="6468072"/>
            <a:ext cx="2530387" cy="253008"/>
          </a:xfrm>
          <a:prstGeom prst="rect">
            <a:avLst/>
          </a:prstGeom>
        </p:spPr>
        <p:txBody>
          <a:bodyPr/>
          <a:lstStyle/>
          <a:p>
            <a:r>
              <a:rPr lang="en-CA"/>
              <a:t>UNITED NATIONS | EOSG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E6CFEB-CFEA-465E-8374-11C62EDDAF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EC7E2DE-F4E6-4130-87BE-FE9CF1DF5C2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3941" y="6360499"/>
            <a:ext cx="11142633" cy="107783"/>
          </a:xfrm>
        </p:spPr>
        <p:txBody>
          <a:bodyPr/>
          <a:lstStyle>
            <a:lvl1pPr>
              <a:defRPr sz="703">
                <a:solidFill>
                  <a:srgbClr val="7F7F7F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IN"/>
              <a:t>Footnote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68AFD44-FD87-4A0D-A47F-3C53DD35135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23941" y="6476271"/>
            <a:ext cx="11142633" cy="107783"/>
          </a:xfrm>
        </p:spPr>
        <p:txBody>
          <a:bodyPr/>
          <a:lstStyle>
            <a:lvl1pPr>
              <a:defRPr sz="703">
                <a:solidFill>
                  <a:srgbClr val="7F7F7F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IN"/>
              <a:t>Source: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0F38733A-101A-477B-98F8-DCA7C380515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3940" y="828855"/>
            <a:ext cx="11138168" cy="201137"/>
          </a:xfrm>
        </p:spPr>
        <p:txBody>
          <a:bodyPr/>
          <a:lstStyle>
            <a:lvl1pPr>
              <a:defRPr sz="1313" b="0">
                <a:solidFill>
                  <a:srgbClr val="7F7F7F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en-US"/>
              <a:t>Subtitle - Optional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2032520E-B868-46D3-B4E5-6F2440A6EECD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23940" y="1232298"/>
            <a:ext cx="11138168" cy="110865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30">
            <a:extLst>
              <a:ext uri="{FF2B5EF4-FFF2-40B4-BE49-F238E27FC236}">
                <a16:creationId xmlns:a16="http://schemas.microsoft.com/office/drawing/2014/main" id="{C6B833E2-0D8B-51CB-F691-8AB7C1D7F285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523939" y="140510"/>
            <a:ext cx="2700330" cy="101250"/>
          </a:xfrm>
        </p:spPr>
        <p:txBody>
          <a:bodyPr/>
          <a:lstStyle>
            <a:lvl1pPr>
              <a:defRPr>
                <a:solidFill>
                  <a:srgbClr val="A6A6A6"/>
                </a:solidFill>
              </a:defRPr>
            </a:lvl1pPr>
          </a:lstStyle>
          <a:p>
            <a:r>
              <a:rPr lang="en-CA"/>
              <a:t>TOPIC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A4D5BD4-7CF3-2B43-C505-7453879A16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r="75842"/>
          <a:stretch/>
        </p:blipFill>
        <p:spPr>
          <a:xfrm>
            <a:off x="11742018" y="147161"/>
            <a:ext cx="303787" cy="248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4070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04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523940" y="6468071"/>
            <a:ext cx="2530387" cy="25300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Copyright"/>
          <p:cNvSpPr txBox="1"/>
          <p:nvPr userDrawn="1"/>
        </p:nvSpPr>
        <p:spPr>
          <a:xfrm rot="16200000">
            <a:off x="9486901" y="3922498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558999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C2E35E8-52C9-BD34-BCE9-EB03D638C2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1724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73" imgH="574" progId="TCLayout.ActiveDocument.1">
                  <p:embed/>
                </p:oleObj>
              </mc:Choice>
              <mc:Fallback>
                <p:oleObj name="think-cell Slide" r:id="rId3" imgW="573" imgH="57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2E35E8-52C9-BD34-BCE9-EB03D638C2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10AE052-6A43-D7FB-C0B8-ACD6790293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4741906"/>
            <a:ext cx="11376025" cy="492443"/>
          </a:xfrm>
        </p:spPr>
        <p:txBody>
          <a:bodyPr vert="horz" anchor="t" anchorCtr="0"/>
          <a:lstStyle>
            <a:lvl1pPr algn="ctr">
              <a:defRPr sz="3200" b="1" cap="none" baseline="0">
                <a:solidFill>
                  <a:srgbClr val="000000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B3D5A7D7-AB4C-12E4-4191-9E763CC018E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578090" y="65784"/>
            <a:ext cx="4548128" cy="2008990"/>
          </a:xfrm>
          <a:prstGeom prst="rect">
            <a:avLst/>
          </a:prstGeom>
        </p:spPr>
      </p:pic>
      <p:sp>
        <p:nvSpPr>
          <p:cNvPr id="4" name="Freeform: Shape 3">
            <a:extLst>
              <a:ext uri="{FF2B5EF4-FFF2-40B4-BE49-F238E27FC236}">
                <a16:creationId xmlns:a16="http://schemas.microsoft.com/office/drawing/2014/main" id="{4C07BC43-07FC-AFFA-1EE3-D12125854A18}"/>
              </a:ext>
            </a:extLst>
          </p:cNvPr>
          <p:cNvSpPr/>
          <p:nvPr/>
        </p:nvSpPr>
        <p:spPr>
          <a:xfrm>
            <a:off x="4313833" y="1097125"/>
            <a:ext cx="3564335" cy="2976069"/>
          </a:xfrm>
          <a:custGeom>
            <a:avLst/>
            <a:gdLst>
              <a:gd name="connsiteX0" fmla="*/ 2838754 w 3564335"/>
              <a:gd name="connsiteY0" fmla="*/ 2706480 h 2976069"/>
              <a:gd name="connsiteX1" fmla="*/ 2843592 w 3564335"/>
              <a:gd name="connsiteY1" fmla="*/ 2708899 h 2976069"/>
              <a:gd name="connsiteX2" fmla="*/ 2615583 w 3564335"/>
              <a:gd name="connsiteY2" fmla="*/ 2843770 h 2976069"/>
              <a:gd name="connsiteX3" fmla="*/ 2435503 w 3564335"/>
              <a:gd name="connsiteY3" fmla="*/ 2856622 h 2976069"/>
              <a:gd name="connsiteX4" fmla="*/ 2180731 w 3564335"/>
              <a:gd name="connsiteY4" fmla="*/ 2757284 h 2976069"/>
              <a:gd name="connsiteX5" fmla="*/ 2041930 w 3564335"/>
              <a:gd name="connsiteY5" fmla="*/ 2663993 h 2976069"/>
              <a:gd name="connsiteX6" fmla="*/ 1869108 w 3564335"/>
              <a:gd name="connsiteY6" fmla="*/ 2631334 h 2976069"/>
              <a:gd name="connsiteX7" fmla="*/ 1866235 w 3564335"/>
              <a:gd name="connsiteY7" fmla="*/ 2653560 h 2976069"/>
              <a:gd name="connsiteX8" fmla="*/ 2099234 w 3564335"/>
              <a:gd name="connsiteY8" fmla="*/ 2798561 h 2976069"/>
              <a:gd name="connsiteX9" fmla="*/ 2236675 w 3564335"/>
              <a:gd name="connsiteY9" fmla="*/ 2919672 h 2976069"/>
              <a:gd name="connsiteX10" fmla="*/ 2170752 w 3564335"/>
              <a:gd name="connsiteY10" fmla="*/ 2976070 h 2976069"/>
              <a:gd name="connsiteX11" fmla="*/ 2098630 w 3564335"/>
              <a:gd name="connsiteY11" fmla="*/ 2897899 h 2976069"/>
              <a:gd name="connsiteX12" fmla="*/ 1797741 w 3564335"/>
              <a:gd name="connsiteY12" fmla="*/ 2664900 h 2976069"/>
              <a:gd name="connsiteX13" fmla="*/ 1782924 w 3564335"/>
              <a:gd name="connsiteY13" fmla="*/ 2659306 h 2976069"/>
              <a:gd name="connsiteX14" fmla="*/ 1768106 w 3564335"/>
              <a:gd name="connsiteY14" fmla="*/ 2664900 h 2976069"/>
              <a:gd name="connsiteX15" fmla="*/ 1467218 w 3564335"/>
              <a:gd name="connsiteY15" fmla="*/ 2897899 h 2976069"/>
              <a:gd name="connsiteX16" fmla="*/ 1395096 w 3564335"/>
              <a:gd name="connsiteY16" fmla="*/ 2976070 h 2976069"/>
              <a:gd name="connsiteX17" fmla="*/ 1329173 w 3564335"/>
              <a:gd name="connsiteY17" fmla="*/ 2919672 h 2976069"/>
              <a:gd name="connsiteX18" fmla="*/ 1466613 w 3564335"/>
              <a:gd name="connsiteY18" fmla="*/ 2798561 h 2976069"/>
              <a:gd name="connsiteX19" fmla="*/ 1699613 w 3564335"/>
              <a:gd name="connsiteY19" fmla="*/ 2653560 h 2976069"/>
              <a:gd name="connsiteX20" fmla="*/ 1696740 w 3564335"/>
              <a:gd name="connsiteY20" fmla="*/ 2631334 h 2976069"/>
              <a:gd name="connsiteX21" fmla="*/ 1523918 w 3564335"/>
              <a:gd name="connsiteY21" fmla="*/ 2663993 h 2976069"/>
              <a:gd name="connsiteX22" fmla="*/ 1385117 w 3564335"/>
              <a:gd name="connsiteY22" fmla="*/ 2757284 h 2976069"/>
              <a:gd name="connsiteX23" fmla="*/ 1130344 w 3564335"/>
              <a:gd name="connsiteY23" fmla="*/ 2856622 h 2976069"/>
              <a:gd name="connsiteX24" fmla="*/ 950265 w 3564335"/>
              <a:gd name="connsiteY24" fmla="*/ 2843770 h 2976069"/>
              <a:gd name="connsiteX25" fmla="*/ 721953 w 3564335"/>
              <a:gd name="connsiteY25" fmla="*/ 2708597 h 2976069"/>
              <a:gd name="connsiteX26" fmla="*/ 726943 w 3564335"/>
              <a:gd name="connsiteY26" fmla="*/ 2706480 h 2976069"/>
              <a:gd name="connsiteX27" fmla="*/ 741156 w 3564335"/>
              <a:gd name="connsiteY27" fmla="*/ 2713435 h 2976069"/>
              <a:gd name="connsiteX28" fmla="*/ 1043858 w 3564335"/>
              <a:gd name="connsiteY28" fmla="*/ 2748665 h 2976069"/>
              <a:gd name="connsiteX29" fmla="*/ 1247978 w 3564335"/>
              <a:gd name="connsiteY29" fmla="*/ 2677904 h 2976069"/>
              <a:gd name="connsiteX30" fmla="*/ 1391618 w 3564335"/>
              <a:gd name="connsiteY30" fmla="*/ 2619087 h 2976069"/>
              <a:gd name="connsiteX31" fmla="*/ 1776573 w 3564335"/>
              <a:gd name="connsiteY31" fmla="*/ 2610468 h 2976069"/>
              <a:gd name="connsiteX32" fmla="*/ 1783075 w 3564335"/>
              <a:gd name="connsiteY32" fmla="*/ 2611678 h 2976069"/>
              <a:gd name="connsiteX33" fmla="*/ 1789577 w 3564335"/>
              <a:gd name="connsiteY33" fmla="*/ 2610468 h 2976069"/>
              <a:gd name="connsiteX34" fmla="*/ 2174532 w 3564335"/>
              <a:gd name="connsiteY34" fmla="*/ 2619087 h 2976069"/>
              <a:gd name="connsiteX35" fmla="*/ 2318172 w 3564335"/>
              <a:gd name="connsiteY35" fmla="*/ 2677904 h 2976069"/>
              <a:gd name="connsiteX36" fmla="*/ 2522292 w 3564335"/>
              <a:gd name="connsiteY36" fmla="*/ 2748665 h 2976069"/>
              <a:gd name="connsiteX37" fmla="*/ 2824995 w 3564335"/>
              <a:gd name="connsiteY37" fmla="*/ 2713435 h 2976069"/>
              <a:gd name="connsiteX38" fmla="*/ 2839207 w 3564335"/>
              <a:gd name="connsiteY38" fmla="*/ 2706480 h 2976069"/>
              <a:gd name="connsiteX39" fmla="*/ 3143573 w 3564335"/>
              <a:gd name="connsiteY39" fmla="*/ 2429784 h 2976069"/>
              <a:gd name="connsiteX40" fmla="*/ 3006889 w 3564335"/>
              <a:gd name="connsiteY40" fmla="*/ 2502058 h 2976069"/>
              <a:gd name="connsiteX41" fmla="*/ 2791731 w 3564335"/>
              <a:gd name="connsiteY41" fmla="*/ 2534263 h 2976069"/>
              <a:gd name="connsiteX42" fmla="*/ 2511103 w 3564335"/>
              <a:gd name="connsiteY42" fmla="*/ 2558607 h 2976069"/>
              <a:gd name="connsiteX43" fmla="*/ 2509591 w 3564335"/>
              <a:gd name="connsiteY43" fmla="*/ 2558909 h 2976069"/>
              <a:gd name="connsiteX44" fmla="*/ 2502938 w 3564335"/>
              <a:gd name="connsiteY44" fmla="*/ 2555280 h 2976069"/>
              <a:gd name="connsiteX45" fmla="*/ 2504299 w 3564335"/>
              <a:gd name="connsiteY45" fmla="*/ 2554373 h 2976069"/>
              <a:gd name="connsiteX46" fmla="*/ 2687403 w 3564335"/>
              <a:gd name="connsiteY46" fmla="*/ 2377469 h 2976069"/>
              <a:gd name="connsiteX47" fmla="*/ 2779030 w 3564335"/>
              <a:gd name="connsiteY47" fmla="*/ 2193005 h 2976069"/>
              <a:gd name="connsiteX48" fmla="*/ 2778123 w 3564335"/>
              <a:gd name="connsiteY48" fmla="*/ 2188318 h 2976069"/>
              <a:gd name="connsiteX49" fmla="*/ 2637960 w 3564335"/>
              <a:gd name="connsiteY49" fmla="*/ 2307463 h 2976069"/>
              <a:gd name="connsiteX50" fmla="*/ 2485551 w 3564335"/>
              <a:gd name="connsiteY50" fmla="*/ 2455186 h 2976069"/>
              <a:gd name="connsiteX51" fmla="*/ 2245898 w 3564335"/>
              <a:gd name="connsiteY51" fmla="*/ 2577507 h 2976069"/>
              <a:gd name="connsiteX52" fmla="*/ 2242572 w 3564335"/>
              <a:gd name="connsiteY52" fmla="*/ 2579019 h 2976069"/>
              <a:gd name="connsiteX53" fmla="*/ 2240455 w 3564335"/>
              <a:gd name="connsiteY53" fmla="*/ 2582799 h 2976069"/>
              <a:gd name="connsiteX54" fmla="*/ 2240758 w 3564335"/>
              <a:gd name="connsiteY54" fmla="*/ 2583403 h 2976069"/>
              <a:gd name="connsiteX55" fmla="*/ 2242723 w 3564335"/>
              <a:gd name="connsiteY55" fmla="*/ 2583857 h 2976069"/>
              <a:gd name="connsiteX56" fmla="*/ 2418418 w 3564335"/>
              <a:gd name="connsiteY56" fmla="*/ 2624832 h 2976069"/>
              <a:gd name="connsiteX57" fmla="*/ 2645067 w 3564335"/>
              <a:gd name="connsiteY57" fmla="*/ 2667017 h 2976069"/>
              <a:gd name="connsiteX58" fmla="*/ 2890011 w 3564335"/>
              <a:gd name="connsiteY58" fmla="*/ 2635114 h 2976069"/>
              <a:gd name="connsiteX59" fmla="*/ 3149772 w 3564335"/>
              <a:gd name="connsiteY59" fmla="*/ 2430843 h 2976069"/>
              <a:gd name="connsiteX60" fmla="*/ 3149924 w 3564335"/>
              <a:gd name="connsiteY60" fmla="*/ 2430087 h 2976069"/>
              <a:gd name="connsiteX61" fmla="*/ 3143573 w 3564335"/>
              <a:gd name="connsiteY61" fmla="*/ 2429935 h 2976069"/>
              <a:gd name="connsiteX62" fmla="*/ 3428434 w 3564335"/>
              <a:gd name="connsiteY62" fmla="*/ 1992967 h 2976069"/>
              <a:gd name="connsiteX63" fmla="*/ 3265138 w 3564335"/>
              <a:gd name="connsiteY63" fmla="*/ 2135549 h 2976069"/>
              <a:gd name="connsiteX64" fmla="*/ 3097306 w 3564335"/>
              <a:gd name="connsiteY64" fmla="*/ 2227025 h 2976069"/>
              <a:gd name="connsiteX65" fmla="*/ 2891220 w 3564335"/>
              <a:gd name="connsiteY65" fmla="*/ 2348136 h 2976069"/>
              <a:gd name="connsiteX66" fmla="*/ 2879276 w 3564335"/>
              <a:gd name="connsiteY66" fmla="*/ 2357359 h 2976069"/>
              <a:gd name="connsiteX67" fmla="*/ 2877310 w 3564335"/>
              <a:gd name="connsiteY67" fmla="*/ 2353277 h 2976069"/>
              <a:gd name="connsiteX68" fmla="*/ 3004167 w 3564335"/>
              <a:gd name="connsiteY68" fmla="*/ 2045887 h 2976069"/>
              <a:gd name="connsiteX69" fmla="*/ 3038943 w 3564335"/>
              <a:gd name="connsiteY69" fmla="*/ 1826647 h 2976069"/>
              <a:gd name="connsiteX70" fmla="*/ 3037431 w 3564335"/>
              <a:gd name="connsiteY70" fmla="*/ 1821053 h 2976069"/>
              <a:gd name="connsiteX71" fmla="*/ 3036524 w 3564335"/>
              <a:gd name="connsiteY71" fmla="*/ 1821506 h 2976069"/>
              <a:gd name="connsiteX72" fmla="*/ 2881392 w 3564335"/>
              <a:gd name="connsiteY72" fmla="*/ 2103343 h 2976069"/>
              <a:gd name="connsiteX73" fmla="*/ 2823936 w 3564335"/>
              <a:gd name="connsiteY73" fmla="*/ 2268454 h 2976069"/>
              <a:gd name="connsiteX74" fmla="*/ 2704640 w 3564335"/>
              <a:gd name="connsiteY74" fmla="*/ 2469096 h 2976069"/>
              <a:gd name="connsiteX75" fmla="*/ 2699499 w 3564335"/>
              <a:gd name="connsiteY75" fmla="*/ 2474539 h 2976069"/>
              <a:gd name="connsiteX76" fmla="*/ 2698591 w 3564335"/>
              <a:gd name="connsiteY76" fmla="*/ 2478017 h 2976069"/>
              <a:gd name="connsiteX77" fmla="*/ 2699045 w 3564335"/>
              <a:gd name="connsiteY77" fmla="*/ 2478622 h 2976069"/>
              <a:gd name="connsiteX78" fmla="*/ 2717794 w 3564335"/>
              <a:gd name="connsiteY78" fmla="*/ 2475295 h 2976069"/>
              <a:gd name="connsiteX79" fmla="*/ 2908759 w 3564335"/>
              <a:gd name="connsiteY79" fmla="*/ 2436286 h 2976069"/>
              <a:gd name="connsiteX80" fmla="*/ 3195435 w 3564335"/>
              <a:gd name="connsiteY80" fmla="*/ 2314267 h 2976069"/>
              <a:gd name="connsiteX81" fmla="*/ 3402881 w 3564335"/>
              <a:gd name="connsiteY81" fmla="*/ 2071591 h 2976069"/>
              <a:gd name="connsiteX82" fmla="*/ 3434633 w 3564335"/>
              <a:gd name="connsiteY82" fmla="*/ 1992514 h 2976069"/>
              <a:gd name="connsiteX83" fmla="*/ 3428737 w 3564335"/>
              <a:gd name="connsiteY83" fmla="*/ 1993270 h 2976069"/>
              <a:gd name="connsiteX84" fmla="*/ 3553174 w 3564335"/>
              <a:gd name="connsiteY84" fmla="*/ 1502021 h 2976069"/>
              <a:gd name="connsiteX85" fmla="*/ 3403637 w 3564335"/>
              <a:gd name="connsiteY85" fmla="*/ 1736683 h 2976069"/>
              <a:gd name="connsiteX86" fmla="*/ 3187119 w 3564335"/>
              <a:gd name="connsiteY86" fmla="*/ 1982988 h 2976069"/>
              <a:gd name="connsiteX87" fmla="*/ 3183339 w 3564335"/>
              <a:gd name="connsiteY87" fmla="*/ 1980266 h 2976069"/>
              <a:gd name="connsiteX88" fmla="*/ 3203449 w 3564335"/>
              <a:gd name="connsiteY88" fmla="*/ 1703268 h 2976069"/>
              <a:gd name="connsiteX89" fmla="*/ 3148260 w 3564335"/>
              <a:gd name="connsiteY89" fmla="*/ 1443960 h 2976069"/>
              <a:gd name="connsiteX90" fmla="*/ 3148260 w 3564335"/>
              <a:gd name="connsiteY90" fmla="*/ 1442902 h 2976069"/>
              <a:gd name="connsiteX91" fmla="*/ 3144178 w 3564335"/>
              <a:gd name="connsiteY91" fmla="*/ 1438668 h 2976069"/>
              <a:gd name="connsiteX92" fmla="*/ 3141003 w 3564335"/>
              <a:gd name="connsiteY92" fmla="*/ 1447740 h 2976069"/>
              <a:gd name="connsiteX93" fmla="*/ 3100632 w 3564335"/>
              <a:gd name="connsiteY93" fmla="*/ 1637799 h 2976069"/>
              <a:gd name="connsiteX94" fmla="*/ 3104715 w 3564335"/>
              <a:gd name="connsiteY94" fmla="*/ 1896653 h 2976069"/>
              <a:gd name="connsiteX95" fmla="*/ 3048317 w 3564335"/>
              <a:gd name="connsiteY95" fmla="*/ 2165487 h 2976069"/>
              <a:gd name="connsiteX96" fmla="*/ 3047864 w 3564335"/>
              <a:gd name="connsiteY96" fmla="*/ 2166847 h 2976069"/>
              <a:gd name="connsiteX97" fmla="*/ 3049376 w 3564335"/>
              <a:gd name="connsiteY97" fmla="*/ 2173198 h 2976069"/>
              <a:gd name="connsiteX98" fmla="*/ 3049980 w 3564335"/>
              <a:gd name="connsiteY98" fmla="*/ 2173047 h 2976069"/>
              <a:gd name="connsiteX99" fmla="*/ 3245482 w 3564335"/>
              <a:gd name="connsiteY99" fmla="*/ 2051028 h 2976069"/>
              <a:gd name="connsiteX100" fmla="*/ 3451719 w 3564335"/>
              <a:gd name="connsiteY100" fmla="*/ 1854015 h 2976069"/>
              <a:gd name="connsiteX101" fmla="*/ 3559071 w 3564335"/>
              <a:gd name="connsiteY101" fmla="*/ 1511244 h 2976069"/>
              <a:gd name="connsiteX102" fmla="*/ 3558315 w 3564335"/>
              <a:gd name="connsiteY102" fmla="*/ 1498846 h 2976069"/>
              <a:gd name="connsiteX103" fmla="*/ 3553477 w 3564335"/>
              <a:gd name="connsiteY103" fmla="*/ 1501719 h 2976069"/>
              <a:gd name="connsiteX104" fmla="*/ 3346786 w 3564335"/>
              <a:gd name="connsiteY104" fmla="*/ 1554941 h 2976069"/>
              <a:gd name="connsiteX105" fmla="*/ 3345123 w 3564335"/>
              <a:gd name="connsiteY105" fmla="*/ 1556755 h 2976069"/>
              <a:gd name="connsiteX106" fmla="*/ 3342250 w 3564335"/>
              <a:gd name="connsiteY106" fmla="*/ 1554336 h 2976069"/>
              <a:gd name="connsiteX107" fmla="*/ 3343913 w 3564335"/>
              <a:gd name="connsiteY107" fmla="*/ 1475561 h 2976069"/>
              <a:gd name="connsiteX108" fmla="*/ 3233386 w 3564335"/>
              <a:gd name="connsiteY108" fmla="*/ 1231524 h 2976069"/>
              <a:gd name="connsiteX109" fmla="*/ 3145539 w 3564335"/>
              <a:gd name="connsiteY109" fmla="*/ 1075183 h 2976069"/>
              <a:gd name="connsiteX110" fmla="*/ 3140549 w 3564335"/>
              <a:gd name="connsiteY110" fmla="*/ 1072915 h 2976069"/>
              <a:gd name="connsiteX111" fmla="*/ 3143573 w 3564335"/>
              <a:gd name="connsiteY111" fmla="*/ 1125533 h 2976069"/>
              <a:gd name="connsiteX112" fmla="*/ 3242307 w 3564335"/>
              <a:gd name="connsiteY112" fmla="*/ 1510035 h 2976069"/>
              <a:gd name="connsiteX113" fmla="*/ 3276780 w 3564335"/>
              <a:gd name="connsiteY113" fmla="*/ 1753164 h 2976069"/>
              <a:gd name="connsiteX114" fmla="*/ 3278595 w 3564335"/>
              <a:gd name="connsiteY114" fmla="*/ 1763597 h 2976069"/>
              <a:gd name="connsiteX115" fmla="*/ 3278897 w 3564335"/>
              <a:gd name="connsiteY115" fmla="*/ 1763597 h 2976069"/>
              <a:gd name="connsiteX116" fmla="*/ 3401520 w 3564335"/>
              <a:gd name="connsiteY116" fmla="*/ 1617840 h 2976069"/>
              <a:gd name="connsiteX117" fmla="*/ 3538205 w 3564335"/>
              <a:gd name="connsiteY117" fmla="*/ 1042675 h 2976069"/>
              <a:gd name="connsiteX118" fmla="*/ 3523237 w 3564335"/>
              <a:gd name="connsiteY118" fmla="*/ 1004573 h 2976069"/>
              <a:gd name="connsiteX119" fmla="*/ 3518852 w 3564335"/>
              <a:gd name="connsiteY119" fmla="*/ 1009411 h 2976069"/>
              <a:gd name="connsiteX120" fmla="*/ 3367652 w 3564335"/>
              <a:gd name="connsiteY120" fmla="*/ 1477073 h 2976069"/>
              <a:gd name="connsiteX121" fmla="*/ 3346635 w 3564335"/>
              <a:gd name="connsiteY121" fmla="*/ 1554941 h 2976069"/>
              <a:gd name="connsiteX122" fmla="*/ 3180012 w 3564335"/>
              <a:gd name="connsiteY122" fmla="*/ 867132 h 2976069"/>
              <a:gd name="connsiteX123" fmla="*/ 3062076 w 3564335"/>
              <a:gd name="connsiteY123" fmla="*/ 735739 h 2976069"/>
              <a:gd name="connsiteX124" fmla="*/ 3061320 w 3564335"/>
              <a:gd name="connsiteY124" fmla="*/ 734832 h 2976069"/>
              <a:gd name="connsiteX125" fmla="*/ 3059959 w 3564335"/>
              <a:gd name="connsiteY125" fmla="*/ 733774 h 2976069"/>
              <a:gd name="connsiteX126" fmla="*/ 3054970 w 3564335"/>
              <a:gd name="connsiteY126" fmla="*/ 732715 h 2976069"/>
              <a:gd name="connsiteX127" fmla="*/ 3052551 w 3564335"/>
              <a:gd name="connsiteY127" fmla="*/ 732866 h 2976069"/>
              <a:gd name="connsiteX128" fmla="*/ 3104564 w 3564335"/>
              <a:gd name="connsiteY128" fmla="*/ 885125 h 2976069"/>
              <a:gd name="connsiteX129" fmla="*/ 3221441 w 3564335"/>
              <a:gd name="connsiteY129" fmla="*/ 1062331 h 2976069"/>
              <a:gd name="connsiteX130" fmla="*/ 3230664 w 3564335"/>
              <a:gd name="connsiteY130" fmla="*/ 1074579 h 2976069"/>
              <a:gd name="connsiteX131" fmla="*/ 3358882 w 3564335"/>
              <a:gd name="connsiteY131" fmla="*/ 1318313 h 2976069"/>
              <a:gd name="connsiteX132" fmla="*/ 3363267 w 3564335"/>
              <a:gd name="connsiteY132" fmla="*/ 1321035 h 2976069"/>
              <a:gd name="connsiteX133" fmla="*/ 3417548 w 3564335"/>
              <a:gd name="connsiteY133" fmla="*/ 1151993 h 2976069"/>
              <a:gd name="connsiteX134" fmla="*/ 3465629 w 3564335"/>
              <a:gd name="connsiteY134" fmla="*/ 969797 h 2976069"/>
              <a:gd name="connsiteX135" fmla="*/ 3353439 w 3564335"/>
              <a:gd name="connsiteY135" fmla="*/ 532073 h 2976069"/>
              <a:gd name="connsiteX136" fmla="*/ 3351020 w 3564335"/>
              <a:gd name="connsiteY136" fmla="*/ 537214 h 2976069"/>
              <a:gd name="connsiteX137" fmla="*/ 3355102 w 3564335"/>
              <a:gd name="connsiteY137" fmla="*/ 550671 h 2976069"/>
              <a:gd name="connsiteX138" fmla="*/ 3360243 w 3564335"/>
              <a:gd name="connsiteY138" fmla="*/ 569873 h 2976069"/>
              <a:gd name="connsiteX139" fmla="*/ 3364174 w 3564335"/>
              <a:gd name="connsiteY139" fmla="*/ 812246 h 2976069"/>
              <a:gd name="connsiteX140" fmla="*/ 3346332 w 3564335"/>
              <a:gd name="connsiteY140" fmla="*/ 1005026 h 2976069"/>
              <a:gd name="connsiteX141" fmla="*/ 3352532 w 3564335"/>
              <a:gd name="connsiteY141" fmla="*/ 1098770 h 2976069"/>
              <a:gd name="connsiteX142" fmla="*/ 3347844 w 3564335"/>
              <a:gd name="connsiteY142" fmla="*/ 1097712 h 2976069"/>
              <a:gd name="connsiteX143" fmla="*/ 3326979 w 3564335"/>
              <a:gd name="connsiteY143" fmla="*/ 1043734 h 2976069"/>
              <a:gd name="connsiteX144" fmla="*/ 3314732 w 3564335"/>
              <a:gd name="connsiteY144" fmla="*/ 1015913 h 2976069"/>
              <a:gd name="connsiteX145" fmla="*/ 3180012 w 3564335"/>
              <a:gd name="connsiteY145" fmla="*/ 866981 h 2976069"/>
              <a:gd name="connsiteX146" fmla="*/ 3086269 w 3564335"/>
              <a:gd name="connsiteY146" fmla="*/ 277754 h 2976069"/>
              <a:gd name="connsiteX147" fmla="*/ 3149470 w 3564335"/>
              <a:gd name="connsiteY147" fmla="*/ 368928 h 2976069"/>
              <a:gd name="connsiteX148" fmla="*/ 3194981 w 3564335"/>
              <a:gd name="connsiteY148" fmla="*/ 569117 h 2976069"/>
              <a:gd name="connsiteX149" fmla="*/ 3223256 w 3564335"/>
              <a:gd name="connsiteY149" fmla="*/ 677074 h 2976069"/>
              <a:gd name="connsiteX150" fmla="*/ 3218569 w 3564335"/>
              <a:gd name="connsiteY150" fmla="*/ 679039 h 2976069"/>
              <a:gd name="connsiteX151" fmla="*/ 3217510 w 3564335"/>
              <a:gd name="connsiteY151" fmla="*/ 677679 h 2976069"/>
              <a:gd name="connsiteX152" fmla="*/ 3041967 w 3564335"/>
              <a:gd name="connsiteY152" fmla="*/ 532375 h 2976069"/>
              <a:gd name="connsiteX153" fmla="*/ 2927659 w 3564335"/>
              <a:gd name="connsiteY153" fmla="*/ 429711 h 2976069"/>
              <a:gd name="connsiteX154" fmla="*/ 2910120 w 3564335"/>
              <a:gd name="connsiteY154" fmla="*/ 406728 h 2976069"/>
              <a:gd name="connsiteX155" fmla="*/ 2904979 w 3564335"/>
              <a:gd name="connsiteY155" fmla="*/ 405216 h 2976069"/>
              <a:gd name="connsiteX156" fmla="*/ 2906340 w 3564335"/>
              <a:gd name="connsiteY156" fmla="*/ 414742 h 2976069"/>
              <a:gd name="connsiteX157" fmla="*/ 3006889 w 3564335"/>
              <a:gd name="connsiteY157" fmla="*/ 611755 h 2976069"/>
              <a:gd name="connsiteX158" fmla="*/ 3138281 w 3564335"/>
              <a:gd name="connsiteY158" fmla="*/ 722434 h 2976069"/>
              <a:gd name="connsiteX159" fmla="*/ 3292354 w 3564335"/>
              <a:gd name="connsiteY159" fmla="*/ 882403 h 2976069"/>
              <a:gd name="connsiteX160" fmla="*/ 3293110 w 3564335"/>
              <a:gd name="connsiteY160" fmla="*/ 883310 h 2976069"/>
              <a:gd name="connsiteX161" fmla="*/ 3296588 w 3564335"/>
              <a:gd name="connsiteY161" fmla="*/ 884369 h 2976069"/>
              <a:gd name="connsiteX162" fmla="*/ 3296588 w 3564335"/>
              <a:gd name="connsiteY162" fmla="*/ 883462 h 2976069"/>
              <a:gd name="connsiteX163" fmla="*/ 3296588 w 3564335"/>
              <a:gd name="connsiteY163" fmla="*/ 883462 h 2976069"/>
              <a:gd name="connsiteX164" fmla="*/ 3295076 w 3564335"/>
              <a:gd name="connsiteY164" fmla="*/ 832205 h 2976069"/>
              <a:gd name="connsiteX165" fmla="*/ 3299460 w 3564335"/>
              <a:gd name="connsiteY165" fmla="*/ 675713 h 2976069"/>
              <a:gd name="connsiteX166" fmla="*/ 3300821 w 3564335"/>
              <a:gd name="connsiteY166" fmla="*/ 621886 h 2976069"/>
              <a:gd name="connsiteX167" fmla="*/ 3272244 w 3564335"/>
              <a:gd name="connsiteY167" fmla="*/ 465091 h 2976069"/>
              <a:gd name="connsiteX168" fmla="*/ 3100481 w 3564335"/>
              <a:gd name="connsiteY168" fmla="*/ 277452 h 2976069"/>
              <a:gd name="connsiteX169" fmla="*/ 3085361 w 3564335"/>
              <a:gd name="connsiteY169" fmla="*/ 271706 h 2976069"/>
              <a:gd name="connsiteX170" fmla="*/ 3085815 w 3564335"/>
              <a:gd name="connsiteY170" fmla="*/ 277452 h 2976069"/>
              <a:gd name="connsiteX171" fmla="*/ 3086419 w 3564335"/>
              <a:gd name="connsiteY171" fmla="*/ 278208 h 2976069"/>
              <a:gd name="connsiteX172" fmla="*/ 2750302 w 3564335"/>
              <a:gd name="connsiteY172" fmla="*/ 122623 h 2976069"/>
              <a:gd name="connsiteX173" fmla="*/ 2870204 w 3564335"/>
              <a:gd name="connsiteY173" fmla="*/ 265507 h 2976069"/>
              <a:gd name="connsiteX174" fmla="*/ 2983452 w 3564335"/>
              <a:gd name="connsiteY174" fmla="*/ 405216 h 2976069"/>
              <a:gd name="connsiteX175" fmla="*/ 3124371 w 3564335"/>
              <a:gd name="connsiteY175" fmla="*/ 521640 h 2976069"/>
              <a:gd name="connsiteX176" fmla="*/ 3125278 w 3564335"/>
              <a:gd name="connsiteY176" fmla="*/ 522396 h 2976069"/>
              <a:gd name="connsiteX177" fmla="*/ 3127092 w 3564335"/>
              <a:gd name="connsiteY177" fmla="*/ 522396 h 2976069"/>
              <a:gd name="connsiteX178" fmla="*/ 3126941 w 3564335"/>
              <a:gd name="connsiteY178" fmla="*/ 521338 h 2976069"/>
              <a:gd name="connsiteX179" fmla="*/ 2965762 w 3564335"/>
              <a:gd name="connsiteY179" fmla="*/ 217577 h 2976069"/>
              <a:gd name="connsiteX180" fmla="*/ 2739113 w 3564335"/>
              <a:gd name="connsiteY180" fmla="*/ 107957 h 2976069"/>
              <a:gd name="connsiteX181" fmla="*/ 2739718 w 3564335"/>
              <a:gd name="connsiteY181" fmla="*/ 113400 h 2976069"/>
              <a:gd name="connsiteX182" fmla="*/ 2750302 w 3564335"/>
              <a:gd name="connsiteY182" fmla="*/ 122623 h 2976069"/>
              <a:gd name="connsiteX183" fmla="*/ 919723 w 3564335"/>
              <a:gd name="connsiteY183" fmla="*/ 2666866 h 2976069"/>
              <a:gd name="connsiteX184" fmla="*/ 1146372 w 3564335"/>
              <a:gd name="connsiteY184" fmla="*/ 2624681 h 2976069"/>
              <a:gd name="connsiteX185" fmla="*/ 1322066 w 3564335"/>
              <a:gd name="connsiteY185" fmla="*/ 2583706 h 2976069"/>
              <a:gd name="connsiteX186" fmla="*/ 1324032 w 3564335"/>
              <a:gd name="connsiteY186" fmla="*/ 2583252 h 2976069"/>
              <a:gd name="connsiteX187" fmla="*/ 1324334 w 3564335"/>
              <a:gd name="connsiteY187" fmla="*/ 2582647 h 2976069"/>
              <a:gd name="connsiteX188" fmla="*/ 1322217 w 3564335"/>
              <a:gd name="connsiteY188" fmla="*/ 2578867 h 2976069"/>
              <a:gd name="connsiteX189" fmla="*/ 1318891 w 3564335"/>
              <a:gd name="connsiteY189" fmla="*/ 2577355 h 2976069"/>
              <a:gd name="connsiteX190" fmla="*/ 1079239 w 3564335"/>
              <a:gd name="connsiteY190" fmla="*/ 2455035 h 2976069"/>
              <a:gd name="connsiteX191" fmla="*/ 926829 w 3564335"/>
              <a:gd name="connsiteY191" fmla="*/ 2307312 h 2976069"/>
              <a:gd name="connsiteX192" fmla="*/ 786667 w 3564335"/>
              <a:gd name="connsiteY192" fmla="*/ 2188015 h 2976069"/>
              <a:gd name="connsiteX193" fmla="*/ 785760 w 3564335"/>
              <a:gd name="connsiteY193" fmla="*/ 2192854 h 2976069"/>
              <a:gd name="connsiteX194" fmla="*/ 877387 w 3564335"/>
              <a:gd name="connsiteY194" fmla="*/ 2377318 h 2976069"/>
              <a:gd name="connsiteX195" fmla="*/ 1060490 w 3564335"/>
              <a:gd name="connsiteY195" fmla="*/ 2554222 h 2976069"/>
              <a:gd name="connsiteX196" fmla="*/ 1061851 w 3564335"/>
              <a:gd name="connsiteY196" fmla="*/ 2555129 h 2976069"/>
              <a:gd name="connsiteX197" fmla="*/ 1055198 w 3564335"/>
              <a:gd name="connsiteY197" fmla="*/ 2558758 h 2976069"/>
              <a:gd name="connsiteX198" fmla="*/ 1053686 w 3564335"/>
              <a:gd name="connsiteY198" fmla="*/ 2558455 h 2976069"/>
              <a:gd name="connsiteX199" fmla="*/ 773059 w 3564335"/>
              <a:gd name="connsiteY199" fmla="*/ 2534112 h 2976069"/>
              <a:gd name="connsiteX200" fmla="*/ 557901 w 3564335"/>
              <a:gd name="connsiteY200" fmla="*/ 2501907 h 2976069"/>
              <a:gd name="connsiteX201" fmla="*/ 421216 w 3564335"/>
              <a:gd name="connsiteY201" fmla="*/ 2429633 h 2976069"/>
              <a:gd name="connsiteX202" fmla="*/ 414866 w 3564335"/>
              <a:gd name="connsiteY202" fmla="*/ 2429784 h 2976069"/>
              <a:gd name="connsiteX203" fmla="*/ 415017 w 3564335"/>
              <a:gd name="connsiteY203" fmla="*/ 2430540 h 2976069"/>
              <a:gd name="connsiteX204" fmla="*/ 674779 w 3564335"/>
              <a:gd name="connsiteY204" fmla="*/ 2634811 h 2976069"/>
              <a:gd name="connsiteX205" fmla="*/ 919723 w 3564335"/>
              <a:gd name="connsiteY205" fmla="*/ 2666714 h 2976069"/>
              <a:gd name="connsiteX206" fmla="*/ 846996 w 3564335"/>
              <a:gd name="connsiteY206" fmla="*/ 2474993 h 2976069"/>
              <a:gd name="connsiteX207" fmla="*/ 865744 w 3564335"/>
              <a:gd name="connsiteY207" fmla="*/ 2478319 h 2976069"/>
              <a:gd name="connsiteX208" fmla="*/ 866198 w 3564335"/>
              <a:gd name="connsiteY208" fmla="*/ 2477715 h 2976069"/>
              <a:gd name="connsiteX209" fmla="*/ 865291 w 3564335"/>
              <a:gd name="connsiteY209" fmla="*/ 2474388 h 2976069"/>
              <a:gd name="connsiteX210" fmla="*/ 860150 w 3564335"/>
              <a:gd name="connsiteY210" fmla="*/ 2468945 h 2976069"/>
              <a:gd name="connsiteX211" fmla="*/ 740853 w 3564335"/>
              <a:gd name="connsiteY211" fmla="*/ 2268303 h 2976069"/>
              <a:gd name="connsiteX212" fmla="*/ 683397 w 3564335"/>
              <a:gd name="connsiteY212" fmla="*/ 2103192 h 2976069"/>
              <a:gd name="connsiteX213" fmla="*/ 528266 w 3564335"/>
              <a:gd name="connsiteY213" fmla="*/ 1821355 h 2976069"/>
              <a:gd name="connsiteX214" fmla="*/ 527359 w 3564335"/>
              <a:gd name="connsiteY214" fmla="*/ 1820902 h 2976069"/>
              <a:gd name="connsiteX215" fmla="*/ 525847 w 3564335"/>
              <a:gd name="connsiteY215" fmla="*/ 1826496 h 2976069"/>
              <a:gd name="connsiteX216" fmla="*/ 560623 w 3564335"/>
              <a:gd name="connsiteY216" fmla="*/ 2045736 h 2976069"/>
              <a:gd name="connsiteX217" fmla="*/ 687480 w 3564335"/>
              <a:gd name="connsiteY217" fmla="*/ 2353126 h 2976069"/>
              <a:gd name="connsiteX218" fmla="*/ 685514 w 3564335"/>
              <a:gd name="connsiteY218" fmla="*/ 2357208 h 2976069"/>
              <a:gd name="connsiteX219" fmla="*/ 673569 w 3564335"/>
              <a:gd name="connsiteY219" fmla="*/ 2347985 h 2976069"/>
              <a:gd name="connsiteX220" fmla="*/ 467483 w 3564335"/>
              <a:gd name="connsiteY220" fmla="*/ 2226874 h 2976069"/>
              <a:gd name="connsiteX221" fmla="*/ 299651 w 3564335"/>
              <a:gd name="connsiteY221" fmla="*/ 2135398 h 2976069"/>
              <a:gd name="connsiteX222" fmla="*/ 136204 w 3564335"/>
              <a:gd name="connsiteY222" fmla="*/ 1992816 h 2976069"/>
              <a:gd name="connsiteX223" fmla="*/ 130307 w 3564335"/>
              <a:gd name="connsiteY223" fmla="*/ 1992060 h 2976069"/>
              <a:gd name="connsiteX224" fmla="*/ 162059 w 3564335"/>
              <a:gd name="connsiteY224" fmla="*/ 2071138 h 2976069"/>
              <a:gd name="connsiteX225" fmla="*/ 369506 w 3564335"/>
              <a:gd name="connsiteY225" fmla="*/ 2313814 h 2976069"/>
              <a:gd name="connsiteX226" fmla="*/ 656181 w 3564335"/>
              <a:gd name="connsiteY226" fmla="*/ 2435832 h 2976069"/>
              <a:gd name="connsiteX227" fmla="*/ 847147 w 3564335"/>
              <a:gd name="connsiteY227" fmla="*/ 2474842 h 2976069"/>
              <a:gd name="connsiteX228" fmla="*/ 319307 w 3564335"/>
              <a:gd name="connsiteY228" fmla="*/ 2051179 h 2976069"/>
              <a:gd name="connsiteX229" fmla="*/ 514809 w 3564335"/>
              <a:gd name="connsiteY229" fmla="*/ 2173198 h 2976069"/>
              <a:gd name="connsiteX230" fmla="*/ 515414 w 3564335"/>
              <a:gd name="connsiteY230" fmla="*/ 2173349 h 2976069"/>
              <a:gd name="connsiteX231" fmla="*/ 516926 w 3564335"/>
              <a:gd name="connsiteY231" fmla="*/ 2166999 h 2976069"/>
              <a:gd name="connsiteX232" fmla="*/ 516472 w 3564335"/>
              <a:gd name="connsiteY232" fmla="*/ 2165638 h 2976069"/>
              <a:gd name="connsiteX233" fmla="*/ 460075 w 3564335"/>
              <a:gd name="connsiteY233" fmla="*/ 1896804 h 2976069"/>
              <a:gd name="connsiteX234" fmla="*/ 464157 w 3564335"/>
              <a:gd name="connsiteY234" fmla="*/ 1637950 h 2976069"/>
              <a:gd name="connsiteX235" fmla="*/ 423787 w 3564335"/>
              <a:gd name="connsiteY235" fmla="*/ 1447891 h 2976069"/>
              <a:gd name="connsiteX236" fmla="*/ 420611 w 3564335"/>
              <a:gd name="connsiteY236" fmla="*/ 1438819 h 2976069"/>
              <a:gd name="connsiteX237" fmla="*/ 416529 w 3564335"/>
              <a:gd name="connsiteY237" fmla="*/ 1443053 h 2976069"/>
              <a:gd name="connsiteX238" fmla="*/ 416529 w 3564335"/>
              <a:gd name="connsiteY238" fmla="*/ 1444111 h 2976069"/>
              <a:gd name="connsiteX239" fmla="*/ 361341 w 3564335"/>
              <a:gd name="connsiteY239" fmla="*/ 1703419 h 2976069"/>
              <a:gd name="connsiteX240" fmla="*/ 381451 w 3564335"/>
              <a:gd name="connsiteY240" fmla="*/ 1980418 h 2976069"/>
              <a:gd name="connsiteX241" fmla="*/ 377671 w 3564335"/>
              <a:gd name="connsiteY241" fmla="*/ 1983139 h 2976069"/>
              <a:gd name="connsiteX242" fmla="*/ 161152 w 3564335"/>
              <a:gd name="connsiteY242" fmla="*/ 1736835 h 2976069"/>
              <a:gd name="connsiteX243" fmla="*/ 11615 w 3564335"/>
              <a:gd name="connsiteY243" fmla="*/ 1502172 h 2976069"/>
              <a:gd name="connsiteX244" fmla="*/ 6777 w 3564335"/>
              <a:gd name="connsiteY244" fmla="*/ 1499299 h 2976069"/>
              <a:gd name="connsiteX245" fmla="*/ 5870 w 3564335"/>
              <a:gd name="connsiteY245" fmla="*/ 1511698 h 2976069"/>
              <a:gd name="connsiteX246" fmla="*/ 113222 w 3564335"/>
              <a:gd name="connsiteY246" fmla="*/ 1854468 h 2976069"/>
              <a:gd name="connsiteX247" fmla="*/ 319459 w 3564335"/>
              <a:gd name="connsiteY247" fmla="*/ 2051482 h 2976069"/>
              <a:gd name="connsiteX248" fmla="*/ 285590 w 3564335"/>
              <a:gd name="connsiteY248" fmla="*/ 1763597 h 2976069"/>
              <a:gd name="connsiteX249" fmla="*/ 285892 w 3564335"/>
              <a:gd name="connsiteY249" fmla="*/ 1763597 h 2976069"/>
              <a:gd name="connsiteX250" fmla="*/ 287707 w 3564335"/>
              <a:gd name="connsiteY250" fmla="*/ 1753164 h 2976069"/>
              <a:gd name="connsiteX251" fmla="*/ 322180 w 3564335"/>
              <a:gd name="connsiteY251" fmla="*/ 1510035 h 2976069"/>
              <a:gd name="connsiteX252" fmla="*/ 420914 w 3564335"/>
              <a:gd name="connsiteY252" fmla="*/ 1125533 h 2976069"/>
              <a:gd name="connsiteX253" fmla="*/ 423938 w 3564335"/>
              <a:gd name="connsiteY253" fmla="*/ 1072764 h 2976069"/>
              <a:gd name="connsiteX254" fmla="*/ 418948 w 3564335"/>
              <a:gd name="connsiteY254" fmla="*/ 1075032 h 2976069"/>
              <a:gd name="connsiteX255" fmla="*/ 331101 w 3564335"/>
              <a:gd name="connsiteY255" fmla="*/ 1231373 h 2976069"/>
              <a:gd name="connsiteX256" fmla="*/ 220574 w 3564335"/>
              <a:gd name="connsiteY256" fmla="*/ 1475410 h 2976069"/>
              <a:gd name="connsiteX257" fmla="*/ 222237 w 3564335"/>
              <a:gd name="connsiteY257" fmla="*/ 1554185 h 2976069"/>
              <a:gd name="connsiteX258" fmla="*/ 219364 w 3564335"/>
              <a:gd name="connsiteY258" fmla="*/ 1556604 h 2976069"/>
              <a:gd name="connsiteX259" fmla="*/ 217701 w 3564335"/>
              <a:gd name="connsiteY259" fmla="*/ 1554790 h 2976069"/>
              <a:gd name="connsiteX260" fmla="*/ 196533 w 3564335"/>
              <a:gd name="connsiteY260" fmla="*/ 1476922 h 2976069"/>
              <a:gd name="connsiteX261" fmla="*/ 45484 w 3564335"/>
              <a:gd name="connsiteY261" fmla="*/ 1009260 h 2976069"/>
              <a:gd name="connsiteX262" fmla="*/ 41099 w 3564335"/>
              <a:gd name="connsiteY262" fmla="*/ 1004422 h 2976069"/>
              <a:gd name="connsiteX263" fmla="*/ 26131 w 3564335"/>
              <a:gd name="connsiteY263" fmla="*/ 1042524 h 2976069"/>
              <a:gd name="connsiteX264" fmla="*/ 162815 w 3564335"/>
              <a:gd name="connsiteY264" fmla="*/ 1617689 h 2976069"/>
              <a:gd name="connsiteX265" fmla="*/ 285590 w 3564335"/>
              <a:gd name="connsiteY265" fmla="*/ 1763446 h 2976069"/>
              <a:gd name="connsiteX266" fmla="*/ 146939 w 3564335"/>
              <a:gd name="connsiteY266" fmla="*/ 1152144 h 2976069"/>
              <a:gd name="connsiteX267" fmla="*/ 201371 w 3564335"/>
              <a:gd name="connsiteY267" fmla="*/ 1321337 h 2976069"/>
              <a:gd name="connsiteX268" fmla="*/ 205756 w 3564335"/>
              <a:gd name="connsiteY268" fmla="*/ 1318615 h 2976069"/>
              <a:gd name="connsiteX269" fmla="*/ 333974 w 3564335"/>
              <a:gd name="connsiteY269" fmla="*/ 1074881 h 2976069"/>
              <a:gd name="connsiteX270" fmla="*/ 343197 w 3564335"/>
              <a:gd name="connsiteY270" fmla="*/ 1062634 h 2976069"/>
              <a:gd name="connsiteX271" fmla="*/ 460075 w 3564335"/>
              <a:gd name="connsiteY271" fmla="*/ 885427 h 2976069"/>
              <a:gd name="connsiteX272" fmla="*/ 512087 w 3564335"/>
              <a:gd name="connsiteY272" fmla="*/ 733169 h 2976069"/>
              <a:gd name="connsiteX273" fmla="*/ 509517 w 3564335"/>
              <a:gd name="connsiteY273" fmla="*/ 733018 h 2976069"/>
              <a:gd name="connsiteX274" fmla="*/ 504527 w 3564335"/>
              <a:gd name="connsiteY274" fmla="*/ 734076 h 2976069"/>
              <a:gd name="connsiteX275" fmla="*/ 503167 w 3564335"/>
              <a:gd name="connsiteY275" fmla="*/ 735135 h 2976069"/>
              <a:gd name="connsiteX276" fmla="*/ 502411 w 3564335"/>
              <a:gd name="connsiteY276" fmla="*/ 736042 h 2976069"/>
              <a:gd name="connsiteX277" fmla="*/ 384475 w 3564335"/>
              <a:gd name="connsiteY277" fmla="*/ 867435 h 2976069"/>
              <a:gd name="connsiteX278" fmla="*/ 249755 w 3564335"/>
              <a:gd name="connsiteY278" fmla="*/ 1016366 h 2976069"/>
              <a:gd name="connsiteX279" fmla="*/ 237508 w 3564335"/>
              <a:gd name="connsiteY279" fmla="*/ 1044187 h 2976069"/>
              <a:gd name="connsiteX280" fmla="*/ 216643 w 3564335"/>
              <a:gd name="connsiteY280" fmla="*/ 1098166 h 2976069"/>
              <a:gd name="connsiteX281" fmla="*/ 211804 w 3564335"/>
              <a:gd name="connsiteY281" fmla="*/ 1099224 h 2976069"/>
              <a:gd name="connsiteX282" fmla="*/ 218003 w 3564335"/>
              <a:gd name="connsiteY282" fmla="*/ 1005480 h 2976069"/>
              <a:gd name="connsiteX283" fmla="*/ 200162 w 3564335"/>
              <a:gd name="connsiteY283" fmla="*/ 812700 h 2976069"/>
              <a:gd name="connsiteX284" fmla="*/ 203942 w 3564335"/>
              <a:gd name="connsiteY284" fmla="*/ 570326 h 2976069"/>
              <a:gd name="connsiteX285" fmla="*/ 209083 w 3564335"/>
              <a:gd name="connsiteY285" fmla="*/ 551124 h 2976069"/>
              <a:gd name="connsiteX286" fmla="*/ 213165 w 3564335"/>
              <a:gd name="connsiteY286" fmla="*/ 537667 h 2976069"/>
              <a:gd name="connsiteX287" fmla="*/ 210746 w 3564335"/>
              <a:gd name="connsiteY287" fmla="*/ 532526 h 2976069"/>
              <a:gd name="connsiteX288" fmla="*/ 98555 w 3564335"/>
              <a:gd name="connsiteY288" fmla="*/ 970250 h 2976069"/>
              <a:gd name="connsiteX289" fmla="*/ 146637 w 3564335"/>
              <a:gd name="connsiteY289" fmla="*/ 1152446 h 2976069"/>
              <a:gd name="connsiteX290" fmla="*/ 269411 w 3564335"/>
              <a:gd name="connsiteY290" fmla="*/ 831751 h 2976069"/>
              <a:gd name="connsiteX291" fmla="*/ 267899 w 3564335"/>
              <a:gd name="connsiteY291" fmla="*/ 883008 h 2976069"/>
              <a:gd name="connsiteX292" fmla="*/ 267899 w 3564335"/>
              <a:gd name="connsiteY292" fmla="*/ 883008 h 2976069"/>
              <a:gd name="connsiteX293" fmla="*/ 267899 w 3564335"/>
              <a:gd name="connsiteY293" fmla="*/ 883915 h 2976069"/>
              <a:gd name="connsiteX294" fmla="*/ 271377 w 3564335"/>
              <a:gd name="connsiteY294" fmla="*/ 882857 h 2976069"/>
              <a:gd name="connsiteX295" fmla="*/ 272133 w 3564335"/>
              <a:gd name="connsiteY295" fmla="*/ 881950 h 2976069"/>
              <a:gd name="connsiteX296" fmla="*/ 426206 w 3564335"/>
              <a:gd name="connsiteY296" fmla="*/ 721980 h 2976069"/>
              <a:gd name="connsiteX297" fmla="*/ 557599 w 3564335"/>
              <a:gd name="connsiteY297" fmla="*/ 611302 h 2976069"/>
              <a:gd name="connsiteX298" fmla="*/ 658147 w 3564335"/>
              <a:gd name="connsiteY298" fmla="*/ 414288 h 2976069"/>
              <a:gd name="connsiteX299" fmla="*/ 659508 w 3564335"/>
              <a:gd name="connsiteY299" fmla="*/ 404762 h 2976069"/>
              <a:gd name="connsiteX300" fmla="*/ 654367 w 3564335"/>
              <a:gd name="connsiteY300" fmla="*/ 406274 h 2976069"/>
              <a:gd name="connsiteX301" fmla="*/ 636828 w 3564335"/>
              <a:gd name="connsiteY301" fmla="*/ 429257 h 2976069"/>
              <a:gd name="connsiteX302" fmla="*/ 522369 w 3564335"/>
              <a:gd name="connsiteY302" fmla="*/ 531922 h 2976069"/>
              <a:gd name="connsiteX303" fmla="*/ 346826 w 3564335"/>
              <a:gd name="connsiteY303" fmla="*/ 677225 h 2976069"/>
              <a:gd name="connsiteX304" fmla="*/ 345767 w 3564335"/>
              <a:gd name="connsiteY304" fmla="*/ 678586 h 2976069"/>
              <a:gd name="connsiteX305" fmla="*/ 341080 w 3564335"/>
              <a:gd name="connsiteY305" fmla="*/ 676620 h 2976069"/>
              <a:gd name="connsiteX306" fmla="*/ 369355 w 3564335"/>
              <a:gd name="connsiteY306" fmla="*/ 568663 h 2976069"/>
              <a:gd name="connsiteX307" fmla="*/ 414866 w 3564335"/>
              <a:gd name="connsiteY307" fmla="*/ 368474 h 2976069"/>
              <a:gd name="connsiteX308" fmla="*/ 478067 w 3564335"/>
              <a:gd name="connsiteY308" fmla="*/ 277301 h 2976069"/>
              <a:gd name="connsiteX309" fmla="*/ 478672 w 3564335"/>
              <a:gd name="connsiteY309" fmla="*/ 276545 h 2976069"/>
              <a:gd name="connsiteX310" fmla="*/ 478975 w 3564335"/>
              <a:gd name="connsiteY310" fmla="*/ 270799 h 2976069"/>
              <a:gd name="connsiteX311" fmla="*/ 463855 w 3564335"/>
              <a:gd name="connsiteY311" fmla="*/ 276545 h 2976069"/>
              <a:gd name="connsiteX312" fmla="*/ 292091 w 3564335"/>
              <a:gd name="connsiteY312" fmla="*/ 464184 h 2976069"/>
              <a:gd name="connsiteX313" fmla="*/ 263515 w 3564335"/>
              <a:gd name="connsiteY313" fmla="*/ 620979 h 2976069"/>
              <a:gd name="connsiteX314" fmla="*/ 264875 w 3564335"/>
              <a:gd name="connsiteY314" fmla="*/ 674806 h 2976069"/>
              <a:gd name="connsiteX315" fmla="*/ 269260 w 3564335"/>
              <a:gd name="connsiteY315" fmla="*/ 831298 h 2976069"/>
              <a:gd name="connsiteX316" fmla="*/ 437395 w 3564335"/>
              <a:gd name="connsiteY316" fmla="*/ 522396 h 2976069"/>
              <a:gd name="connsiteX317" fmla="*/ 439209 w 3564335"/>
              <a:gd name="connsiteY317" fmla="*/ 522396 h 2976069"/>
              <a:gd name="connsiteX318" fmla="*/ 440116 w 3564335"/>
              <a:gd name="connsiteY318" fmla="*/ 521640 h 2976069"/>
              <a:gd name="connsiteX319" fmla="*/ 581035 w 3564335"/>
              <a:gd name="connsiteY319" fmla="*/ 405216 h 2976069"/>
              <a:gd name="connsiteX320" fmla="*/ 694283 w 3564335"/>
              <a:gd name="connsiteY320" fmla="*/ 265507 h 2976069"/>
              <a:gd name="connsiteX321" fmla="*/ 814185 w 3564335"/>
              <a:gd name="connsiteY321" fmla="*/ 122623 h 2976069"/>
              <a:gd name="connsiteX322" fmla="*/ 824769 w 3564335"/>
              <a:gd name="connsiteY322" fmla="*/ 113400 h 2976069"/>
              <a:gd name="connsiteX323" fmla="*/ 825374 w 3564335"/>
              <a:gd name="connsiteY323" fmla="*/ 107957 h 2976069"/>
              <a:gd name="connsiteX324" fmla="*/ 598725 w 3564335"/>
              <a:gd name="connsiteY324" fmla="*/ 217577 h 2976069"/>
              <a:gd name="connsiteX325" fmla="*/ 437546 w 3564335"/>
              <a:gd name="connsiteY325" fmla="*/ 521338 h 2976069"/>
              <a:gd name="connsiteX326" fmla="*/ 437395 w 3564335"/>
              <a:gd name="connsiteY326" fmla="*/ 522396 h 2976069"/>
              <a:gd name="connsiteX327" fmla="*/ 1750718 w 3564335"/>
              <a:gd name="connsiteY327" fmla="*/ 1537099 h 2976069"/>
              <a:gd name="connsiteX328" fmla="*/ 1731213 w 3564335"/>
              <a:gd name="connsiteY328" fmla="*/ 1538611 h 2976069"/>
              <a:gd name="connsiteX329" fmla="*/ 1750718 w 3564335"/>
              <a:gd name="connsiteY329" fmla="*/ 1537099 h 2976069"/>
              <a:gd name="connsiteX330" fmla="*/ 1999291 w 3564335"/>
              <a:gd name="connsiteY330" fmla="*/ 962388 h 2976069"/>
              <a:gd name="connsiteX331" fmla="*/ 1959979 w 3564335"/>
              <a:gd name="connsiteY331" fmla="*/ 1009260 h 2976069"/>
              <a:gd name="connsiteX332" fmla="*/ 1999291 w 3564335"/>
              <a:gd name="connsiteY332" fmla="*/ 962388 h 2976069"/>
              <a:gd name="connsiteX333" fmla="*/ 2007154 w 3564335"/>
              <a:gd name="connsiteY333" fmla="*/ 954526 h 2976069"/>
              <a:gd name="connsiteX334" fmla="*/ 2032253 w 3564335"/>
              <a:gd name="connsiteY334" fmla="*/ 940766 h 2976069"/>
              <a:gd name="connsiteX335" fmla="*/ 1998838 w 3564335"/>
              <a:gd name="connsiteY335" fmla="*/ 932148 h 2976069"/>
              <a:gd name="connsiteX336" fmla="*/ 2007154 w 3564335"/>
              <a:gd name="connsiteY336" fmla="*/ 954526 h 2976069"/>
              <a:gd name="connsiteX337" fmla="*/ 2444878 w 3564335"/>
              <a:gd name="connsiteY337" fmla="*/ 1338271 h 2976069"/>
              <a:gd name="connsiteX338" fmla="*/ 2424617 w 3564335"/>
              <a:gd name="connsiteY338" fmla="*/ 1355508 h 2976069"/>
              <a:gd name="connsiteX339" fmla="*/ 2445634 w 3564335"/>
              <a:gd name="connsiteY339" fmla="*/ 1360346 h 2976069"/>
              <a:gd name="connsiteX340" fmla="*/ 2444878 w 3564335"/>
              <a:gd name="connsiteY340" fmla="*/ 1338271 h 2976069"/>
              <a:gd name="connsiteX341" fmla="*/ 2286269 w 3564335"/>
              <a:gd name="connsiteY341" fmla="*/ 925042 h 2976069"/>
              <a:gd name="connsiteX342" fmla="*/ 2283396 w 3564335"/>
              <a:gd name="connsiteY342" fmla="*/ 940918 h 2976069"/>
              <a:gd name="connsiteX343" fmla="*/ 2307286 w 3564335"/>
              <a:gd name="connsiteY343" fmla="*/ 937289 h 2976069"/>
              <a:gd name="connsiteX344" fmla="*/ 2319987 w 3564335"/>
              <a:gd name="connsiteY344" fmla="*/ 918086 h 2976069"/>
              <a:gd name="connsiteX345" fmla="*/ 2312427 w 3564335"/>
              <a:gd name="connsiteY345" fmla="*/ 888451 h 2976069"/>
              <a:gd name="connsiteX346" fmla="*/ 2336165 w 3564335"/>
              <a:gd name="connsiteY346" fmla="*/ 889359 h 2976069"/>
              <a:gd name="connsiteX347" fmla="*/ 2345086 w 3564335"/>
              <a:gd name="connsiteY347" fmla="*/ 872122 h 2976069"/>
              <a:gd name="connsiteX348" fmla="*/ 2328000 w 3564335"/>
              <a:gd name="connsiteY348" fmla="*/ 846266 h 2976069"/>
              <a:gd name="connsiteX349" fmla="*/ 2300784 w 3564335"/>
              <a:gd name="connsiteY349" fmla="*/ 873785 h 2976069"/>
              <a:gd name="connsiteX350" fmla="*/ 2300935 w 3564335"/>
              <a:gd name="connsiteY350" fmla="*/ 895709 h 2976069"/>
              <a:gd name="connsiteX351" fmla="*/ 2286118 w 3564335"/>
              <a:gd name="connsiteY351" fmla="*/ 925344 h 2976069"/>
              <a:gd name="connsiteX352" fmla="*/ 2501276 w 3564335"/>
              <a:gd name="connsiteY352" fmla="*/ 926856 h 2976069"/>
              <a:gd name="connsiteX353" fmla="*/ 2520024 w 3564335"/>
              <a:gd name="connsiteY353" fmla="*/ 985673 h 2976069"/>
              <a:gd name="connsiteX354" fmla="*/ 2534388 w 3564335"/>
              <a:gd name="connsiteY354" fmla="*/ 1027404 h 2976069"/>
              <a:gd name="connsiteX355" fmla="*/ 2538319 w 3564335"/>
              <a:gd name="connsiteY355" fmla="*/ 996257 h 2976069"/>
              <a:gd name="connsiteX356" fmla="*/ 2521083 w 3564335"/>
              <a:gd name="connsiteY356" fmla="*/ 925798 h 2976069"/>
              <a:gd name="connsiteX357" fmla="*/ 2489784 w 3564335"/>
              <a:gd name="connsiteY357" fmla="*/ 867283 h 2976069"/>
              <a:gd name="connsiteX358" fmla="*/ 2502031 w 3564335"/>
              <a:gd name="connsiteY358" fmla="*/ 911282 h 2976069"/>
              <a:gd name="connsiteX359" fmla="*/ 2501124 w 3564335"/>
              <a:gd name="connsiteY359" fmla="*/ 926856 h 2976069"/>
              <a:gd name="connsiteX360" fmla="*/ 2387724 w 3564335"/>
              <a:gd name="connsiteY360" fmla="*/ 372557 h 2976069"/>
              <a:gd name="connsiteX361" fmla="*/ 2380315 w 3564335"/>
              <a:gd name="connsiteY361" fmla="*/ 342166 h 2976069"/>
              <a:gd name="connsiteX362" fmla="*/ 2344934 w 3564335"/>
              <a:gd name="connsiteY362" fmla="*/ 341863 h 2976069"/>
              <a:gd name="connsiteX363" fmla="*/ 2387724 w 3564335"/>
              <a:gd name="connsiteY363" fmla="*/ 372557 h 2976069"/>
              <a:gd name="connsiteX364" fmla="*/ 1898441 w 3564335"/>
              <a:gd name="connsiteY364" fmla="*/ 232092 h 2976069"/>
              <a:gd name="connsiteX365" fmla="*/ 1877877 w 3564335"/>
              <a:gd name="connsiteY365" fmla="*/ 186581 h 2976069"/>
              <a:gd name="connsiteX366" fmla="*/ 1824201 w 3564335"/>
              <a:gd name="connsiteY366" fmla="*/ 197165 h 2976069"/>
              <a:gd name="connsiteX367" fmla="*/ 1854744 w 3564335"/>
              <a:gd name="connsiteY367" fmla="*/ 214855 h 2976069"/>
              <a:gd name="connsiteX368" fmla="*/ 1901918 w 3564335"/>
              <a:gd name="connsiteY368" fmla="*/ 240408 h 2976069"/>
              <a:gd name="connsiteX369" fmla="*/ 1898441 w 3564335"/>
              <a:gd name="connsiteY369" fmla="*/ 232092 h 2976069"/>
              <a:gd name="connsiteX370" fmla="*/ 2028019 w 3564335"/>
              <a:gd name="connsiteY370" fmla="*/ 166925 h 2976069"/>
              <a:gd name="connsiteX371" fmla="*/ 1894056 w 3564335"/>
              <a:gd name="connsiteY371" fmla="*/ 182499 h 2976069"/>
              <a:gd name="connsiteX372" fmla="*/ 1972075 w 3564335"/>
              <a:gd name="connsiteY372" fmla="*/ 182499 h 2976069"/>
              <a:gd name="connsiteX373" fmla="*/ 2028019 w 3564335"/>
              <a:gd name="connsiteY373" fmla="*/ 166774 h 2976069"/>
              <a:gd name="connsiteX374" fmla="*/ 1711709 w 3564335"/>
              <a:gd name="connsiteY374" fmla="*/ 1424758 h 2976069"/>
              <a:gd name="connsiteX375" fmla="*/ 1703241 w 3564335"/>
              <a:gd name="connsiteY375" fmla="*/ 1425211 h 2976069"/>
              <a:gd name="connsiteX376" fmla="*/ 1705207 w 3564335"/>
              <a:gd name="connsiteY376" fmla="*/ 1441390 h 2976069"/>
              <a:gd name="connsiteX377" fmla="*/ 1731970 w 3564335"/>
              <a:gd name="connsiteY377" fmla="*/ 1441692 h 2976069"/>
              <a:gd name="connsiteX378" fmla="*/ 1730457 w 3564335"/>
              <a:gd name="connsiteY378" fmla="*/ 1427782 h 2976069"/>
              <a:gd name="connsiteX379" fmla="*/ 1711709 w 3564335"/>
              <a:gd name="connsiteY379" fmla="*/ 1424758 h 2976069"/>
              <a:gd name="connsiteX380" fmla="*/ 1670129 w 3564335"/>
              <a:gd name="connsiteY380" fmla="*/ 1209751 h 2976069"/>
              <a:gd name="connsiteX381" fmla="*/ 1683888 w 3564335"/>
              <a:gd name="connsiteY381" fmla="*/ 1203250 h 2976069"/>
              <a:gd name="connsiteX382" fmla="*/ 1693867 w 3564335"/>
              <a:gd name="connsiteY382" fmla="*/ 1210054 h 2976069"/>
              <a:gd name="connsiteX383" fmla="*/ 1683434 w 3564335"/>
              <a:gd name="connsiteY383" fmla="*/ 1186920 h 2976069"/>
              <a:gd name="connsiteX384" fmla="*/ 1670129 w 3564335"/>
              <a:gd name="connsiteY384" fmla="*/ 1209751 h 2976069"/>
              <a:gd name="connsiteX385" fmla="*/ 1707475 w 3564335"/>
              <a:gd name="connsiteY385" fmla="*/ 1233641 h 2976069"/>
              <a:gd name="connsiteX386" fmla="*/ 1682225 w 3564335"/>
              <a:gd name="connsiteY386" fmla="*/ 1240445 h 2976069"/>
              <a:gd name="connsiteX387" fmla="*/ 1671187 w 3564335"/>
              <a:gd name="connsiteY387" fmla="*/ 1219882 h 2976069"/>
              <a:gd name="connsiteX388" fmla="*/ 1655765 w 3564335"/>
              <a:gd name="connsiteY388" fmla="*/ 1242108 h 2976069"/>
              <a:gd name="connsiteX389" fmla="*/ 1662871 w 3564335"/>
              <a:gd name="connsiteY389" fmla="*/ 1263125 h 2976069"/>
              <a:gd name="connsiteX390" fmla="*/ 1724712 w 3564335"/>
              <a:gd name="connsiteY390" fmla="*/ 1271290 h 2976069"/>
              <a:gd name="connsiteX391" fmla="*/ 1707475 w 3564335"/>
              <a:gd name="connsiteY391" fmla="*/ 1233490 h 2976069"/>
              <a:gd name="connsiteX392" fmla="*/ 1507740 w 3564335"/>
              <a:gd name="connsiteY392" fmla="*/ 1448950 h 2976069"/>
              <a:gd name="connsiteX393" fmla="*/ 1513788 w 3564335"/>
              <a:gd name="connsiteY393" fmla="*/ 1419768 h 2976069"/>
              <a:gd name="connsiteX394" fmla="*/ 1490957 w 3564335"/>
              <a:gd name="connsiteY394" fmla="*/ 1421885 h 2976069"/>
              <a:gd name="connsiteX395" fmla="*/ 1507589 w 3564335"/>
              <a:gd name="connsiteY395" fmla="*/ 1448950 h 2976069"/>
              <a:gd name="connsiteX396" fmla="*/ 1245861 w 3564335"/>
              <a:gd name="connsiteY396" fmla="*/ 1446984 h 2976069"/>
              <a:gd name="connsiteX397" fmla="*/ 1240116 w 3564335"/>
              <a:gd name="connsiteY397" fmla="*/ 1409184 h 2976069"/>
              <a:gd name="connsiteX398" fmla="*/ 1230741 w 3564335"/>
              <a:gd name="connsiteY398" fmla="*/ 1412813 h 2976069"/>
              <a:gd name="connsiteX399" fmla="*/ 1223635 w 3564335"/>
              <a:gd name="connsiteY399" fmla="*/ 1401019 h 2976069"/>
              <a:gd name="connsiteX400" fmla="*/ 1229532 w 3564335"/>
              <a:gd name="connsiteY400" fmla="*/ 1432015 h 2976069"/>
              <a:gd name="connsiteX401" fmla="*/ 1246013 w 3564335"/>
              <a:gd name="connsiteY401" fmla="*/ 1446984 h 2976069"/>
              <a:gd name="connsiteX402" fmla="*/ 1239511 w 3564335"/>
              <a:gd name="connsiteY402" fmla="*/ 1387109 h 2976069"/>
              <a:gd name="connsiteX403" fmla="*/ 1248432 w 3564335"/>
              <a:gd name="connsiteY403" fmla="*/ 1327536 h 2976069"/>
              <a:gd name="connsiteX404" fmla="*/ 1236638 w 3564335"/>
              <a:gd name="connsiteY404" fmla="*/ 1298203 h 2976069"/>
              <a:gd name="connsiteX405" fmla="*/ 1238453 w 3564335"/>
              <a:gd name="connsiteY405" fmla="*/ 1324210 h 2976069"/>
              <a:gd name="connsiteX406" fmla="*/ 1228473 w 3564335"/>
              <a:gd name="connsiteY406" fmla="*/ 1373199 h 2976069"/>
              <a:gd name="connsiteX407" fmla="*/ 1239511 w 3564335"/>
              <a:gd name="connsiteY407" fmla="*/ 1387109 h 2976069"/>
              <a:gd name="connsiteX408" fmla="*/ 540513 w 3564335"/>
              <a:gd name="connsiteY408" fmla="*/ 1242108 h 2976069"/>
              <a:gd name="connsiteX409" fmla="*/ 904149 w 3564335"/>
              <a:gd name="connsiteY409" fmla="*/ 363636 h 2976069"/>
              <a:gd name="connsiteX410" fmla="*/ 1782621 w 3564335"/>
              <a:gd name="connsiteY410" fmla="*/ 0 h 2976069"/>
              <a:gd name="connsiteX411" fmla="*/ 2661094 w 3564335"/>
              <a:gd name="connsiteY411" fmla="*/ 363636 h 2976069"/>
              <a:gd name="connsiteX412" fmla="*/ 3024730 w 3564335"/>
              <a:gd name="connsiteY412" fmla="*/ 1242108 h 2976069"/>
              <a:gd name="connsiteX413" fmla="*/ 2661094 w 3564335"/>
              <a:gd name="connsiteY413" fmla="*/ 2120580 h 2976069"/>
              <a:gd name="connsiteX414" fmla="*/ 1782621 w 3564335"/>
              <a:gd name="connsiteY414" fmla="*/ 2484216 h 2976069"/>
              <a:gd name="connsiteX415" fmla="*/ 904149 w 3564335"/>
              <a:gd name="connsiteY415" fmla="*/ 2120580 h 2976069"/>
              <a:gd name="connsiteX416" fmla="*/ 540513 w 3564335"/>
              <a:gd name="connsiteY416" fmla="*/ 1242108 h 2976069"/>
              <a:gd name="connsiteX417" fmla="*/ 923049 w 3564335"/>
              <a:gd name="connsiteY417" fmla="*/ 2064031 h 2976069"/>
              <a:gd name="connsiteX418" fmla="*/ 1058071 w 3564335"/>
              <a:gd name="connsiteY418" fmla="*/ 1929010 h 2976069"/>
              <a:gd name="connsiteX419" fmla="*/ 983378 w 3564335"/>
              <a:gd name="connsiteY419" fmla="*/ 1840558 h 2976069"/>
              <a:gd name="connsiteX420" fmla="*/ 954952 w 3564335"/>
              <a:gd name="connsiteY420" fmla="*/ 1821506 h 2976069"/>
              <a:gd name="connsiteX421" fmla="*/ 931819 w 3564335"/>
              <a:gd name="connsiteY421" fmla="*/ 1785975 h 2976069"/>
              <a:gd name="connsiteX422" fmla="*/ 919118 w 3564335"/>
              <a:gd name="connsiteY422" fmla="*/ 1801095 h 2976069"/>
              <a:gd name="connsiteX423" fmla="*/ 869524 w 3564335"/>
              <a:gd name="connsiteY423" fmla="*/ 1746814 h 2976069"/>
              <a:gd name="connsiteX424" fmla="*/ 832027 w 3564335"/>
              <a:gd name="connsiteY424" fmla="*/ 1712038 h 2976069"/>
              <a:gd name="connsiteX425" fmla="*/ 817814 w 3564335"/>
              <a:gd name="connsiteY425" fmla="*/ 1701151 h 2976069"/>
              <a:gd name="connsiteX426" fmla="*/ 768674 w 3564335"/>
              <a:gd name="connsiteY426" fmla="*/ 1671970 h 2976069"/>
              <a:gd name="connsiteX427" fmla="*/ 762928 w 3564335"/>
              <a:gd name="connsiteY427" fmla="*/ 1689206 h 2976069"/>
              <a:gd name="connsiteX428" fmla="*/ 717115 w 3564335"/>
              <a:gd name="connsiteY428" fmla="*/ 1657606 h 2976069"/>
              <a:gd name="connsiteX429" fmla="*/ 705019 w 3564335"/>
              <a:gd name="connsiteY429" fmla="*/ 1679227 h 2976069"/>
              <a:gd name="connsiteX430" fmla="*/ 714242 w 3564335"/>
              <a:gd name="connsiteY430" fmla="*/ 1725192 h 2976069"/>
              <a:gd name="connsiteX431" fmla="*/ 676442 w 3564335"/>
              <a:gd name="connsiteY431" fmla="*/ 1625854 h 2976069"/>
              <a:gd name="connsiteX432" fmla="*/ 685816 w 3564335"/>
              <a:gd name="connsiteY432" fmla="*/ 1627215 h 2976069"/>
              <a:gd name="connsiteX433" fmla="*/ 679466 w 3564335"/>
              <a:gd name="connsiteY433" fmla="*/ 1606500 h 2976069"/>
              <a:gd name="connsiteX434" fmla="*/ 666311 w 3564335"/>
              <a:gd name="connsiteY434" fmla="*/ 1582762 h 2976069"/>
              <a:gd name="connsiteX435" fmla="*/ 682792 w 3564335"/>
              <a:gd name="connsiteY435" fmla="*/ 1568700 h 2976069"/>
              <a:gd name="connsiteX436" fmla="*/ 689143 w 3564335"/>
              <a:gd name="connsiteY436" fmla="*/ 1551615 h 2976069"/>
              <a:gd name="connsiteX437" fmla="*/ 711369 w 3564335"/>
              <a:gd name="connsiteY437" fmla="*/ 1534680 h 2976069"/>
              <a:gd name="connsiteX438" fmla="*/ 722860 w 3564335"/>
              <a:gd name="connsiteY438" fmla="*/ 1544508 h 2976069"/>
              <a:gd name="connsiteX439" fmla="*/ 758695 w 3564335"/>
              <a:gd name="connsiteY439" fmla="*/ 1551615 h 2976069"/>
              <a:gd name="connsiteX440" fmla="*/ 745540 w 3564335"/>
              <a:gd name="connsiteY440" fmla="*/ 1541484 h 2976069"/>
              <a:gd name="connsiteX441" fmla="*/ 775629 w 3564335"/>
              <a:gd name="connsiteY441" fmla="*/ 1542089 h 2976069"/>
              <a:gd name="connsiteX442" fmla="*/ 802694 w 3564335"/>
              <a:gd name="connsiteY442" fmla="*/ 1540275 h 2976069"/>
              <a:gd name="connsiteX443" fmla="*/ 832783 w 3564335"/>
              <a:gd name="connsiteY443" fmla="*/ 1551917 h 2976069"/>
              <a:gd name="connsiteX444" fmla="*/ 783794 w 3564335"/>
              <a:gd name="connsiteY444" fmla="*/ 1268266 h 2976069"/>
              <a:gd name="connsiteX445" fmla="*/ 593736 w 3564335"/>
              <a:gd name="connsiteY445" fmla="*/ 1268266 h 2976069"/>
              <a:gd name="connsiteX446" fmla="*/ 922898 w 3564335"/>
              <a:gd name="connsiteY446" fmla="*/ 2063729 h 2976069"/>
              <a:gd name="connsiteX447" fmla="*/ 1707173 w 3564335"/>
              <a:gd name="connsiteY447" fmla="*/ 962993 h 2976069"/>
              <a:gd name="connsiteX448" fmla="*/ 1687668 w 3564335"/>
              <a:gd name="connsiteY448" fmla="*/ 989755 h 2976069"/>
              <a:gd name="connsiteX449" fmla="*/ 1756010 w 3564335"/>
              <a:gd name="connsiteY449" fmla="*/ 973879 h 2976069"/>
              <a:gd name="connsiteX450" fmla="*/ 1756010 w 3564335"/>
              <a:gd name="connsiteY450" fmla="*/ 783367 h 2976069"/>
              <a:gd name="connsiteX451" fmla="*/ 1477046 w 3564335"/>
              <a:gd name="connsiteY451" fmla="*/ 899186 h 2976069"/>
              <a:gd name="connsiteX452" fmla="*/ 1611614 w 3564335"/>
              <a:gd name="connsiteY452" fmla="*/ 1033755 h 2976069"/>
              <a:gd name="connsiteX453" fmla="*/ 1661964 w 3564335"/>
              <a:gd name="connsiteY453" fmla="*/ 1000944 h 2976069"/>
              <a:gd name="connsiteX454" fmla="*/ 1676177 w 3564335"/>
              <a:gd name="connsiteY454" fmla="*/ 994442 h 2976069"/>
              <a:gd name="connsiteX455" fmla="*/ 1707173 w 3564335"/>
              <a:gd name="connsiteY455" fmla="*/ 963144 h 2976069"/>
              <a:gd name="connsiteX456" fmla="*/ 1237394 w 3564335"/>
              <a:gd name="connsiteY456" fmla="*/ 1673482 h 2976069"/>
              <a:gd name="connsiteX457" fmla="*/ 1236487 w 3564335"/>
              <a:gd name="connsiteY457" fmla="*/ 1684519 h 2976069"/>
              <a:gd name="connsiteX458" fmla="*/ 1267029 w 3564335"/>
              <a:gd name="connsiteY458" fmla="*/ 1720051 h 2976069"/>
              <a:gd name="connsiteX459" fmla="*/ 1401749 w 3564335"/>
              <a:gd name="connsiteY459" fmla="*/ 1585332 h 2976069"/>
              <a:gd name="connsiteX460" fmla="*/ 1277311 w 3564335"/>
              <a:gd name="connsiteY460" fmla="*/ 1329955 h 2976069"/>
              <a:gd name="connsiteX461" fmla="*/ 1267483 w 3564335"/>
              <a:gd name="connsiteY461" fmla="*/ 1326629 h 2976069"/>
              <a:gd name="connsiteX462" fmla="*/ 1274589 w 3564335"/>
              <a:gd name="connsiteY462" fmla="*/ 1312265 h 2976069"/>
              <a:gd name="connsiteX463" fmla="*/ 1270507 w 3564335"/>
              <a:gd name="connsiteY463" fmla="*/ 1268870 h 2976069"/>
              <a:gd name="connsiteX464" fmla="*/ 1180845 w 3564335"/>
              <a:gd name="connsiteY464" fmla="*/ 1268870 h 2976069"/>
              <a:gd name="connsiteX465" fmla="*/ 1178124 w 3564335"/>
              <a:gd name="connsiteY465" fmla="*/ 1310904 h 2976069"/>
              <a:gd name="connsiteX466" fmla="*/ 1152420 w 3564335"/>
              <a:gd name="connsiteY466" fmla="*/ 1311811 h 2976069"/>
              <a:gd name="connsiteX467" fmla="*/ 1135788 w 3564335"/>
              <a:gd name="connsiteY467" fmla="*/ 1349006 h 2976069"/>
              <a:gd name="connsiteX468" fmla="*/ 1141231 w 3564335"/>
              <a:gd name="connsiteY468" fmla="*/ 1376071 h 2976069"/>
              <a:gd name="connsiteX469" fmla="*/ 1149698 w 3564335"/>
              <a:gd name="connsiteY469" fmla="*/ 1401322 h 2976069"/>
              <a:gd name="connsiteX470" fmla="*/ 1184323 w 3564335"/>
              <a:gd name="connsiteY470" fmla="*/ 1442146 h 2976069"/>
              <a:gd name="connsiteX471" fmla="*/ 1167237 w 3564335"/>
              <a:gd name="connsiteY471" fmla="*/ 1447740 h 2976069"/>
              <a:gd name="connsiteX472" fmla="*/ 1186440 w 3564335"/>
              <a:gd name="connsiteY472" fmla="*/ 1469664 h 2976069"/>
              <a:gd name="connsiteX473" fmla="*/ 1193244 w 3564335"/>
              <a:gd name="connsiteY473" fmla="*/ 1508371 h 2976069"/>
              <a:gd name="connsiteX474" fmla="*/ 1210178 w 3564335"/>
              <a:gd name="connsiteY474" fmla="*/ 1563710 h 2976069"/>
              <a:gd name="connsiteX475" fmla="*/ 1214412 w 3564335"/>
              <a:gd name="connsiteY475" fmla="*/ 1620108 h 2976069"/>
              <a:gd name="connsiteX476" fmla="*/ 1237545 w 3564335"/>
              <a:gd name="connsiteY476" fmla="*/ 1673935 h 2976069"/>
              <a:gd name="connsiteX477" fmla="*/ 1125355 w 3564335"/>
              <a:gd name="connsiteY477" fmla="*/ 1352786 h 2976069"/>
              <a:gd name="connsiteX478" fmla="*/ 1135485 w 3564335"/>
              <a:gd name="connsiteY478" fmla="*/ 1296843 h 2976069"/>
              <a:gd name="connsiteX479" fmla="*/ 1160131 w 3564335"/>
              <a:gd name="connsiteY479" fmla="*/ 1268568 h 2976069"/>
              <a:gd name="connsiteX480" fmla="*/ 1080297 w 3564335"/>
              <a:gd name="connsiteY480" fmla="*/ 1268568 h 2976069"/>
              <a:gd name="connsiteX481" fmla="*/ 1095720 w 3564335"/>
              <a:gd name="connsiteY481" fmla="*/ 1391494 h 2976069"/>
              <a:gd name="connsiteX482" fmla="*/ 1125355 w 3564335"/>
              <a:gd name="connsiteY482" fmla="*/ 1352635 h 2976069"/>
              <a:gd name="connsiteX483" fmla="*/ 1075308 w 3564335"/>
              <a:gd name="connsiteY483" fmla="*/ 1866262 h 2976069"/>
              <a:gd name="connsiteX484" fmla="*/ 1073342 w 3564335"/>
              <a:gd name="connsiteY484" fmla="*/ 1867018 h 2976069"/>
              <a:gd name="connsiteX485" fmla="*/ 1095569 w 3564335"/>
              <a:gd name="connsiteY485" fmla="*/ 1891361 h 2976069"/>
              <a:gd name="connsiteX486" fmla="*/ 1110840 w 3564335"/>
              <a:gd name="connsiteY486" fmla="*/ 1876090 h 2976069"/>
              <a:gd name="connsiteX487" fmla="*/ 1075308 w 3564335"/>
              <a:gd name="connsiteY487" fmla="*/ 1866110 h 2976069"/>
              <a:gd name="connsiteX488" fmla="*/ 1401900 w 3564335"/>
              <a:gd name="connsiteY488" fmla="*/ 898884 h 2976069"/>
              <a:gd name="connsiteX489" fmla="*/ 1267483 w 3564335"/>
              <a:gd name="connsiteY489" fmla="*/ 764467 h 2976069"/>
              <a:gd name="connsiteX490" fmla="*/ 1080297 w 3564335"/>
              <a:gd name="connsiteY490" fmla="*/ 1215497 h 2976069"/>
              <a:gd name="connsiteX491" fmla="*/ 1174495 w 3564335"/>
              <a:gd name="connsiteY491" fmla="*/ 1215497 h 2976069"/>
              <a:gd name="connsiteX492" fmla="*/ 1190220 w 3564335"/>
              <a:gd name="connsiteY492" fmla="*/ 1156075 h 2976069"/>
              <a:gd name="connsiteX493" fmla="*/ 1211388 w 3564335"/>
              <a:gd name="connsiteY493" fmla="*/ 1116461 h 2976069"/>
              <a:gd name="connsiteX494" fmla="*/ 1240720 w 3564335"/>
              <a:gd name="connsiteY494" fmla="*/ 1092723 h 2976069"/>
              <a:gd name="connsiteX495" fmla="*/ 1298479 w 3564335"/>
              <a:gd name="connsiteY495" fmla="*/ 1067623 h 2976069"/>
              <a:gd name="connsiteX496" fmla="*/ 1348526 w 3564335"/>
              <a:gd name="connsiteY496" fmla="*/ 1043280 h 2976069"/>
              <a:gd name="connsiteX497" fmla="*/ 1275194 w 3564335"/>
              <a:gd name="connsiteY497" fmla="*/ 1058098 h 2976069"/>
              <a:gd name="connsiteX498" fmla="*/ 1307249 w 3564335"/>
              <a:gd name="connsiteY498" fmla="*/ 1040559 h 2976069"/>
              <a:gd name="connsiteX499" fmla="*/ 1313145 w 3564335"/>
              <a:gd name="connsiteY499" fmla="*/ 1036476 h 2976069"/>
              <a:gd name="connsiteX500" fmla="*/ 1401900 w 3564335"/>
              <a:gd name="connsiteY500" fmla="*/ 899186 h 2976069"/>
              <a:gd name="connsiteX501" fmla="*/ 1377708 w 3564335"/>
              <a:gd name="connsiteY501" fmla="*/ 1024682 h 2976069"/>
              <a:gd name="connsiteX502" fmla="*/ 1383302 w 3564335"/>
              <a:gd name="connsiteY502" fmla="*/ 1021961 h 2976069"/>
              <a:gd name="connsiteX503" fmla="*/ 1449528 w 3564335"/>
              <a:gd name="connsiteY503" fmla="*/ 1016971 h 2976069"/>
              <a:gd name="connsiteX504" fmla="*/ 1497156 w 3564335"/>
              <a:gd name="connsiteY504" fmla="*/ 1050084 h 2976069"/>
              <a:gd name="connsiteX505" fmla="*/ 1522860 w 3564335"/>
              <a:gd name="connsiteY505" fmla="*/ 1044339 h 2976069"/>
              <a:gd name="connsiteX506" fmla="*/ 1544481 w 3564335"/>
              <a:gd name="connsiteY506" fmla="*/ 1052957 h 2976069"/>
              <a:gd name="connsiteX507" fmla="*/ 1556577 w 3564335"/>
              <a:gd name="connsiteY507" fmla="*/ 1053562 h 2976069"/>
              <a:gd name="connsiteX508" fmla="*/ 1439397 w 3564335"/>
              <a:gd name="connsiteY508" fmla="*/ 936382 h 2976069"/>
              <a:gd name="connsiteX509" fmla="*/ 1377557 w 3564335"/>
              <a:gd name="connsiteY509" fmla="*/ 1024531 h 2976069"/>
              <a:gd name="connsiteX510" fmla="*/ 1245861 w 3564335"/>
              <a:gd name="connsiteY510" fmla="*/ 1169381 h 2976069"/>
              <a:gd name="connsiteX511" fmla="*/ 1207910 w 3564335"/>
              <a:gd name="connsiteY511" fmla="*/ 1186920 h 2976069"/>
              <a:gd name="connsiteX512" fmla="*/ 1202618 w 3564335"/>
              <a:gd name="connsiteY512" fmla="*/ 1215346 h 2976069"/>
              <a:gd name="connsiteX513" fmla="*/ 1270658 w 3564335"/>
              <a:gd name="connsiteY513" fmla="*/ 1215346 h 2976069"/>
              <a:gd name="connsiteX514" fmla="*/ 1274136 w 3564335"/>
              <a:gd name="connsiteY514" fmla="*/ 1177243 h 2976069"/>
              <a:gd name="connsiteX515" fmla="*/ 1246013 w 3564335"/>
              <a:gd name="connsiteY515" fmla="*/ 1169381 h 2976069"/>
              <a:gd name="connsiteX516" fmla="*/ 1439700 w 3564335"/>
              <a:gd name="connsiteY516" fmla="*/ 1547532 h 2976069"/>
              <a:gd name="connsiteX517" fmla="*/ 1574268 w 3564335"/>
              <a:gd name="connsiteY517" fmla="*/ 1412813 h 2976069"/>
              <a:gd name="connsiteX518" fmla="*/ 1545389 w 3564335"/>
              <a:gd name="connsiteY518" fmla="*/ 1369721 h 2976069"/>
              <a:gd name="connsiteX519" fmla="*/ 1545389 w 3564335"/>
              <a:gd name="connsiteY519" fmla="*/ 1369721 h 2976069"/>
              <a:gd name="connsiteX520" fmla="*/ 1540399 w 3564335"/>
              <a:gd name="connsiteY520" fmla="*/ 1376979 h 2976069"/>
              <a:gd name="connsiteX521" fmla="*/ 1532839 w 3564335"/>
              <a:gd name="connsiteY521" fmla="*/ 1411603 h 2976069"/>
              <a:gd name="connsiteX522" fmla="*/ 1484153 w 3564335"/>
              <a:gd name="connsiteY522" fmla="*/ 1384236 h 2976069"/>
              <a:gd name="connsiteX523" fmla="*/ 1466462 w 3564335"/>
              <a:gd name="connsiteY523" fmla="*/ 1397995 h 2976069"/>
              <a:gd name="connsiteX524" fmla="*/ 1461624 w 3564335"/>
              <a:gd name="connsiteY524" fmla="*/ 1413266 h 2976069"/>
              <a:gd name="connsiteX525" fmla="*/ 1444689 w 3564335"/>
              <a:gd name="connsiteY525" fmla="*/ 1394971 h 2976069"/>
              <a:gd name="connsiteX526" fmla="*/ 1436524 w 3564335"/>
              <a:gd name="connsiteY526" fmla="*/ 1376525 h 2976069"/>
              <a:gd name="connsiteX527" fmla="*/ 1407797 w 3564335"/>
              <a:gd name="connsiteY527" fmla="*/ 1367150 h 2976069"/>
              <a:gd name="connsiteX528" fmla="*/ 1384058 w 3564335"/>
              <a:gd name="connsiteY528" fmla="*/ 1349460 h 2976069"/>
              <a:gd name="connsiteX529" fmla="*/ 1359413 w 3564335"/>
              <a:gd name="connsiteY529" fmla="*/ 1347646 h 2976069"/>
              <a:gd name="connsiteX530" fmla="*/ 1340210 w 3564335"/>
              <a:gd name="connsiteY530" fmla="*/ 1338876 h 2976069"/>
              <a:gd name="connsiteX531" fmla="*/ 1331592 w 3564335"/>
              <a:gd name="connsiteY531" fmla="*/ 1329804 h 2976069"/>
              <a:gd name="connsiteX532" fmla="*/ 1439700 w 3564335"/>
              <a:gd name="connsiteY532" fmla="*/ 1547532 h 2976069"/>
              <a:gd name="connsiteX533" fmla="*/ 1574419 w 3564335"/>
              <a:gd name="connsiteY533" fmla="*/ 1314986 h 2976069"/>
              <a:gd name="connsiteX534" fmla="*/ 1574721 w 3564335"/>
              <a:gd name="connsiteY534" fmla="*/ 1311358 h 2976069"/>
              <a:gd name="connsiteX535" fmla="*/ 1574721 w 3564335"/>
              <a:gd name="connsiteY535" fmla="*/ 1310450 h 2976069"/>
              <a:gd name="connsiteX536" fmla="*/ 1575024 w 3564335"/>
              <a:gd name="connsiteY536" fmla="*/ 1307729 h 2976069"/>
              <a:gd name="connsiteX537" fmla="*/ 1575175 w 3564335"/>
              <a:gd name="connsiteY537" fmla="*/ 1306519 h 2976069"/>
              <a:gd name="connsiteX538" fmla="*/ 1575477 w 3564335"/>
              <a:gd name="connsiteY538" fmla="*/ 1304705 h 2976069"/>
              <a:gd name="connsiteX539" fmla="*/ 1575629 w 3564335"/>
              <a:gd name="connsiteY539" fmla="*/ 1303798 h 2976069"/>
              <a:gd name="connsiteX540" fmla="*/ 1575780 w 3564335"/>
              <a:gd name="connsiteY540" fmla="*/ 1302739 h 2976069"/>
              <a:gd name="connsiteX541" fmla="*/ 1576536 w 3564335"/>
              <a:gd name="connsiteY541" fmla="*/ 1299110 h 2976069"/>
              <a:gd name="connsiteX542" fmla="*/ 1576536 w 3564335"/>
              <a:gd name="connsiteY542" fmla="*/ 1299110 h 2976069"/>
              <a:gd name="connsiteX543" fmla="*/ 1577443 w 3564335"/>
              <a:gd name="connsiteY543" fmla="*/ 1295784 h 2976069"/>
              <a:gd name="connsiteX544" fmla="*/ 1577746 w 3564335"/>
              <a:gd name="connsiteY544" fmla="*/ 1294726 h 2976069"/>
              <a:gd name="connsiteX545" fmla="*/ 1578501 w 3564335"/>
              <a:gd name="connsiteY545" fmla="*/ 1292609 h 2976069"/>
              <a:gd name="connsiteX546" fmla="*/ 1578804 w 3564335"/>
              <a:gd name="connsiteY546" fmla="*/ 1291550 h 2976069"/>
              <a:gd name="connsiteX547" fmla="*/ 1579711 w 3564335"/>
              <a:gd name="connsiteY547" fmla="*/ 1289736 h 2976069"/>
              <a:gd name="connsiteX548" fmla="*/ 1580013 w 3564335"/>
              <a:gd name="connsiteY548" fmla="*/ 1288980 h 2976069"/>
              <a:gd name="connsiteX549" fmla="*/ 1581374 w 3564335"/>
              <a:gd name="connsiteY549" fmla="*/ 1286863 h 2976069"/>
              <a:gd name="connsiteX550" fmla="*/ 1588178 w 3564335"/>
              <a:gd name="connsiteY550" fmla="*/ 1284595 h 2976069"/>
              <a:gd name="connsiteX551" fmla="*/ 1604659 w 3564335"/>
              <a:gd name="connsiteY551" fmla="*/ 1288678 h 2976069"/>
              <a:gd name="connsiteX552" fmla="*/ 1616453 w 3564335"/>
              <a:gd name="connsiteY552" fmla="*/ 1283083 h 2976069"/>
              <a:gd name="connsiteX553" fmla="*/ 1620686 w 3564335"/>
              <a:gd name="connsiteY553" fmla="*/ 1276279 h 2976069"/>
              <a:gd name="connsiteX554" fmla="*/ 1622501 w 3564335"/>
              <a:gd name="connsiteY554" fmla="*/ 1269778 h 2976069"/>
              <a:gd name="connsiteX555" fmla="*/ 1622047 w 3564335"/>
              <a:gd name="connsiteY555" fmla="*/ 1267359 h 2976069"/>
              <a:gd name="connsiteX556" fmla="*/ 1612975 w 3564335"/>
              <a:gd name="connsiteY556" fmla="*/ 1266603 h 2976069"/>
              <a:gd name="connsiteX557" fmla="*/ 1609649 w 3564335"/>
              <a:gd name="connsiteY557" fmla="*/ 1267661 h 2976069"/>
              <a:gd name="connsiteX558" fmla="*/ 1603147 w 3564335"/>
              <a:gd name="connsiteY558" fmla="*/ 1268719 h 2976069"/>
              <a:gd name="connsiteX559" fmla="*/ 1600123 w 3564335"/>
              <a:gd name="connsiteY559" fmla="*/ 1268568 h 2976069"/>
              <a:gd name="connsiteX560" fmla="*/ 1592563 w 3564335"/>
              <a:gd name="connsiteY560" fmla="*/ 1264183 h 2976069"/>
              <a:gd name="connsiteX561" fmla="*/ 1590900 w 3564335"/>
              <a:gd name="connsiteY561" fmla="*/ 1261008 h 2976069"/>
              <a:gd name="connsiteX562" fmla="*/ 1588632 w 3564335"/>
              <a:gd name="connsiteY562" fmla="*/ 1256926 h 2976069"/>
              <a:gd name="connsiteX563" fmla="*/ 1575175 w 3564335"/>
              <a:gd name="connsiteY563" fmla="*/ 1246493 h 2976069"/>
              <a:gd name="connsiteX564" fmla="*/ 1567464 w 3564335"/>
              <a:gd name="connsiteY564" fmla="*/ 1241201 h 2976069"/>
              <a:gd name="connsiteX565" fmla="*/ 1563835 w 3564335"/>
              <a:gd name="connsiteY565" fmla="*/ 1237572 h 2976069"/>
              <a:gd name="connsiteX566" fmla="*/ 1560962 w 3564335"/>
              <a:gd name="connsiteY566" fmla="*/ 1234397 h 2976069"/>
              <a:gd name="connsiteX567" fmla="*/ 1559904 w 3564335"/>
              <a:gd name="connsiteY567" fmla="*/ 1233339 h 2976069"/>
              <a:gd name="connsiteX568" fmla="*/ 1558089 w 3564335"/>
              <a:gd name="connsiteY568" fmla="*/ 1231524 h 2976069"/>
              <a:gd name="connsiteX569" fmla="*/ 1556729 w 3564335"/>
              <a:gd name="connsiteY569" fmla="*/ 1230315 h 2976069"/>
              <a:gd name="connsiteX570" fmla="*/ 1555066 w 3564335"/>
              <a:gd name="connsiteY570" fmla="*/ 1229105 h 2976069"/>
              <a:gd name="connsiteX571" fmla="*/ 1553402 w 3564335"/>
              <a:gd name="connsiteY571" fmla="*/ 1227895 h 2976069"/>
              <a:gd name="connsiteX572" fmla="*/ 1551890 w 3564335"/>
              <a:gd name="connsiteY572" fmla="*/ 1226988 h 2976069"/>
              <a:gd name="connsiteX573" fmla="*/ 1549925 w 3564335"/>
              <a:gd name="connsiteY573" fmla="*/ 1225930 h 2976069"/>
              <a:gd name="connsiteX574" fmla="*/ 1548715 w 3564335"/>
              <a:gd name="connsiteY574" fmla="*/ 1225325 h 2976069"/>
              <a:gd name="connsiteX575" fmla="*/ 1546598 w 3564335"/>
              <a:gd name="connsiteY575" fmla="*/ 1224418 h 2976069"/>
              <a:gd name="connsiteX576" fmla="*/ 1545540 w 3564335"/>
              <a:gd name="connsiteY576" fmla="*/ 1224115 h 2976069"/>
              <a:gd name="connsiteX577" fmla="*/ 1543121 w 3564335"/>
              <a:gd name="connsiteY577" fmla="*/ 1223359 h 2976069"/>
              <a:gd name="connsiteX578" fmla="*/ 1542667 w 3564335"/>
              <a:gd name="connsiteY578" fmla="*/ 1223359 h 2976069"/>
              <a:gd name="connsiteX579" fmla="*/ 1523313 w 3564335"/>
              <a:gd name="connsiteY579" fmla="*/ 1230012 h 2976069"/>
              <a:gd name="connsiteX580" fmla="*/ 1523011 w 3564335"/>
              <a:gd name="connsiteY580" fmla="*/ 1230163 h 2976069"/>
              <a:gd name="connsiteX581" fmla="*/ 1519987 w 3564335"/>
              <a:gd name="connsiteY581" fmla="*/ 1233490 h 2976069"/>
              <a:gd name="connsiteX582" fmla="*/ 1519685 w 3564335"/>
              <a:gd name="connsiteY582" fmla="*/ 1233792 h 2976069"/>
              <a:gd name="connsiteX583" fmla="*/ 1516661 w 3564335"/>
              <a:gd name="connsiteY583" fmla="*/ 1237875 h 2976069"/>
              <a:gd name="connsiteX584" fmla="*/ 1516358 w 3564335"/>
              <a:gd name="connsiteY584" fmla="*/ 1238177 h 2976069"/>
              <a:gd name="connsiteX585" fmla="*/ 1513334 w 3564335"/>
              <a:gd name="connsiteY585" fmla="*/ 1243318 h 2976069"/>
              <a:gd name="connsiteX586" fmla="*/ 1507286 w 3564335"/>
              <a:gd name="connsiteY586" fmla="*/ 1256472 h 2976069"/>
              <a:gd name="connsiteX587" fmla="*/ 1476895 w 3564335"/>
              <a:gd name="connsiteY587" fmla="*/ 1298959 h 2976069"/>
              <a:gd name="connsiteX588" fmla="*/ 1487933 w 3564335"/>
              <a:gd name="connsiteY588" fmla="*/ 1302286 h 2976069"/>
              <a:gd name="connsiteX589" fmla="*/ 1496249 w 3564335"/>
              <a:gd name="connsiteY589" fmla="*/ 1302588 h 2976069"/>
              <a:gd name="connsiteX590" fmla="*/ 1505774 w 3564335"/>
              <a:gd name="connsiteY590" fmla="*/ 1302286 h 2976069"/>
              <a:gd name="connsiteX591" fmla="*/ 1515602 w 3564335"/>
              <a:gd name="connsiteY591" fmla="*/ 1301379 h 2976069"/>
              <a:gd name="connsiteX592" fmla="*/ 1520289 w 3564335"/>
              <a:gd name="connsiteY592" fmla="*/ 1300623 h 2976069"/>
              <a:gd name="connsiteX593" fmla="*/ 1523011 w 3564335"/>
              <a:gd name="connsiteY593" fmla="*/ 1300169 h 2976069"/>
              <a:gd name="connsiteX594" fmla="*/ 1525581 w 3564335"/>
              <a:gd name="connsiteY594" fmla="*/ 1299564 h 2976069"/>
              <a:gd name="connsiteX595" fmla="*/ 1527849 w 3564335"/>
              <a:gd name="connsiteY595" fmla="*/ 1299110 h 2976069"/>
              <a:gd name="connsiteX596" fmla="*/ 1530722 w 3564335"/>
              <a:gd name="connsiteY596" fmla="*/ 1298355 h 2976069"/>
              <a:gd name="connsiteX597" fmla="*/ 1532385 w 3564335"/>
              <a:gd name="connsiteY597" fmla="*/ 1297901 h 2976069"/>
              <a:gd name="connsiteX598" fmla="*/ 1536317 w 3564335"/>
              <a:gd name="connsiteY598" fmla="*/ 1296389 h 2976069"/>
              <a:gd name="connsiteX599" fmla="*/ 1542516 w 3564335"/>
              <a:gd name="connsiteY599" fmla="*/ 1293970 h 2976069"/>
              <a:gd name="connsiteX600" fmla="*/ 1542667 w 3564335"/>
              <a:gd name="connsiteY600" fmla="*/ 1293970 h 2976069"/>
              <a:gd name="connsiteX601" fmla="*/ 1548564 w 3564335"/>
              <a:gd name="connsiteY601" fmla="*/ 1292458 h 2976069"/>
              <a:gd name="connsiteX602" fmla="*/ 1559148 w 3564335"/>
              <a:gd name="connsiteY602" fmla="*/ 1292760 h 2976069"/>
              <a:gd name="connsiteX603" fmla="*/ 1568673 w 3564335"/>
              <a:gd name="connsiteY603" fmla="*/ 1299866 h 2976069"/>
              <a:gd name="connsiteX604" fmla="*/ 1574268 w 3564335"/>
              <a:gd name="connsiteY604" fmla="*/ 1314986 h 2976069"/>
              <a:gd name="connsiteX605" fmla="*/ 1756161 w 3564335"/>
              <a:gd name="connsiteY605" fmla="*/ 729994 h 2976069"/>
              <a:gd name="connsiteX606" fmla="*/ 1756161 w 3564335"/>
              <a:gd name="connsiteY606" fmla="*/ 539784 h 2976069"/>
              <a:gd name="connsiteX607" fmla="*/ 1305132 w 3564335"/>
              <a:gd name="connsiteY607" fmla="*/ 726970 h 2976069"/>
              <a:gd name="connsiteX608" fmla="*/ 1439549 w 3564335"/>
              <a:gd name="connsiteY608" fmla="*/ 861386 h 2976069"/>
              <a:gd name="connsiteX609" fmla="*/ 1756161 w 3564335"/>
              <a:gd name="connsiteY609" fmla="*/ 729994 h 2976069"/>
              <a:gd name="connsiteX610" fmla="*/ 1756161 w 3564335"/>
              <a:gd name="connsiteY610" fmla="*/ 486713 h 2976069"/>
              <a:gd name="connsiteX611" fmla="*/ 1756161 w 3564335"/>
              <a:gd name="connsiteY611" fmla="*/ 296503 h 2976069"/>
              <a:gd name="connsiteX612" fmla="*/ 1133217 w 3564335"/>
              <a:gd name="connsiteY612" fmla="*/ 555055 h 2976069"/>
              <a:gd name="connsiteX613" fmla="*/ 1267634 w 3564335"/>
              <a:gd name="connsiteY613" fmla="*/ 689472 h 2976069"/>
              <a:gd name="connsiteX614" fmla="*/ 1756161 w 3564335"/>
              <a:gd name="connsiteY614" fmla="*/ 486713 h 2976069"/>
              <a:gd name="connsiteX615" fmla="*/ 1095720 w 3564335"/>
              <a:gd name="connsiteY615" fmla="*/ 592553 h 2976069"/>
              <a:gd name="connsiteX616" fmla="*/ 837319 w 3564335"/>
              <a:gd name="connsiteY616" fmla="*/ 1215497 h 2976069"/>
              <a:gd name="connsiteX617" fmla="*/ 1027377 w 3564335"/>
              <a:gd name="connsiteY617" fmla="*/ 1215497 h 2976069"/>
              <a:gd name="connsiteX618" fmla="*/ 1230137 w 3564335"/>
              <a:gd name="connsiteY618" fmla="*/ 726970 h 2976069"/>
              <a:gd name="connsiteX619" fmla="*/ 1095720 w 3564335"/>
              <a:gd name="connsiteY619" fmla="*/ 592553 h 2976069"/>
              <a:gd name="connsiteX620" fmla="*/ 837319 w 3564335"/>
              <a:gd name="connsiteY620" fmla="*/ 1268568 h 2976069"/>
              <a:gd name="connsiteX621" fmla="*/ 888727 w 3564335"/>
              <a:gd name="connsiteY621" fmla="*/ 1550859 h 2976069"/>
              <a:gd name="connsiteX622" fmla="*/ 892053 w 3564335"/>
              <a:gd name="connsiteY622" fmla="*/ 1550707 h 2976069"/>
              <a:gd name="connsiteX623" fmla="*/ 949358 w 3564335"/>
              <a:gd name="connsiteY623" fmla="*/ 1541030 h 2976069"/>
              <a:gd name="connsiteX624" fmla="*/ 962512 w 3564335"/>
              <a:gd name="connsiteY624" fmla="*/ 1453486 h 2976069"/>
              <a:gd name="connsiteX625" fmla="*/ 1024051 w 3564335"/>
              <a:gd name="connsiteY625" fmla="*/ 1363219 h 2976069"/>
              <a:gd name="connsiteX626" fmla="*/ 1038112 w 3564335"/>
              <a:gd name="connsiteY626" fmla="*/ 1371233 h 2976069"/>
              <a:gd name="connsiteX627" fmla="*/ 1027529 w 3564335"/>
              <a:gd name="connsiteY627" fmla="*/ 1268568 h 2976069"/>
              <a:gd name="connsiteX628" fmla="*/ 837319 w 3564335"/>
              <a:gd name="connsiteY628" fmla="*/ 1268568 h 2976069"/>
              <a:gd name="connsiteX629" fmla="*/ 1756161 w 3564335"/>
              <a:gd name="connsiteY629" fmla="*/ 2240633 h 2976069"/>
              <a:gd name="connsiteX630" fmla="*/ 1095720 w 3564335"/>
              <a:gd name="connsiteY630" fmla="*/ 1966659 h 2976069"/>
              <a:gd name="connsiteX631" fmla="*/ 960698 w 3564335"/>
              <a:gd name="connsiteY631" fmla="*/ 2101680 h 2976069"/>
              <a:gd name="connsiteX632" fmla="*/ 1756161 w 3564335"/>
              <a:gd name="connsiteY632" fmla="*/ 2430843 h 2976069"/>
              <a:gd name="connsiteX633" fmla="*/ 1756161 w 3564335"/>
              <a:gd name="connsiteY633" fmla="*/ 2240784 h 2976069"/>
              <a:gd name="connsiteX634" fmla="*/ 1756161 w 3564335"/>
              <a:gd name="connsiteY634" fmla="*/ 1997352 h 2976069"/>
              <a:gd name="connsiteX635" fmla="*/ 1299991 w 3564335"/>
              <a:gd name="connsiteY635" fmla="*/ 1823623 h 2976069"/>
              <a:gd name="connsiteX636" fmla="*/ 1307400 w 3564335"/>
              <a:gd name="connsiteY636" fmla="*/ 1833905 h 2976069"/>
              <a:gd name="connsiteX637" fmla="*/ 1327207 w 3564335"/>
              <a:gd name="connsiteY637" fmla="*/ 1891966 h 2976069"/>
              <a:gd name="connsiteX638" fmla="*/ 1269449 w 3564335"/>
              <a:gd name="connsiteY638" fmla="*/ 1894990 h 2976069"/>
              <a:gd name="connsiteX639" fmla="*/ 1214865 w 3564335"/>
              <a:gd name="connsiteY639" fmla="*/ 1921903 h 2976069"/>
              <a:gd name="connsiteX640" fmla="*/ 1169808 w 3564335"/>
              <a:gd name="connsiteY640" fmla="*/ 1916763 h 2976069"/>
              <a:gd name="connsiteX641" fmla="*/ 1154536 w 3564335"/>
              <a:gd name="connsiteY641" fmla="*/ 1907539 h 2976069"/>
              <a:gd name="connsiteX642" fmla="*/ 1133066 w 3564335"/>
              <a:gd name="connsiteY642" fmla="*/ 1929010 h 2976069"/>
              <a:gd name="connsiteX643" fmla="*/ 1756010 w 3564335"/>
              <a:gd name="connsiteY643" fmla="*/ 2187562 h 2976069"/>
              <a:gd name="connsiteX644" fmla="*/ 1756010 w 3564335"/>
              <a:gd name="connsiteY644" fmla="*/ 1997503 h 2976069"/>
              <a:gd name="connsiteX645" fmla="*/ 1756161 w 3564335"/>
              <a:gd name="connsiteY645" fmla="*/ 1930522 h 2976069"/>
              <a:gd name="connsiteX646" fmla="*/ 1679352 w 3564335"/>
              <a:gd name="connsiteY646" fmla="*/ 1925230 h 2976069"/>
              <a:gd name="connsiteX647" fmla="*/ 1632933 w 3564335"/>
              <a:gd name="connsiteY647" fmla="*/ 1887127 h 2976069"/>
              <a:gd name="connsiteX648" fmla="*/ 1602089 w 3564335"/>
              <a:gd name="connsiteY648" fmla="*/ 1836022 h 2976069"/>
              <a:gd name="connsiteX649" fmla="*/ 1622198 w 3564335"/>
              <a:gd name="connsiteY649" fmla="*/ 1789755 h 2976069"/>
              <a:gd name="connsiteX650" fmla="*/ 1660301 w 3564335"/>
              <a:gd name="connsiteY650" fmla="*/ 1739859 h 2976069"/>
              <a:gd name="connsiteX651" fmla="*/ 1439549 w 3564335"/>
              <a:gd name="connsiteY651" fmla="*/ 1622679 h 2976069"/>
              <a:gd name="connsiteX652" fmla="*/ 1304829 w 3564335"/>
              <a:gd name="connsiteY652" fmla="*/ 1757398 h 2976069"/>
              <a:gd name="connsiteX653" fmla="*/ 1756161 w 3564335"/>
              <a:gd name="connsiteY653" fmla="*/ 1944130 h 2976069"/>
              <a:gd name="connsiteX654" fmla="*/ 1756161 w 3564335"/>
              <a:gd name="connsiteY654" fmla="*/ 1930522 h 2976069"/>
              <a:gd name="connsiteX655" fmla="*/ 1797288 w 3564335"/>
              <a:gd name="connsiteY655" fmla="*/ 1676506 h 2976069"/>
              <a:gd name="connsiteX656" fmla="*/ 1857314 w 3564335"/>
              <a:gd name="connsiteY656" fmla="*/ 1665468 h 2976069"/>
              <a:gd name="connsiteX657" fmla="*/ 1868352 w 3564335"/>
              <a:gd name="connsiteY657" fmla="*/ 1693138 h 2976069"/>
              <a:gd name="connsiteX658" fmla="*/ 1945010 w 3564335"/>
              <a:gd name="connsiteY658" fmla="*/ 1691323 h 2976069"/>
              <a:gd name="connsiteX659" fmla="*/ 1961642 w 3564335"/>
              <a:gd name="connsiteY659" fmla="*/ 1672877 h 2976069"/>
              <a:gd name="connsiteX660" fmla="*/ 2023937 w 3564335"/>
              <a:gd name="connsiteY660" fmla="*/ 1653221 h 2976069"/>
              <a:gd name="connsiteX661" fmla="*/ 2050246 w 3564335"/>
              <a:gd name="connsiteY661" fmla="*/ 1637496 h 2976069"/>
              <a:gd name="connsiteX662" fmla="*/ 2032858 w 3564335"/>
              <a:gd name="connsiteY662" fmla="*/ 1596975 h 2976069"/>
              <a:gd name="connsiteX663" fmla="*/ 2002466 w 3564335"/>
              <a:gd name="connsiteY663" fmla="*/ 1617689 h 2976069"/>
              <a:gd name="connsiteX664" fmla="*/ 1969656 w 3564335"/>
              <a:gd name="connsiteY664" fmla="*/ 1614665 h 2976069"/>
              <a:gd name="connsiteX665" fmla="*/ 1982054 w 3564335"/>
              <a:gd name="connsiteY665" fmla="*/ 1585786 h 2976069"/>
              <a:gd name="connsiteX666" fmla="*/ 2015772 w 3564335"/>
              <a:gd name="connsiteY666" fmla="*/ 1561140 h 2976069"/>
              <a:gd name="connsiteX667" fmla="*/ 2044046 w 3564335"/>
              <a:gd name="connsiteY667" fmla="*/ 1536797 h 2976069"/>
              <a:gd name="connsiteX668" fmla="*/ 2004583 w 3564335"/>
              <a:gd name="connsiteY668" fmla="*/ 1531959 h 2976069"/>
              <a:gd name="connsiteX669" fmla="*/ 2000803 w 3564335"/>
              <a:gd name="connsiteY669" fmla="*/ 1515175 h 2976069"/>
              <a:gd name="connsiteX670" fmla="*/ 1994906 w 3564335"/>
              <a:gd name="connsiteY670" fmla="*/ 1536646 h 2976069"/>
              <a:gd name="connsiteX671" fmla="*/ 1974797 w 3564335"/>
              <a:gd name="connsiteY671" fmla="*/ 1544206 h 2976069"/>
              <a:gd name="connsiteX672" fmla="*/ 1963154 w 3564335"/>
              <a:gd name="connsiteY672" fmla="*/ 1580494 h 2976069"/>
              <a:gd name="connsiteX673" fmla="*/ 1968598 w 3564335"/>
              <a:gd name="connsiteY673" fmla="*/ 1597277 h 2976069"/>
              <a:gd name="connsiteX674" fmla="*/ 1949244 w 3564335"/>
              <a:gd name="connsiteY674" fmla="*/ 1606349 h 2976069"/>
              <a:gd name="connsiteX675" fmla="*/ 1949244 w 3564335"/>
              <a:gd name="connsiteY675" fmla="*/ 1626610 h 2976069"/>
              <a:gd name="connsiteX676" fmla="*/ 1941684 w 3564335"/>
              <a:gd name="connsiteY676" fmla="*/ 1635833 h 2976069"/>
              <a:gd name="connsiteX677" fmla="*/ 1915526 w 3564335"/>
              <a:gd name="connsiteY677" fmla="*/ 1618143 h 2976069"/>
              <a:gd name="connsiteX678" fmla="*/ 1874854 w 3564335"/>
              <a:gd name="connsiteY678" fmla="*/ 1597579 h 2976069"/>
              <a:gd name="connsiteX679" fmla="*/ 1887403 w 3564335"/>
              <a:gd name="connsiteY679" fmla="*/ 1618747 h 2976069"/>
              <a:gd name="connsiteX680" fmla="*/ 1901918 w 3564335"/>
              <a:gd name="connsiteY680" fmla="*/ 1640218 h 2976069"/>
              <a:gd name="connsiteX681" fmla="*/ 1871678 w 3564335"/>
              <a:gd name="connsiteY681" fmla="*/ 1624644 h 2976069"/>
              <a:gd name="connsiteX682" fmla="*/ 1840834 w 3564335"/>
              <a:gd name="connsiteY682" fmla="*/ 1611339 h 2976069"/>
              <a:gd name="connsiteX683" fmla="*/ 1817700 w 3564335"/>
              <a:gd name="connsiteY683" fmla="*/ 1620864 h 2976069"/>
              <a:gd name="connsiteX684" fmla="*/ 1795473 w 3564335"/>
              <a:gd name="connsiteY684" fmla="*/ 1636891 h 2976069"/>
              <a:gd name="connsiteX685" fmla="*/ 1771886 w 3564335"/>
              <a:gd name="connsiteY685" fmla="*/ 1669853 h 2976069"/>
              <a:gd name="connsiteX686" fmla="*/ 1718059 w 3564335"/>
              <a:gd name="connsiteY686" fmla="*/ 1653977 h 2976069"/>
              <a:gd name="connsiteX687" fmla="*/ 1731062 w 3564335"/>
              <a:gd name="connsiteY687" fmla="*/ 1616177 h 2976069"/>
              <a:gd name="connsiteX688" fmla="*/ 1768257 w 3564335"/>
              <a:gd name="connsiteY688" fmla="*/ 1621166 h 2976069"/>
              <a:gd name="connsiteX689" fmla="*/ 1770223 w 3564335"/>
              <a:gd name="connsiteY689" fmla="*/ 1591834 h 2976069"/>
              <a:gd name="connsiteX690" fmla="*/ 1758278 w 3564335"/>
              <a:gd name="connsiteY690" fmla="*/ 1580796 h 2976069"/>
              <a:gd name="connsiteX691" fmla="*/ 1787157 w 3564335"/>
              <a:gd name="connsiteY691" fmla="*/ 1568700 h 2976069"/>
              <a:gd name="connsiteX692" fmla="*/ 1812106 w 3564335"/>
              <a:gd name="connsiteY692" fmla="*/ 1541182 h 2976069"/>
              <a:gd name="connsiteX693" fmla="*/ 1828586 w 3564335"/>
              <a:gd name="connsiteY693" fmla="*/ 1532261 h 2976069"/>
              <a:gd name="connsiteX694" fmla="*/ 1822085 w 3564335"/>
              <a:gd name="connsiteY694" fmla="*/ 1512605 h 2976069"/>
              <a:gd name="connsiteX695" fmla="*/ 1829645 w 3564335"/>
              <a:gd name="connsiteY695" fmla="*/ 1502475 h 2976069"/>
              <a:gd name="connsiteX696" fmla="*/ 1836751 w 3564335"/>
              <a:gd name="connsiteY696" fmla="*/ 1519258 h 2976069"/>
              <a:gd name="connsiteX697" fmla="*/ 1845370 w 3564335"/>
              <a:gd name="connsiteY697" fmla="*/ 1526364 h 2976069"/>
              <a:gd name="connsiteX698" fmla="*/ 1880599 w 3564335"/>
              <a:gd name="connsiteY698" fmla="*/ 1513361 h 2976069"/>
              <a:gd name="connsiteX699" fmla="*/ 1881204 w 3564335"/>
              <a:gd name="connsiteY699" fmla="*/ 1487506 h 2976069"/>
              <a:gd name="connsiteX700" fmla="*/ 1889974 w 3564335"/>
              <a:gd name="connsiteY700" fmla="*/ 1485238 h 2976069"/>
              <a:gd name="connsiteX701" fmla="*/ 1884681 w 3564335"/>
              <a:gd name="connsiteY701" fmla="*/ 1471176 h 2976069"/>
              <a:gd name="connsiteX702" fmla="*/ 1902826 w 3564335"/>
              <a:gd name="connsiteY702" fmla="*/ 1455149 h 2976069"/>
              <a:gd name="connsiteX703" fmla="*/ 1882565 w 3564335"/>
              <a:gd name="connsiteY703" fmla="*/ 1465279 h 2976069"/>
              <a:gd name="connsiteX704" fmla="*/ 1865630 w 3564335"/>
              <a:gd name="connsiteY704" fmla="*/ 1448043 h 2976069"/>
              <a:gd name="connsiteX705" fmla="*/ 1866689 w 3564335"/>
              <a:gd name="connsiteY705" fmla="*/ 1423548 h 2976069"/>
              <a:gd name="connsiteX706" fmla="*/ 1856407 w 3564335"/>
              <a:gd name="connsiteY706" fmla="*/ 1442750 h 2976069"/>
              <a:gd name="connsiteX707" fmla="*/ 1858070 w 3564335"/>
              <a:gd name="connsiteY707" fmla="*/ 1471932 h 2976069"/>
              <a:gd name="connsiteX708" fmla="*/ 1851417 w 3564335"/>
              <a:gd name="connsiteY708" fmla="*/ 1512756 h 2976069"/>
              <a:gd name="connsiteX709" fmla="*/ 1833274 w 3564335"/>
              <a:gd name="connsiteY709" fmla="*/ 1490530 h 2976069"/>
              <a:gd name="connsiteX710" fmla="*/ 1830854 w 3564335"/>
              <a:gd name="connsiteY710" fmla="*/ 1487808 h 2976069"/>
              <a:gd name="connsiteX711" fmla="*/ 1830552 w 3564335"/>
              <a:gd name="connsiteY711" fmla="*/ 1487808 h 2976069"/>
              <a:gd name="connsiteX712" fmla="*/ 1829342 w 3564335"/>
              <a:gd name="connsiteY712" fmla="*/ 1487657 h 2976069"/>
              <a:gd name="connsiteX713" fmla="*/ 1829342 w 3564335"/>
              <a:gd name="connsiteY713" fmla="*/ 1487657 h 2976069"/>
              <a:gd name="connsiteX714" fmla="*/ 1828133 w 3564335"/>
              <a:gd name="connsiteY714" fmla="*/ 1488262 h 2976069"/>
              <a:gd name="connsiteX715" fmla="*/ 1827830 w 3564335"/>
              <a:gd name="connsiteY715" fmla="*/ 1488564 h 2976069"/>
              <a:gd name="connsiteX716" fmla="*/ 1826470 w 3564335"/>
              <a:gd name="connsiteY716" fmla="*/ 1490227 h 2976069"/>
              <a:gd name="connsiteX717" fmla="*/ 1823597 w 3564335"/>
              <a:gd name="connsiteY717" fmla="*/ 1495217 h 2976069"/>
              <a:gd name="connsiteX718" fmla="*/ 1819666 w 3564335"/>
              <a:gd name="connsiteY718" fmla="*/ 1504440 h 2976069"/>
              <a:gd name="connsiteX719" fmla="*/ 1812861 w 3564335"/>
              <a:gd name="connsiteY719" fmla="*/ 1510488 h 2976069"/>
              <a:gd name="connsiteX720" fmla="*/ 1783226 w 3564335"/>
              <a:gd name="connsiteY720" fmla="*/ 1512303 h 2976069"/>
              <a:gd name="connsiteX721" fmla="*/ 1771735 w 3564335"/>
              <a:gd name="connsiteY721" fmla="*/ 1512000 h 2976069"/>
              <a:gd name="connsiteX722" fmla="*/ 1777178 w 3564335"/>
              <a:gd name="connsiteY722" fmla="*/ 1528632 h 2976069"/>
              <a:gd name="connsiteX723" fmla="*/ 1790786 w 3564335"/>
              <a:gd name="connsiteY723" fmla="*/ 1554034 h 2976069"/>
              <a:gd name="connsiteX724" fmla="*/ 1755708 w 3564335"/>
              <a:gd name="connsiteY724" fmla="*/ 1562652 h 2976069"/>
              <a:gd name="connsiteX725" fmla="*/ 1762663 w 3564335"/>
              <a:gd name="connsiteY725" fmla="*/ 1536343 h 2976069"/>
              <a:gd name="connsiteX726" fmla="*/ 1756161 w 3564335"/>
              <a:gd name="connsiteY726" fmla="*/ 1510942 h 2976069"/>
              <a:gd name="connsiteX727" fmla="*/ 1612219 w 3564335"/>
              <a:gd name="connsiteY727" fmla="*/ 1451066 h 2976069"/>
              <a:gd name="connsiteX728" fmla="*/ 1477500 w 3564335"/>
              <a:gd name="connsiteY728" fmla="*/ 1585786 h 2976069"/>
              <a:gd name="connsiteX729" fmla="*/ 1719722 w 3564335"/>
              <a:gd name="connsiteY729" fmla="*/ 1697976 h 2976069"/>
              <a:gd name="connsiteX730" fmla="*/ 1748450 w 3564335"/>
              <a:gd name="connsiteY730" fmla="*/ 1683461 h 2976069"/>
              <a:gd name="connsiteX731" fmla="*/ 1797590 w 3564335"/>
              <a:gd name="connsiteY731" fmla="*/ 1677110 h 2976069"/>
              <a:gd name="connsiteX732" fmla="*/ 1809233 w 3564335"/>
              <a:gd name="connsiteY732" fmla="*/ 1997352 h 2976069"/>
              <a:gd name="connsiteX733" fmla="*/ 1809233 w 3564335"/>
              <a:gd name="connsiteY733" fmla="*/ 2187562 h 2976069"/>
              <a:gd name="connsiteX734" fmla="*/ 2032404 w 3564335"/>
              <a:gd name="connsiteY734" fmla="*/ 2154449 h 2976069"/>
              <a:gd name="connsiteX735" fmla="*/ 1992487 w 3564335"/>
              <a:gd name="connsiteY735" fmla="*/ 2115137 h 2976069"/>
              <a:gd name="connsiteX736" fmla="*/ 1969505 w 3564335"/>
              <a:gd name="connsiteY736" fmla="*/ 2056623 h 2976069"/>
              <a:gd name="connsiteX737" fmla="*/ 1964213 w 3564335"/>
              <a:gd name="connsiteY737" fmla="*/ 2019125 h 2976069"/>
              <a:gd name="connsiteX738" fmla="*/ 1921574 w 3564335"/>
              <a:gd name="connsiteY738" fmla="*/ 1984954 h 2976069"/>
              <a:gd name="connsiteX739" fmla="*/ 1809233 w 3564335"/>
              <a:gd name="connsiteY739" fmla="*/ 1997503 h 2976069"/>
              <a:gd name="connsiteX740" fmla="*/ 1900557 w 3564335"/>
              <a:gd name="connsiteY740" fmla="*/ 1934755 h 2976069"/>
              <a:gd name="connsiteX741" fmla="*/ 1872737 w 3564335"/>
              <a:gd name="connsiteY741" fmla="*/ 1929917 h 2976069"/>
              <a:gd name="connsiteX742" fmla="*/ 1809233 w 3564335"/>
              <a:gd name="connsiteY742" fmla="*/ 1919938 h 2976069"/>
              <a:gd name="connsiteX743" fmla="*/ 1809233 w 3564335"/>
              <a:gd name="connsiteY743" fmla="*/ 1944130 h 2976069"/>
              <a:gd name="connsiteX744" fmla="*/ 1900557 w 3564335"/>
              <a:gd name="connsiteY744" fmla="*/ 1934604 h 2976069"/>
              <a:gd name="connsiteX745" fmla="*/ 2604696 w 3564335"/>
              <a:gd name="connsiteY745" fmla="*/ 2101529 h 2976069"/>
              <a:gd name="connsiteX746" fmla="*/ 2469675 w 3564335"/>
              <a:gd name="connsiteY746" fmla="*/ 1966507 h 2976069"/>
              <a:gd name="connsiteX747" fmla="*/ 2234861 w 3564335"/>
              <a:gd name="connsiteY747" fmla="*/ 2132525 h 2976069"/>
              <a:gd name="connsiteX748" fmla="*/ 2145502 w 3564335"/>
              <a:gd name="connsiteY748" fmla="*/ 2181514 h 2976069"/>
              <a:gd name="connsiteX749" fmla="*/ 2110121 w 3564335"/>
              <a:gd name="connsiteY749" fmla="*/ 2193005 h 2976069"/>
              <a:gd name="connsiteX750" fmla="*/ 2099083 w 3564335"/>
              <a:gd name="connsiteY750" fmla="*/ 2189527 h 2976069"/>
              <a:gd name="connsiteX751" fmla="*/ 1809384 w 3564335"/>
              <a:gd name="connsiteY751" fmla="*/ 2240482 h 2976069"/>
              <a:gd name="connsiteX752" fmla="*/ 1809384 w 3564335"/>
              <a:gd name="connsiteY752" fmla="*/ 2430540 h 2976069"/>
              <a:gd name="connsiteX753" fmla="*/ 2604696 w 3564335"/>
              <a:gd name="connsiteY753" fmla="*/ 2101378 h 2976069"/>
              <a:gd name="connsiteX754" fmla="*/ 2338735 w 3564335"/>
              <a:gd name="connsiteY754" fmla="*/ 726667 h 2976069"/>
              <a:gd name="connsiteX755" fmla="*/ 2337223 w 3564335"/>
              <a:gd name="connsiteY755" fmla="*/ 728935 h 2976069"/>
              <a:gd name="connsiteX756" fmla="*/ 2421593 w 3564335"/>
              <a:gd name="connsiteY756" fmla="*/ 838555 h 2976069"/>
              <a:gd name="connsiteX757" fmla="*/ 2430816 w 3564335"/>
              <a:gd name="connsiteY757" fmla="*/ 836136 h 2976069"/>
              <a:gd name="connsiteX758" fmla="*/ 2443668 w 3564335"/>
              <a:gd name="connsiteY758" fmla="*/ 854129 h 2976069"/>
              <a:gd name="connsiteX759" fmla="*/ 2443517 w 3564335"/>
              <a:gd name="connsiteY759" fmla="*/ 875448 h 2976069"/>
              <a:gd name="connsiteX760" fmla="*/ 2461207 w 3564335"/>
              <a:gd name="connsiteY760" fmla="*/ 909015 h 2976069"/>
              <a:gd name="connsiteX761" fmla="*/ 2474664 w 3564335"/>
              <a:gd name="connsiteY761" fmla="*/ 920506 h 2976069"/>
              <a:gd name="connsiteX762" fmla="*/ 2485399 w 3564335"/>
              <a:gd name="connsiteY762" fmla="*/ 963446 h 2976069"/>
              <a:gd name="connsiteX763" fmla="*/ 2510347 w 3564335"/>
              <a:gd name="connsiteY763" fmla="*/ 1036930 h 2976069"/>
              <a:gd name="connsiteX764" fmla="*/ 2532271 w 3564335"/>
              <a:gd name="connsiteY764" fmla="*/ 1047060 h 2976069"/>
              <a:gd name="connsiteX765" fmla="*/ 2522897 w 3564335"/>
              <a:gd name="connsiteY765" fmla="*/ 1088640 h 2976069"/>
              <a:gd name="connsiteX766" fmla="*/ 2538168 w 3564335"/>
              <a:gd name="connsiteY766" fmla="*/ 1215195 h 2976069"/>
              <a:gd name="connsiteX767" fmla="*/ 2728227 w 3564335"/>
              <a:gd name="connsiteY767" fmla="*/ 1215195 h 2976069"/>
              <a:gd name="connsiteX768" fmla="*/ 2647788 w 3564335"/>
              <a:gd name="connsiteY768" fmla="*/ 858514 h 2976069"/>
              <a:gd name="connsiteX769" fmla="*/ 2632517 w 3564335"/>
              <a:gd name="connsiteY769" fmla="*/ 869854 h 2976069"/>
              <a:gd name="connsiteX770" fmla="*/ 2598799 w 3564335"/>
              <a:gd name="connsiteY770" fmla="*/ 856246 h 2976069"/>
              <a:gd name="connsiteX771" fmla="*/ 2528491 w 3564335"/>
              <a:gd name="connsiteY771" fmla="*/ 778529 h 2976069"/>
              <a:gd name="connsiteX772" fmla="*/ 2489028 w 3564335"/>
              <a:gd name="connsiteY772" fmla="*/ 754790 h 2976069"/>
              <a:gd name="connsiteX773" fmla="*/ 2453345 w 3564335"/>
              <a:gd name="connsiteY773" fmla="*/ 727726 h 2976069"/>
              <a:gd name="connsiteX774" fmla="*/ 2428548 w 3564335"/>
              <a:gd name="connsiteY774" fmla="*/ 702475 h 2976069"/>
              <a:gd name="connsiteX775" fmla="*/ 2383793 w 3564335"/>
              <a:gd name="connsiteY775" fmla="*/ 678283 h 2976069"/>
              <a:gd name="connsiteX776" fmla="*/ 2338282 w 3564335"/>
              <a:gd name="connsiteY776" fmla="*/ 723795 h 2976069"/>
              <a:gd name="connsiteX777" fmla="*/ 2338735 w 3564335"/>
              <a:gd name="connsiteY777" fmla="*/ 726365 h 2976069"/>
              <a:gd name="connsiteX778" fmla="*/ 2459393 w 3564335"/>
              <a:gd name="connsiteY778" fmla="*/ 1881079 h 2976069"/>
              <a:gd name="connsiteX779" fmla="*/ 2469826 w 3564335"/>
              <a:gd name="connsiteY779" fmla="*/ 1891512 h 2976069"/>
              <a:gd name="connsiteX780" fmla="*/ 2728378 w 3564335"/>
              <a:gd name="connsiteY780" fmla="*/ 1268568 h 2976069"/>
              <a:gd name="connsiteX781" fmla="*/ 2538319 w 3564335"/>
              <a:gd name="connsiteY781" fmla="*/ 1268568 h 2976069"/>
              <a:gd name="connsiteX782" fmla="*/ 2335560 w 3564335"/>
              <a:gd name="connsiteY782" fmla="*/ 1757095 h 2976069"/>
              <a:gd name="connsiteX783" fmla="*/ 2404205 w 3564335"/>
              <a:gd name="connsiteY783" fmla="*/ 1825740 h 2976069"/>
              <a:gd name="connsiteX784" fmla="*/ 2405566 w 3564335"/>
              <a:gd name="connsiteY784" fmla="*/ 1822867 h 2976069"/>
              <a:gd name="connsiteX785" fmla="*/ 2409799 w 3564335"/>
              <a:gd name="connsiteY785" fmla="*/ 1784009 h 2976069"/>
              <a:gd name="connsiteX786" fmla="*/ 2438376 w 3564335"/>
              <a:gd name="connsiteY786" fmla="*/ 1790510 h 2976069"/>
              <a:gd name="connsiteX787" fmla="*/ 2454252 w 3564335"/>
              <a:gd name="connsiteY787" fmla="*/ 1832846 h 2976069"/>
              <a:gd name="connsiteX788" fmla="*/ 2459544 w 3564335"/>
              <a:gd name="connsiteY788" fmla="*/ 1881079 h 2976069"/>
              <a:gd name="connsiteX789" fmla="*/ 2314997 w 3564335"/>
              <a:gd name="connsiteY789" fmla="*/ 1999771 h 2976069"/>
              <a:gd name="connsiteX790" fmla="*/ 2288991 w 3564335"/>
              <a:gd name="connsiteY790" fmla="*/ 2040746 h 2976069"/>
              <a:gd name="connsiteX791" fmla="*/ 2432328 w 3564335"/>
              <a:gd name="connsiteY791" fmla="*/ 1929161 h 2976069"/>
              <a:gd name="connsiteX792" fmla="*/ 2297911 w 3564335"/>
              <a:gd name="connsiteY792" fmla="*/ 1794744 h 2976069"/>
              <a:gd name="connsiteX793" fmla="*/ 2269032 w 3564335"/>
              <a:gd name="connsiteY793" fmla="*/ 1820146 h 2976069"/>
              <a:gd name="connsiteX794" fmla="*/ 2287781 w 3564335"/>
              <a:gd name="connsiteY794" fmla="*/ 1853410 h 2976069"/>
              <a:gd name="connsiteX795" fmla="*/ 2335107 w 3564335"/>
              <a:gd name="connsiteY795" fmla="*/ 1900584 h 2976069"/>
              <a:gd name="connsiteX796" fmla="*/ 2297458 w 3564335"/>
              <a:gd name="connsiteY796" fmla="*/ 1963483 h 2976069"/>
              <a:gd name="connsiteX797" fmla="*/ 2314997 w 3564335"/>
              <a:gd name="connsiteY797" fmla="*/ 1999771 h 2976069"/>
              <a:gd name="connsiteX798" fmla="*/ 2346295 w 3564335"/>
              <a:gd name="connsiteY798" fmla="*/ 1213078 h 2976069"/>
              <a:gd name="connsiteX799" fmla="*/ 2344934 w 3564335"/>
              <a:gd name="connsiteY799" fmla="*/ 1215497 h 2976069"/>
              <a:gd name="connsiteX800" fmla="*/ 2484946 w 3564335"/>
              <a:gd name="connsiteY800" fmla="*/ 1215497 h 2976069"/>
              <a:gd name="connsiteX801" fmla="*/ 2480107 w 3564335"/>
              <a:gd name="connsiteY801" fmla="*/ 1155470 h 2976069"/>
              <a:gd name="connsiteX802" fmla="*/ 2476781 w 3564335"/>
              <a:gd name="connsiteY802" fmla="*/ 1161670 h 2976069"/>
              <a:gd name="connsiteX803" fmla="*/ 2465441 w 3564335"/>
              <a:gd name="connsiteY803" fmla="*/ 1160914 h 2976069"/>
              <a:gd name="connsiteX804" fmla="*/ 2475571 w 3564335"/>
              <a:gd name="connsiteY804" fmla="*/ 1125230 h 2976069"/>
              <a:gd name="connsiteX805" fmla="*/ 2472094 w 3564335"/>
              <a:gd name="connsiteY805" fmla="*/ 1106028 h 2976069"/>
              <a:gd name="connsiteX806" fmla="*/ 2452287 w 3564335"/>
              <a:gd name="connsiteY806" fmla="*/ 1120997 h 2976069"/>
              <a:gd name="connsiteX807" fmla="*/ 2437923 w 3564335"/>
              <a:gd name="connsiteY807" fmla="*/ 1144282 h 2976069"/>
              <a:gd name="connsiteX808" fmla="*/ 2407229 w 3564335"/>
              <a:gd name="connsiteY808" fmla="*/ 1148818 h 2976069"/>
              <a:gd name="connsiteX809" fmla="*/ 2378501 w 3564335"/>
              <a:gd name="connsiteY809" fmla="*/ 1184047 h 2976069"/>
              <a:gd name="connsiteX810" fmla="*/ 2346295 w 3564335"/>
              <a:gd name="connsiteY810" fmla="*/ 1213229 h 2976069"/>
              <a:gd name="connsiteX811" fmla="*/ 2297760 w 3564335"/>
              <a:gd name="connsiteY811" fmla="*/ 764467 h 2976069"/>
              <a:gd name="connsiteX812" fmla="*/ 2163343 w 3564335"/>
              <a:gd name="connsiteY812" fmla="*/ 898884 h 2976069"/>
              <a:gd name="connsiteX813" fmla="*/ 2224579 w 3564335"/>
              <a:gd name="connsiteY813" fmla="*/ 982498 h 2976069"/>
              <a:gd name="connsiteX814" fmla="*/ 2275836 w 3564335"/>
              <a:gd name="connsiteY814" fmla="*/ 1009109 h 2976069"/>
              <a:gd name="connsiteX815" fmla="*/ 2309705 w 3564335"/>
              <a:gd name="connsiteY815" fmla="*/ 1058551 h 2976069"/>
              <a:gd name="connsiteX816" fmla="*/ 2319382 w 3564335"/>
              <a:gd name="connsiteY816" fmla="*/ 1078661 h 2976069"/>
              <a:gd name="connsiteX817" fmla="*/ 2341759 w 3564335"/>
              <a:gd name="connsiteY817" fmla="*/ 1078510 h 2976069"/>
              <a:gd name="connsiteX818" fmla="*/ 2366254 w 3564335"/>
              <a:gd name="connsiteY818" fmla="*/ 1037988 h 2976069"/>
              <a:gd name="connsiteX819" fmla="*/ 2415243 w 3564335"/>
              <a:gd name="connsiteY819" fmla="*/ 1070043 h 2976069"/>
              <a:gd name="connsiteX820" fmla="*/ 2404205 w 3564335"/>
              <a:gd name="connsiteY820" fmla="*/ 1091210 h 2976069"/>
              <a:gd name="connsiteX821" fmla="*/ 2402844 w 3564335"/>
              <a:gd name="connsiteY821" fmla="*/ 1134151 h 2976069"/>
              <a:gd name="connsiteX822" fmla="*/ 2441703 w 3564335"/>
              <a:gd name="connsiteY822" fmla="*/ 1115856 h 2976069"/>
              <a:gd name="connsiteX823" fmla="*/ 2451682 w 3564335"/>
              <a:gd name="connsiteY823" fmla="*/ 1087582 h 2976069"/>
              <a:gd name="connsiteX824" fmla="*/ 2465592 w 3564335"/>
              <a:gd name="connsiteY824" fmla="*/ 1077300 h 2976069"/>
              <a:gd name="connsiteX825" fmla="*/ 2429607 w 3564335"/>
              <a:gd name="connsiteY825" fmla="*/ 967982 h 2976069"/>
              <a:gd name="connsiteX826" fmla="*/ 2416755 w 3564335"/>
              <a:gd name="connsiteY826" fmla="*/ 959969 h 2976069"/>
              <a:gd name="connsiteX827" fmla="*/ 2401634 w 3564335"/>
              <a:gd name="connsiteY827" fmla="*/ 945756 h 2976069"/>
              <a:gd name="connsiteX828" fmla="*/ 2382281 w 3564335"/>
              <a:gd name="connsiteY828" fmla="*/ 915062 h 2976069"/>
              <a:gd name="connsiteX829" fmla="*/ 2401937 w 3564335"/>
              <a:gd name="connsiteY829" fmla="*/ 917935 h 2976069"/>
              <a:gd name="connsiteX830" fmla="*/ 2404356 w 3564335"/>
              <a:gd name="connsiteY830" fmla="*/ 914911 h 2976069"/>
              <a:gd name="connsiteX831" fmla="*/ 2297609 w 3564335"/>
              <a:gd name="connsiteY831" fmla="*/ 764316 h 2976069"/>
              <a:gd name="connsiteX832" fmla="*/ 2134615 w 3564335"/>
              <a:gd name="connsiteY832" fmla="*/ 946966 h 2976069"/>
              <a:gd name="connsiteX833" fmla="*/ 2118286 w 3564335"/>
              <a:gd name="connsiteY833" fmla="*/ 943790 h 2976069"/>
              <a:gd name="connsiteX834" fmla="*/ 2073833 w 3564335"/>
              <a:gd name="connsiteY834" fmla="*/ 988243 h 2976069"/>
              <a:gd name="connsiteX835" fmla="*/ 2102410 w 3564335"/>
              <a:gd name="connsiteY835" fmla="*/ 992175 h 2976069"/>
              <a:gd name="connsiteX836" fmla="*/ 2126602 w 3564335"/>
              <a:gd name="connsiteY836" fmla="*/ 962690 h 2976069"/>
              <a:gd name="connsiteX837" fmla="*/ 2134464 w 3564335"/>
              <a:gd name="connsiteY837" fmla="*/ 983859 h 2976069"/>
              <a:gd name="connsiteX838" fmla="*/ 2122670 w 3564335"/>
              <a:gd name="connsiteY838" fmla="*/ 1003061 h 2976069"/>
              <a:gd name="connsiteX839" fmla="*/ 2133406 w 3564335"/>
              <a:gd name="connsiteY839" fmla="*/ 1024834 h 2976069"/>
              <a:gd name="connsiteX840" fmla="*/ 2142327 w 3564335"/>
              <a:gd name="connsiteY840" fmla="*/ 1043280 h 2976069"/>
              <a:gd name="connsiteX841" fmla="*/ 2146560 w 3564335"/>
              <a:gd name="connsiteY841" fmla="*/ 1015913 h 2976069"/>
              <a:gd name="connsiteX842" fmla="*/ 2170147 w 3564335"/>
              <a:gd name="connsiteY842" fmla="*/ 1018332 h 2976069"/>
              <a:gd name="connsiteX843" fmla="*/ 2177707 w 3564335"/>
              <a:gd name="connsiteY843" fmla="*/ 1007748 h 2976069"/>
              <a:gd name="connsiteX844" fmla="*/ 2134615 w 3564335"/>
              <a:gd name="connsiteY844" fmla="*/ 947117 h 2976069"/>
              <a:gd name="connsiteX845" fmla="*/ 2065366 w 3564335"/>
              <a:gd name="connsiteY845" fmla="*/ 1652616 h 2976069"/>
              <a:gd name="connsiteX846" fmla="*/ 2053421 w 3564335"/>
              <a:gd name="connsiteY846" fmla="*/ 1657606 h 2976069"/>
              <a:gd name="connsiteX847" fmla="*/ 2140361 w 3564335"/>
              <a:gd name="connsiteY847" fmla="*/ 1699186 h 2976069"/>
              <a:gd name="connsiteX848" fmla="*/ 2192676 w 3564335"/>
              <a:gd name="connsiteY848" fmla="*/ 1701000 h 2976069"/>
              <a:gd name="connsiteX849" fmla="*/ 2225487 w 3564335"/>
              <a:gd name="connsiteY849" fmla="*/ 1705536 h 2976069"/>
              <a:gd name="connsiteX850" fmla="*/ 2253458 w 3564335"/>
              <a:gd name="connsiteY850" fmla="*/ 1677715 h 2976069"/>
              <a:gd name="connsiteX851" fmla="*/ 2274173 w 3564335"/>
              <a:gd name="connsiteY851" fmla="*/ 1642335 h 2976069"/>
              <a:gd name="connsiteX852" fmla="*/ 2297155 w 3564335"/>
              <a:gd name="connsiteY852" fmla="*/ 1705536 h 2976069"/>
              <a:gd name="connsiteX853" fmla="*/ 2295643 w 3564335"/>
              <a:gd name="connsiteY853" fmla="*/ 1717481 h 2976069"/>
              <a:gd name="connsiteX854" fmla="*/ 2297609 w 3564335"/>
              <a:gd name="connsiteY854" fmla="*/ 1719446 h 2976069"/>
              <a:gd name="connsiteX855" fmla="*/ 2484795 w 3564335"/>
              <a:gd name="connsiteY855" fmla="*/ 1268417 h 2976069"/>
              <a:gd name="connsiteX856" fmla="*/ 2340247 w 3564335"/>
              <a:gd name="connsiteY856" fmla="*/ 1268417 h 2976069"/>
              <a:gd name="connsiteX857" fmla="*/ 2362927 w 3564335"/>
              <a:gd name="connsiteY857" fmla="*/ 1306066 h 2976069"/>
              <a:gd name="connsiteX858" fmla="*/ 2386817 w 3564335"/>
              <a:gd name="connsiteY858" fmla="*/ 1346134 h 2976069"/>
              <a:gd name="connsiteX859" fmla="*/ 2427490 w 3564335"/>
              <a:gd name="connsiteY859" fmla="*/ 1378188 h 2976069"/>
              <a:gd name="connsiteX860" fmla="*/ 2327547 w 3564335"/>
              <a:gd name="connsiteY860" fmla="*/ 1410243 h 2976069"/>
              <a:gd name="connsiteX861" fmla="*/ 2310461 w 3564335"/>
              <a:gd name="connsiteY861" fmla="*/ 1421885 h 2976069"/>
              <a:gd name="connsiteX862" fmla="*/ 2265706 w 3564335"/>
              <a:gd name="connsiteY862" fmla="*/ 1450008 h 2976069"/>
              <a:gd name="connsiteX863" fmla="*/ 2240909 w 3564335"/>
              <a:gd name="connsiteY863" fmla="*/ 1498392 h 2976069"/>
              <a:gd name="connsiteX864" fmla="*/ 2193281 w 3564335"/>
              <a:gd name="connsiteY864" fmla="*/ 1544810 h 2976069"/>
              <a:gd name="connsiteX865" fmla="*/ 2149887 w 3564335"/>
              <a:gd name="connsiteY865" fmla="*/ 1570515 h 2976069"/>
              <a:gd name="connsiteX866" fmla="*/ 2189198 w 3564335"/>
              <a:gd name="connsiteY866" fmla="*/ 1573085 h 2976069"/>
              <a:gd name="connsiteX867" fmla="*/ 2196607 w 3564335"/>
              <a:gd name="connsiteY867" fmla="*/ 1570817 h 2976069"/>
              <a:gd name="connsiteX868" fmla="*/ 2214298 w 3564335"/>
              <a:gd name="connsiteY868" fmla="*/ 1557058 h 2976069"/>
              <a:gd name="connsiteX869" fmla="*/ 2220043 w 3564335"/>
              <a:gd name="connsiteY869" fmla="*/ 1534075 h 2976069"/>
              <a:gd name="connsiteX870" fmla="*/ 2252854 w 3564335"/>
              <a:gd name="connsiteY870" fmla="*/ 1520316 h 2976069"/>
              <a:gd name="connsiteX871" fmla="*/ 2262530 w 3564335"/>
              <a:gd name="connsiteY871" fmla="*/ 1587146 h 2976069"/>
              <a:gd name="connsiteX872" fmla="*/ 2222311 w 3564335"/>
              <a:gd name="connsiteY872" fmla="*/ 1686031 h 2976069"/>
              <a:gd name="connsiteX873" fmla="*/ 2188443 w 3564335"/>
              <a:gd name="connsiteY873" fmla="*/ 1683007 h 2976069"/>
              <a:gd name="connsiteX874" fmla="*/ 2127055 w 3564335"/>
              <a:gd name="connsiteY874" fmla="*/ 1668643 h 2976069"/>
              <a:gd name="connsiteX875" fmla="*/ 2065063 w 3564335"/>
              <a:gd name="connsiteY875" fmla="*/ 1652767 h 2976069"/>
              <a:gd name="connsiteX876" fmla="*/ 2971356 w 3564335"/>
              <a:gd name="connsiteY876" fmla="*/ 1268417 h 2976069"/>
              <a:gd name="connsiteX877" fmla="*/ 2781298 w 3564335"/>
              <a:gd name="connsiteY877" fmla="*/ 1268417 h 2976069"/>
              <a:gd name="connsiteX878" fmla="*/ 2507172 w 3564335"/>
              <a:gd name="connsiteY878" fmla="*/ 1928859 h 2976069"/>
              <a:gd name="connsiteX879" fmla="*/ 2642194 w 3564335"/>
              <a:gd name="connsiteY879" fmla="*/ 2063880 h 2976069"/>
              <a:gd name="connsiteX880" fmla="*/ 2971356 w 3564335"/>
              <a:gd name="connsiteY880" fmla="*/ 1268417 h 2976069"/>
              <a:gd name="connsiteX881" fmla="*/ 2642194 w 3564335"/>
              <a:gd name="connsiteY881" fmla="*/ 419882 h 2976069"/>
              <a:gd name="connsiteX882" fmla="*/ 2501427 w 3564335"/>
              <a:gd name="connsiteY882" fmla="*/ 560650 h 2976069"/>
              <a:gd name="connsiteX883" fmla="*/ 2572793 w 3564335"/>
              <a:gd name="connsiteY883" fmla="*/ 646229 h 2976069"/>
              <a:gd name="connsiteX884" fmla="*/ 2614222 w 3564335"/>
              <a:gd name="connsiteY884" fmla="*/ 687204 h 2976069"/>
              <a:gd name="connsiteX885" fmla="*/ 2688159 w 3564335"/>
              <a:gd name="connsiteY885" fmla="*/ 808618 h 2976069"/>
              <a:gd name="connsiteX886" fmla="*/ 2684832 w 3564335"/>
              <a:gd name="connsiteY886" fmla="*/ 811490 h 2976069"/>
              <a:gd name="connsiteX887" fmla="*/ 2781449 w 3564335"/>
              <a:gd name="connsiteY887" fmla="*/ 1215043 h 2976069"/>
              <a:gd name="connsiteX888" fmla="*/ 2971508 w 3564335"/>
              <a:gd name="connsiteY888" fmla="*/ 1215043 h 2976069"/>
              <a:gd name="connsiteX889" fmla="*/ 2642345 w 3564335"/>
              <a:gd name="connsiteY889" fmla="*/ 419731 h 2976069"/>
              <a:gd name="connsiteX890" fmla="*/ 1809233 w 3564335"/>
              <a:gd name="connsiteY890" fmla="*/ 243130 h 2976069"/>
              <a:gd name="connsiteX891" fmla="*/ 2256936 w 3564335"/>
              <a:gd name="connsiteY891" fmla="*/ 361973 h 2976069"/>
              <a:gd name="connsiteX892" fmla="*/ 2290654 w 3564335"/>
              <a:gd name="connsiteY892" fmla="*/ 354413 h 2976069"/>
              <a:gd name="connsiteX893" fmla="*/ 2356879 w 3564335"/>
              <a:gd name="connsiteY893" fmla="*/ 373766 h 2976069"/>
              <a:gd name="connsiteX894" fmla="*/ 2398913 w 3564335"/>
              <a:gd name="connsiteY894" fmla="*/ 403855 h 2976069"/>
              <a:gd name="connsiteX895" fmla="*/ 2447599 w 3564335"/>
              <a:gd name="connsiteY895" fmla="*/ 466452 h 2976069"/>
              <a:gd name="connsiteX896" fmla="*/ 2461963 w 3564335"/>
              <a:gd name="connsiteY896" fmla="*/ 502286 h 2976069"/>
              <a:gd name="connsiteX897" fmla="*/ 2472245 w 3564335"/>
              <a:gd name="connsiteY897" fmla="*/ 514534 h 2976069"/>
              <a:gd name="connsiteX898" fmla="*/ 2604394 w 3564335"/>
              <a:gd name="connsiteY898" fmla="*/ 382385 h 2976069"/>
              <a:gd name="connsiteX899" fmla="*/ 1808930 w 3564335"/>
              <a:gd name="connsiteY899" fmla="*/ 53222 h 2976069"/>
              <a:gd name="connsiteX900" fmla="*/ 1808930 w 3564335"/>
              <a:gd name="connsiteY900" fmla="*/ 243281 h 2976069"/>
              <a:gd name="connsiteX901" fmla="*/ 1809233 w 3564335"/>
              <a:gd name="connsiteY901" fmla="*/ 486411 h 2976069"/>
              <a:gd name="connsiteX902" fmla="*/ 2239548 w 3564335"/>
              <a:gd name="connsiteY902" fmla="*/ 640181 h 2976069"/>
              <a:gd name="connsiteX903" fmla="*/ 2205830 w 3564335"/>
              <a:gd name="connsiteY903" fmla="*/ 596635 h 2976069"/>
              <a:gd name="connsiteX904" fmla="*/ 2154876 w 3564335"/>
              <a:gd name="connsiteY904" fmla="*/ 561859 h 2976069"/>
              <a:gd name="connsiteX905" fmla="*/ 2204923 w 3564335"/>
              <a:gd name="connsiteY905" fmla="*/ 580306 h 2976069"/>
              <a:gd name="connsiteX906" fmla="*/ 2187535 w 3564335"/>
              <a:gd name="connsiteY906" fmla="*/ 536760 h 2976069"/>
              <a:gd name="connsiteX907" fmla="*/ 2239246 w 3564335"/>
              <a:gd name="connsiteY907" fmla="*/ 594972 h 2976069"/>
              <a:gd name="connsiteX908" fmla="*/ 2277651 w 3564335"/>
              <a:gd name="connsiteY908" fmla="*/ 609639 h 2976069"/>
              <a:gd name="connsiteX909" fmla="*/ 2300935 w 3564335"/>
              <a:gd name="connsiteY909" fmla="*/ 640786 h 2976069"/>
              <a:gd name="connsiteX910" fmla="*/ 2311671 w 3564335"/>
              <a:gd name="connsiteY910" fmla="*/ 653335 h 2976069"/>
              <a:gd name="connsiteX911" fmla="*/ 2298214 w 3564335"/>
              <a:gd name="connsiteY911" fmla="*/ 649102 h 2976069"/>
              <a:gd name="connsiteX912" fmla="*/ 2307286 w 3564335"/>
              <a:gd name="connsiteY912" fmla="*/ 679493 h 2976069"/>
              <a:gd name="connsiteX913" fmla="*/ 2370487 w 3564335"/>
              <a:gd name="connsiteY913" fmla="*/ 616291 h 2976069"/>
              <a:gd name="connsiteX914" fmla="*/ 2330571 w 3564335"/>
              <a:gd name="connsiteY914" fmla="*/ 570024 h 2976069"/>
              <a:gd name="connsiteX915" fmla="*/ 2300633 w 3564335"/>
              <a:gd name="connsiteY915" fmla="*/ 585144 h 2976069"/>
              <a:gd name="connsiteX916" fmla="*/ 2279011 w 3564335"/>
              <a:gd name="connsiteY916" fmla="*/ 590134 h 2976069"/>
              <a:gd name="connsiteX917" fmla="*/ 2280221 w 3564335"/>
              <a:gd name="connsiteY917" fmla="*/ 564883 h 2976069"/>
              <a:gd name="connsiteX918" fmla="*/ 2271754 w 3564335"/>
              <a:gd name="connsiteY918" fmla="*/ 544925 h 2976069"/>
              <a:gd name="connsiteX919" fmla="*/ 2263891 w 3564335"/>
              <a:gd name="connsiteY919" fmla="*/ 499111 h 2976069"/>
              <a:gd name="connsiteX920" fmla="*/ 2236827 w 3564335"/>
              <a:gd name="connsiteY920" fmla="*/ 455112 h 2976069"/>
              <a:gd name="connsiteX921" fmla="*/ 2209459 w 3564335"/>
              <a:gd name="connsiteY921" fmla="*/ 397051 h 2976069"/>
              <a:gd name="connsiteX922" fmla="*/ 1809233 w 3564335"/>
              <a:gd name="connsiteY922" fmla="*/ 296352 h 2976069"/>
              <a:gd name="connsiteX923" fmla="*/ 1809233 w 3564335"/>
              <a:gd name="connsiteY923" fmla="*/ 486562 h 2976069"/>
              <a:gd name="connsiteX924" fmla="*/ 1809233 w 3564335"/>
              <a:gd name="connsiteY924" fmla="*/ 729691 h 2976069"/>
              <a:gd name="connsiteX925" fmla="*/ 2125846 w 3564335"/>
              <a:gd name="connsiteY925" fmla="*/ 861084 h 2976069"/>
              <a:gd name="connsiteX926" fmla="*/ 2260263 w 3564335"/>
              <a:gd name="connsiteY926" fmla="*/ 726667 h 2976069"/>
              <a:gd name="connsiteX927" fmla="*/ 1809233 w 3564335"/>
              <a:gd name="connsiteY927" fmla="*/ 539482 h 2976069"/>
              <a:gd name="connsiteX928" fmla="*/ 1809233 w 3564335"/>
              <a:gd name="connsiteY928" fmla="*/ 729691 h 2976069"/>
              <a:gd name="connsiteX929" fmla="*/ 1809233 w 3564335"/>
              <a:gd name="connsiteY929" fmla="*/ 973426 h 2976069"/>
              <a:gd name="connsiteX930" fmla="*/ 1862455 w 3564335"/>
              <a:gd name="connsiteY930" fmla="*/ 984161 h 2976069"/>
              <a:gd name="connsiteX931" fmla="*/ 1887554 w 3564335"/>
              <a:gd name="connsiteY931" fmla="*/ 961330 h 2976069"/>
              <a:gd name="connsiteX932" fmla="*/ 1904942 w 3564335"/>
              <a:gd name="connsiteY932" fmla="*/ 965715 h 2976069"/>
              <a:gd name="connsiteX933" fmla="*/ 1890125 w 3564335"/>
              <a:gd name="connsiteY933" fmla="*/ 994442 h 2976069"/>
              <a:gd name="connsiteX934" fmla="*/ 1942894 w 3564335"/>
              <a:gd name="connsiteY934" fmla="*/ 1024834 h 2976069"/>
              <a:gd name="connsiteX935" fmla="*/ 1953477 w 3564335"/>
              <a:gd name="connsiteY935" fmla="*/ 1033150 h 2976069"/>
              <a:gd name="connsiteX936" fmla="*/ 1971773 w 3564335"/>
              <a:gd name="connsiteY936" fmla="*/ 1014855 h 2976069"/>
              <a:gd name="connsiteX937" fmla="*/ 1971470 w 3564335"/>
              <a:gd name="connsiteY937" fmla="*/ 1012889 h 2976069"/>
              <a:gd name="connsiteX938" fmla="*/ 2004130 w 3564335"/>
              <a:gd name="connsiteY938" fmla="*/ 982498 h 2976069"/>
              <a:gd name="connsiteX939" fmla="*/ 2063400 w 3564335"/>
              <a:gd name="connsiteY939" fmla="*/ 923227 h 2976069"/>
              <a:gd name="connsiteX940" fmla="*/ 2058864 w 3564335"/>
              <a:gd name="connsiteY940" fmla="*/ 922471 h 2976069"/>
              <a:gd name="connsiteX941" fmla="*/ 2031799 w 3564335"/>
              <a:gd name="connsiteY941" fmla="*/ 933358 h 2976069"/>
              <a:gd name="connsiteX942" fmla="*/ 2073530 w 3564335"/>
              <a:gd name="connsiteY942" fmla="*/ 903420 h 2976069"/>
              <a:gd name="connsiteX943" fmla="*/ 2080334 w 3564335"/>
              <a:gd name="connsiteY943" fmla="*/ 906142 h 2976069"/>
              <a:gd name="connsiteX944" fmla="*/ 2087894 w 3564335"/>
              <a:gd name="connsiteY944" fmla="*/ 898582 h 2976069"/>
              <a:gd name="connsiteX945" fmla="*/ 1808930 w 3564335"/>
              <a:gd name="connsiteY945" fmla="*/ 782762 h 2976069"/>
              <a:gd name="connsiteX946" fmla="*/ 1808930 w 3564335"/>
              <a:gd name="connsiteY946" fmla="*/ 973275 h 2976069"/>
              <a:gd name="connsiteX947" fmla="*/ 1782621 w 3564335"/>
              <a:gd name="connsiteY947" fmla="*/ 1025136 h 2976069"/>
              <a:gd name="connsiteX948" fmla="*/ 1718059 w 3564335"/>
              <a:gd name="connsiteY948" fmla="*/ 1034964 h 2976069"/>
              <a:gd name="connsiteX949" fmla="*/ 1714884 w 3564335"/>
              <a:gd name="connsiteY949" fmla="*/ 1042675 h 2976069"/>
              <a:gd name="connsiteX950" fmla="*/ 1738169 w 3564335"/>
              <a:gd name="connsiteY950" fmla="*/ 1049026 h 2976069"/>
              <a:gd name="connsiteX951" fmla="*/ 1722293 w 3564335"/>
              <a:gd name="connsiteY951" fmla="*/ 1059761 h 2976069"/>
              <a:gd name="connsiteX952" fmla="*/ 1737413 w 3564335"/>
              <a:gd name="connsiteY952" fmla="*/ 1072159 h 2976069"/>
              <a:gd name="connsiteX953" fmla="*/ 1722897 w 3564335"/>
              <a:gd name="connsiteY953" fmla="*/ 1099829 h 2976069"/>
              <a:gd name="connsiteX954" fmla="*/ 1664383 w 3564335"/>
              <a:gd name="connsiteY954" fmla="*/ 1121904 h 2976069"/>
              <a:gd name="connsiteX955" fmla="*/ 1649414 w 3564335"/>
              <a:gd name="connsiteY955" fmla="*/ 1147155 h 2976069"/>
              <a:gd name="connsiteX956" fmla="*/ 1604961 w 3564335"/>
              <a:gd name="connsiteY956" fmla="*/ 1182686 h 2976069"/>
              <a:gd name="connsiteX957" fmla="*/ 1627490 w 3564335"/>
              <a:gd name="connsiteY957" fmla="*/ 1173766 h 2976069"/>
              <a:gd name="connsiteX958" fmla="*/ 1657881 w 3564335"/>
              <a:gd name="connsiteY958" fmla="*/ 1158797 h 2976069"/>
              <a:gd name="connsiteX959" fmla="*/ 1662871 w 3564335"/>
              <a:gd name="connsiteY959" fmla="*/ 1182989 h 2976069"/>
              <a:gd name="connsiteX960" fmla="*/ 1625978 w 3564335"/>
              <a:gd name="connsiteY960" fmla="*/ 1208239 h 2976069"/>
              <a:gd name="connsiteX961" fmla="*/ 1607078 w 3564335"/>
              <a:gd name="connsiteY961" fmla="*/ 1207030 h 2976069"/>
              <a:gd name="connsiteX962" fmla="*/ 1641098 w 3564335"/>
              <a:gd name="connsiteY962" fmla="*/ 1222301 h 2976069"/>
              <a:gd name="connsiteX963" fmla="*/ 1617813 w 3564335"/>
              <a:gd name="connsiteY963" fmla="*/ 1239991 h 2976069"/>
              <a:gd name="connsiteX964" fmla="*/ 1623106 w 3564335"/>
              <a:gd name="connsiteY964" fmla="*/ 1249063 h 2976069"/>
              <a:gd name="connsiteX965" fmla="*/ 1647600 w 3564335"/>
              <a:gd name="connsiteY965" fmla="*/ 1251029 h 2976069"/>
              <a:gd name="connsiteX966" fmla="*/ 1605566 w 3564335"/>
              <a:gd name="connsiteY966" fmla="*/ 1331467 h 2976069"/>
              <a:gd name="connsiteX967" fmla="*/ 1587725 w 3564335"/>
              <a:gd name="connsiteY967" fmla="*/ 1335550 h 2976069"/>
              <a:gd name="connsiteX968" fmla="*/ 1615697 w 3564335"/>
              <a:gd name="connsiteY968" fmla="*/ 1379095 h 2976069"/>
              <a:gd name="connsiteX969" fmla="*/ 1639889 w 3564335"/>
              <a:gd name="connsiteY969" fmla="*/ 1349158 h 2976069"/>
              <a:gd name="connsiteX970" fmla="*/ 1647297 w 3564335"/>
              <a:gd name="connsiteY970" fmla="*/ 1338423 h 2976069"/>
              <a:gd name="connsiteX971" fmla="*/ 1659545 w 3564335"/>
              <a:gd name="connsiteY971" fmla="*/ 1330560 h 2976069"/>
              <a:gd name="connsiteX972" fmla="*/ 1683434 w 3564335"/>
              <a:gd name="connsiteY972" fmla="*/ 1298657 h 2976069"/>
              <a:gd name="connsiteX973" fmla="*/ 1680108 w 3564335"/>
              <a:gd name="connsiteY973" fmla="*/ 1280362 h 2976069"/>
              <a:gd name="connsiteX974" fmla="*/ 1690994 w 3564335"/>
              <a:gd name="connsiteY974" fmla="*/ 1271441 h 2976069"/>
              <a:gd name="connsiteX975" fmla="*/ 1708080 w 3564335"/>
              <a:gd name="connsiteY975" fmla="*/ 1275523 h 2976069"/>
              <a:gd name="connsiteX976" fmla="*/ 1737110 w 3564335"/>
              <a:gd name="connsiteY976" fmla="*/ 1281723 h 2976069"/>
              <a:gd name="connsiteX977" fmla="*/ 1758430 w 3564335"/>
              <a:gd name="connsiteY977" fmla="*/ 1289887 h 2976069"/>
              <a:gd name="connsiteX978" fmla="*/ 1759488 w 3564335"/>
              <a:gd name="connsiteY978" fmla="*/ 1305612 h 2976069"/>
              <a:gd name="connsiteX979" fmla="*/ 1766897 w 3564335"/>
              <a:gd name="connsiteY979" fmla="*/ 1306368 h 2976069"/>
              <a:gd name="connsiteX980" fmla="*/ 1747846 w 3564335"/>
              <a:gd name="connsiteY980" fmla="*/ 1335399 h 2976069"/>
              <a:gd name="connsiteX981" fmla="*/ 1717908 w 3564335"/>
              <a:gd name="connsiteY981" fmla="*/ 1393006 h 2976069"/>
              <a:gd name="connsiteX982" fmla="*/ 1685702 w 3564335"/>
              <a:gd name="connsiteY982" fmla="*/ 1393762 h 2976069"/>
              <a:gd name="connsiteX983" fmla="*/ 1666953 w 3564335"/>
              <a:gd name="connsiteY983" fmla="*/ 1399054 h 2976069"/>
              <a:gd name="connsiteX984" fmla="*/ 1640040 w 3564335"/>
              <a:gd name="connsiteY984" fmla="*/ 1404648 h 2976069"/>
              <a:gd name="connsiteX985" fmla="*/ 1782470 w 3564335"/>
              <a:gd name="connsiteY985" fmla="*/ 1458475 h 2976069"/>
              <a:gd name="connsiteX986" fmla="*/ 1816944 w 3564335"/>
              <a:gd name="connsiteY986" fmla="*/ 1455603 h 2976069"/>
              <a:gd name="connsiteX987" fmla="*/ 1828284 w 3564335"/>
              <a:gd name="connsiteY987" fmla="*/ 1424153 h 2976069"/>
              <a:gd name="connsiteX988" fmla="*/ 1831308 w 3564335"/>
              <a:gd name="connsiteY988" fmla="*/ 1404648 h 2976069"/>
              <a:gd name="connsiteX989" fmla="*/ 1858826 w 3564335"/>
              <a:gd name="connsiteY989" fmla="*/ 1378490 h 2976069"/>
              <a:gd name="connsiteX990" fmla="*/ 1878180 w 3564335"/>
              <a:gd name="connsiteY990" fmla="*/ 1381363 h 2976069"/>
              <a:gd name="connsiteX991" fmla="*/ 1906303 w 3564335"/>
              <a:gd name="connsiteY991" fmla="*/ 1388016 h 2976069"/>
              <a:gd name="connsiteX992" fmla="*/ 1885437 w 3564335"/>
              <a:gd name="connsiteY992" fmla="*/ 1401322 h 2976069"/>
              <a:gd name="connsiteX993" fmla="*/ 1907210 w 3564335"/>
              <a:gd name="connsiteY993" fmla="*/ 1405706 h 2976069"/>
              <a:gd name="connsiteX994" fmla="*/ 1912956 w 3564335"/>
              <a:gd name="connsiteY994" fmla="*/ 1376979 h 2976069"/>
              <a:gd name="connsiteX995" fmla="*/ 1916434 w 3564335"/>
              <a:gd name="connsiteY995" fmla="*/ 1368058 h 2976069"/>
              <a:gd name="connsiteX996" fmla="*/ 1928378 w 3564335"/>
              <a:gd name="connsiteY996" fmla="*/ 1336608 h 2976069"/>
              <a:gd name="connsiteX997" fmla="*/ 1904186 w 3564335"/>
              <a:gd name="connsiteY997" fmla="*/ 1334189 h 2976069"/>
              <a:gd name="connsiteX998" fmla="*/ 1887706 w 3564335"/>
              <a:gd name="connsiteY998" fmla="*/ 1309695 h 2976069"/>
              <a:gd name="connsiteX999" fmla="*/ 1913258 w 3564335"/>
              <a:gd name="connsiteY999" fmla="*/ 1327083 h 2976069"/>
              <a:gd name="connsiteX1000" fmla="*/ 1934729 w 3564335"/>
              <a:gd name="connsiteY1000" fmla="*/ 1308031 h 2976069"/>
              <a:gd name="connsiteX1001" fmla="*/ 1913258 w 3564335"/>
              <a:gd name="connsiteY1001" fmla="*/ 1288526 h 2976069"/>
              <a:gd name="connsiteX1002" fmla="*/ 1927169 w 3564335"/>
              <a:gd name="connsiteY1002" fmla="*/ 1283083 h 2976069"/>
              <a:gd name="connsiteX1003" fmla="*/ 1918248 w 3564335"/>
              <a:gd name="connsiteY1003" fmla="*/ 1262218 h 2976069"/>
              <a:gd name="connsiteX1004" fmla="*/ 1889520 w 3564335"/>
              <a:gd name="connsiteY1004" fmla="*/ 1221545 h 2976069"/>
              <a:gd name="connsiteX1005" fmla="*/ 1871074 w 3564335"/>
              <a:gd name="connsiteY1005" fmla="*/ 1233339 h 2976069"/>
              <a:gd name="connsiteX1006" fmla="*/ 1863060 w 3564335"/>
              <a:gd name="connsiteY1006" fmla="*/ 1227139 h 2976069"/>
              <a:gd name="connsiteX1007" fmla="*/ 1883774 w 3564335"/>
              <a:gd name="connsiteY1007" fmla="*/ 1202645 h 2976069"/>
              <a:gd name="connsiteX1008" fmla="*/ 1903279 w 3564335"/>
              <a:gd name="connsiteY1008" fmla="*/ 1183291 h 2976069"/>
              <a:gd name="connsiteX1009" fmla="*/ 1889822 w 3564335"/>
              <a:gd name="connsiteY1009" fmla="*/ 1155319 h 2976069"/>
              <a:gd name="connsiteX1010" fmla="*/ 1874249 w 3564335"/>
              <a:gd name="connsiteY1010" fmla="*/ 1130825 h 2976069"/>
              <a:gd name="connsiteX1011" fmla="*/ 1856407 w 3564335"/>
              <a:gd name="connsiteY1011" fmla="*/ 1107389 h 2976069"/>
              <a:gd name="connsiteX1012" fmla="*/ 1838263 w 3564335"/>
              <a:gd name="connsiteY1012" fmla="*/ 1095293 h 2976069"/>
              <a:gd name="connsiteX1013" fmla="*/ 1806360 w 3564335"/>
              <a:gd name="connsiteY1013" fmla="*/ 1080929 h 2976069"/>
              <a:gd name="connsiteX1014" fmla="*/ 1766443 w 3564335"/>
              <a:gd name="connsiteY1014" fmla="*/ 1057644 h 2976069"/>
              <a:gd name="connsiteX1015" fmla="*/ 1751928 w 3564335"/>
              <a:gd name="connsiteY1015" fmla="*/ 1043280 h 2976069"/>
              <a:gd name="connsiteX1016" fmla="*/ 1782319 w 3564335"/>
              <a:gd name="connsiteY1016" fmla="*/ 1041315 h 2976069"/>
              <a:gd name="connsiteX1017" fmla="*/ 1786401 w 3564335"/>
              <a:gd name="connsiteY1017" fmla="*/ 1025439 h 2976069"/>
              <a:gd name="connsiteX1018" fmla="*/ 1782319 w 3564335"/>
              <a:gd name="connsiteY1018" fmla="*/ 1025287 h 2976069"/>
              <a:gd name="connsiteX1019" fmla="*/ 960698 w 3564335"/>
              <a:gd name="connsiteY1019" fmla="*/ 382234 h 2976069"/>
              <a:gd name="connsiteX1020" fmla="*/ 1095720 w 3564335"/>
              <a:gd name="connsiteY1020" fmla="*/ 517255 h 2976069"/>
              <a:gd name="connsiteX1021" fmla="*/ 1756161 w 3564335"/>
              <a:gd name="connsiteY1021" fmla="*/ 243130 h 2976069"/>
              <a:gd name="connsiteX1022" fmla="*/ 1756161 w 3564335"/>
              <a:gd name="connsiteY1022" fmla="*/ 53071 h 2976069"/>
              <a:gd name="connsiteX1023" fmla="*/ 960698 w 3564335"/>
              <a:gd name="connsiteY1023" fmla="*/ 382234 h 2976069"/>
              <a:gd name="connsiteX1024" fmla="*/ 594038 w 3564335"/>
              <a:gd name="connsiteY1024" fmla="*/ 1215195 h 2976069"/>
              <a:gd name="connsiteX1025" fmla="*/ 784096 w 3564335"/>
              <a:gd name="connsiteY1025" fmla="*/ 1215195 h 2976069"/>
              <a:gd name="connsiteX1026" fmla="*/ 1058071 w 3564335"/>
              <a:gd name="connsiteY1026" fmla="*/ 554753 h 2976069"/>
              <a:gd name="connsiteX1027" fmla="*/ 923049 w 3564335"/>
              <a:gd name="connsiteY1027" fmla="*/ 419731 h 2976069"/>
              <a:gd name="connsiteX1028" fmla="*/ 593887 w 3564335"/>
              <a:gd name="connsiteY1028" fmla="*/ 1215043 h 29760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</a:cxnLst>
            <a:rect l="l" t="t" r="r" b="b"/>
            <a:pathLst>
              <a:path w="3564335" h="2976069">
                <a:moveTo>
                  <a:pt x="2838754" y="2706480"/>
                </a:moveTo>
                <a:cubicBezTo>
                  <a:pt x="2840417" y="2706178"/>
                  <a:pt x="2842685" y="2707992"/>
                  <a:pt x="2843592" y="2708899"/>
                </a:cubicBezTo>
                <a:cubicBezTo>
                  <a:pt x="2778727" y="2775427"/>
                  <a:pt x="2695416" y="2821090"/>
                  <a:pt x="2615583" y="2843770"/>
                </a:cubicBezTo>
                <a:cubicBezTo>
                  <a:pt x="2556312" y="2860553"/>
                  <a:pt x="2496588" y="2863426"/>
                  <a:pt x="2435503" y="2856622"/>
                </a:cubicBezTo>
                <a:cubicBezTo>
                  <a:pt x="2341457" y="2846038"/>
                  <a:pt x="2258599" y="2808389"/>
                  <a:pt x="2180731" y="2757284"/>
                </a:cubicBezTo>
                <a:cubicBezTo>
                  <a:pt x="2134162" y="2726741"/>
                  <a:pt x="2088046" y="2695291"/>
                  <a:pt x="2041930" y="2663993"/>
                </a:cubicBezTo>
                <a:cubicBezTo>
                  <a:pt x="1989010" y="2628007"/>
                  <a:pt x="1930646" y="2621354"/>
                  <a:pt x="1869108" y="2631334"/>
                </a:cubicBezTo>
                <a:cubicBezTo>
                  <a:pt x="1835844" y="2634962"/>
                  <a:pt x="1861094" y="2650990"/>
                  <a:pt x="1866235" y="2653560"/>
                </a:cubicBezTo>
                <a:cubicBezTo>
                  <a:pt x="1948790" y="2694082"/>
                  <a:pt x="2026507" y="2742466"/>
                  <a:pt x="2099234" y="2798561"/>
                </a:cubicBezTo>
                <a:cubicBezTo>
                  <a:pt x="2148526" y="2834849"/>
                  <a:pt x="2236675" y="2919672"/>
                  <a:pt x="2236675" y="2919672"/>
                </a:cubicBezTo>
                <a:lnTo>
                  <a:pt x="2170752" y="2976070"/>
                </a:lnTo>
                <a:cubicBezTo>
                  <a:pt x="2170752" y="2976070"/>
                  <a:pt x="2120403" y="2919672"/>
                  <a:pt x="2098630" y="2897899"/>
                </a:cubicBezTo>
                <a:cubicBezTo>
                  <a:pt x="1954082" y="2747304"/>
                  <a:pt x="1826167" y="2681230"/>
                  <a:pt x="1797741" y="2664900"/>
                </a:cubicBezTo>
                <a:cubicBezTo>
                  <a:pt x="1792752" y="2662027"/>
                  <a:pt x="1788065" y="2659306"/>
                  <a:pt x="1782924" y="2659306"/>
                </a:cubicBezTo>
                <a:cubicBezTo>
                  <a:pt x="1777783" y="2659306"/>
                  <a:pt x="1773096" y="2662027"/>
                  <a:pt x="1768106" y="2664900"/>
                </a:cubicBezTo>
                <a:cubicBezTo>
                  <a:pt x="1739681" y="2681230"/>
                  <a:pt x="1611766" y="2747455"/>
                  <a:pt x="1467218" y="2897899"/>
                </a:cubicBezTo>
                <a:cubicBezTo>
                  <a:pt x="1445294" y="2919824"/>
                  <a:pt x="1395096" y="2976070"/>
                  <a:pt x="1395096" y="2976070"/>
                </a:cubicBezTo>
                <a:lnTo>
                  <a:pt x="1329173" y="2919672"/>
                </a:lnTo>
                <a:cubicBezTo>
                  <a:pt x="1329173" y="2919672"/>
                  <a:pt x="1417322" y="2834698"/>
                  <a:pt x="1466613" y="2798561"/>
                </a:cubicBezTo>
                <a:cubicBezTo>
                  <a:pt x="1539189" y="2742466"/>
                  <a:pt x="1617057" y="2694082"/>
                  <a:pt x="1699613" y="2653560"/>
                </a:cubicBezTo>
                <a:cubicBezTo>
                  <a:pt x="1704753" y="2650990"/>
                  <a:pt x="1730004" y="2634962"/>
                  <a:pt x="1696740" y="2631334"/>
                </a:cubicBezTo>
                <a:cubicBezTo>
                  <a:pt x="1635201" y="2621354"/>
                  <a:pt x="1576838" y="2627856"/>
                  <a:pt x="1523918" y="2663993"/>
                </a:cubicBezTo>
                <a:cubicBezTo>
                  <a:pt x="1477802" y="2695291"/>
                  <a:pt x="1431686" y="2726741"/>
                  <a:pt x="1385117" y="2757284"/>
                </a:cubicBezTo>
                <a:cubicBezTo>
                  <a:pt x="1307400" y="2808389"/>
                  <a:pt x="1224391" y="2846038"/>
                  <a:pt x="1130344" y="2856622"/>
                </a:cubicBezTo>
                <a:cubicBezTo>
                  <a:pt x="1069260" y="2863426"/>
                  <a:pt x="1009536" y="2860704"/>
                  <a:pt x="950265" y="2843770"/>
                </a:cubicBezTo>
                <a:cubicBezTo>
                  <a:pt x="870432" y="2821090"/>
                  <a:pt x="786969" y="2775125"/>
                  <a:pt x="721953" y="2708597"/>
                </a:cubicBezTo>
                <a:cubicBezTo>
                  <a:pt x="722709" y="2707690"/>
                  <a:pt x="725280" y="2706178"/>
                  <a:pt x="726943" y="2706480"/>
                </a:cubicBezTo>
                <a:cubicBezTo>
                  <a:pt x="732386" y="2708899"/>
                  <a:pt x="735863" y="2710714"/>
                  <a:pt x="741156" y="2713435"/>
                </a:cubicBezTo>
                <a:cubicBezTo>
                  <a:pt x="837621" y="2763029"/>
                  <a:pt x="939379" y="2768926"/>
                  <a:pt x="1043858" y="2748665"/>
                </a:cubicBezTo>
                <a:cubicBezTo>
                  <a:pt x="1115224" y="2734906"/>
                  <a:pt x="1181450" y="2706329"/>
                  <a:pt x="1247978" y="2677904"/>
                </a:cubicBezTo>
                <a:cubicBezTo>
                  <a:pt x="1295606" y="2657642"/>
                  <a:pt x="1342629" y="2635265"/>
                  <a:pt x="1391618" y="2619087"/>
                </a:cubicBezTo>
                <a:cubicBezTo>
                  <a:pt x="1518626" y="2577204"/>
                  <a:pt x="1647297" y="2577658"/>
                  <a:pt x="1776573" y="2610468"/>
                </a:cubicBezTo>
                <a:cubicBezTo>
                  <a:pt x="1778690" y="2611073"/>
                  <a:pt x="1780958" y="2611375"/>
                  <a:pt x="1783075" y="2611678"/>
                </a:cubicBezTo>
                <a:cubicBezTo>
                  <a:pt x="1785343" y="2611375"/>
                  <a:pt x="1787460" y="2611073"/>
                  <a:pt x="1789577" y="2610468"/>
                </a:cubicBezTo>
                <a:cubicBezTo>
                  <a:pt x="1918853" y="2577809"/>
                  <a:pt x="2047524" y="2577204"/>
                  <a:pt x="2174532" y="2619087"/>
                </a:cubicBezTo>
                <a:cubicBezTo>
                  <a:pt x="2223521" y="2635265"/>
                  <a:pt x="2270544" y="2657642"/>
                  <a:pt x="2318172" y="2677904"/>
                </a:cubicBezTo>
                <a:cubicBezTo>
                  <a:pt x="2384549" y="2706329"/>
                  <a:pt x="2450926" y="2734906"/>
                  <a:pt x="2522292" y="2748665"/>
                </a:cubicBezTo>
                <a:cubicBezTo>
                  <a:pt x="2626771" y="2768774"/>
                  <a:pt x="2728529" y="2763029"/>
                  <a:pt x="2824995" y="2713435"/>
                </a:cubicBezTo>
                <a:cubicBezTo>
                  <a:pt x="2830287" y="2710714"/>
                  <a:pt x="2833764" y="2708899"/>
                  <a:pt x="2839207" y="2706480"/>
                </a:cubicBezTo>
                <a:close/>
                <a:moveTo>
                  <a:pt x="3143573" y="2429784"/>
                </a:moveTo>
                <a:cubicBezTo>
                  <a:pt x="3088385" y="2472271"/>
                  <a:pt x="3052702" y="2486333"/>
                  <a:pt x="3006889" y="2502058"/>
                </a:cubicBezTo>
                <a:cubicBezTo>
                  <a:pt x="2937941" y="2525645"/>
                  <a:pt x="2863702" y="2530483"/>
                  <a:pt x="2791731" y="2534263"/>
                </a:cubicBezTo>
                <a:cubicBezTo>
                  <a:pt x="2696626" y="2539253"/>
                  <a:pt x="2604847" y="2543335"/>
                  <a:pt x="2511103" y="2558607"/>
                </a:cubicBezTo>
                <a:cubicBezTo>
                  <a:pt x="2510650" y="2558607"/>
                  <a:pt x="2510045" y="2558758"/>
                  <a:pt x="2509591" y="2558909"/>
                </a:cubicBezTo>
                <a:cubicBezTo>
                  <a:pt x="2503695" y="2559816"/>
                  <a:pt x="2500973" y="2557397"/>
                  <a:pt x="2502938" y="2555280"/>
                </a:cubicBezTo>
                <a:cubicBezTo>
                  <a:pt x="2503241" y="2554978"/>
                  <a:pt x="2503846" y="2554524"/>
                  <a:pt x="2504299" y="2554373"/>
                </a:cubicBezTo>
                <a:cubicBezTo>
                  <a:pt x="2587913" y="2523830"/>
                  <a:pt x="2644613" y="2458966"/>
                  <a:pt x="2687403" y="2377469"/>
                </a:cubicBezTo>
                <a:cubicBezTo>
                  <a:pt x="2717038" y="2321071"/>
                  <a:pt x="2765573" y="2210998"/>
                  <a:pt x="2779030" y="2193005"/>
                </a:cubicBezTo>
                <a:cubicBezTo>
                  <a:pt x="2779332" y="2192703"/>
                  <a:pt x="2779030" y="2188923"/>
                  <a:pt x="2778123" y="2188318"/>
                </a:cubicBezTo>
                <a:cubicBezTo>
                  <a:pt x="2771772" y="2190435"/>
                  <a:pt x="2679691" y="2268756"/>
                  <a:pt x="2637960" y="2307463"/>
                </a:cubicBezTo>
                <a:cubicBezTo>
                  <a:pt x="2586099" y="2355696"/>
                  <a:pt x="2537412" y="2407104"/>
                  <a:pt x="2485551" y="2455186"/>
                </a:cubicBezTo>
                <a:cubicBezTo>
                  <a:pt x="2404507" y="2532600"/>
                  <a:pt x="2288083" y="2566469"/>
                  <a:pt x="2245898" y="2577507"/>
                </a:cubicBezTo>
                <a:cubicBezTo>
                  <a:pt x="2244991" y="2577809"/>
                  <a:pt x="2243026" y="2578414"/>
                  <a:pt x="2242572" y="2579019"/>
                </a:cubicBezTo>
                <a:cubicBezTo>
                  <a:pt x="2241363" y="2580682"/>
                  <a:pt x="2240758" y="2582194"/>
                  <a:pt x="2240455" y="2582799"/>
                </a:cubicBezTo>
                <a:cubicBezTo>
                  <a:pt x="2240455" y="2583101"/>
                  <a:pt x="2240455" y="2583252"/>
                  <a:pt x="2240758" y="2583403"/>
                </a:cubicBezTo>
                <a:cubicBezTo>
                  <a:pt x="2241363" y="2583403"/>
                  <a:pt x="2242118" y="2583706"/>
                  <a:pt x="2242723" y="2583857"/>
                </a:cubicBezTo>
                <a:cubicBezTo>
                  <a:pt x="2275383" y="2591266"/>
                  <a:pt x="2370034" y="2611829"/>
                  <a:pt x="2418418" y="2624832"/>
                </a:cubicBezTo>
                <a:cubicBezTo>
                  <a:pt x="2492959" y="2644791"/>
                  <a:pt x="2567803" y="2661574"/>
                  <a:pt x="2645067" y="2667017"/>
                </a:cubicBezTo>
                <a:cubicBezTo>
                  <a:pt x="2728831" y="2672914"/>
                  <a:pt x="2812143" y="2664144"/>
                  <a:pt x="2890011" y="2635114"/>
                </a:cubicBezTo>
                <a:cubicBezTo>
                  <a:pt x="2978463" y="2602152"/>
                  <a:pt x="3087629" y="2524284"/>
                  <a:pt x="3149772" y="2430843"/>
                </a:cubicBezTo>
                <a:cubicBezTo>
                  <a:pt x="3149924" y="2430540"/>
                  <a:pt x="3150075" y="2430238"/>
                  <a:pt x="3149924" y="2430087"/>
                </a:cubicBezTo>
                <a:cubicBezTo>
                  <a:pt x="3147202" y="2428726"/>
                  <a:pt x="3144027" y="2429633"/>
                  <a:pt x="3143573" y="2429935"/>
                </a:cubicBezTo>
                <a:close/>
                <a:moveTo>
                  <a:pt x="3428434" y="1992967"/>
                </a:moveTo>
                <a:cubicBezTo>
                  <a:pt x="3425864" y="1996294"/>
                  <a:pt x="3379294" y="2057379"/>
                  <a:pt x="3265138" y="2135549"/>
                </a:cubicBezTo>
                <a:cubicBezTo>
                  <a:pt x="3209648" y="2174105"/>
                  <a:pt x="3158239" y="2198750"/>
                  <a:pt x="3097306" y="2227025"/>
                </a:cubicBezTo>
                <a:cubicBezTo>
                  <a:pt x="3021252" y="2262255"/>
                  <a:pt x="2955783" y="2294611"/>
                  <a:pt x="2891220" y="2348136"/>
                </a:cubicBezTo>
                <a:cubicBezTo>
                  <a:pt x="2886987" y="2351614"/>
                  <a:pt x="2883509" y="2354184"/>
                  <a:pt x="2879276" y="2357359"/>
                </a:cubicBezTo>
                <a:cubicBezTo>
                  <a:pt x="2877008" y="2359023"/>
                  <a:pt x="2874739" y="2356150"/>
                  <a:pt x="2877310" y="2353277"/>
                </a:cubicBezTo>
                <a:cubicBezTo>
                  <a:pt x="2880485" y="2349648"/>
                  <a:pt x="2975590" y="2252275"/>
                  <a:pt x="3004167" y="2045887"/>
                </a:cubicBezTo>
                <a:cubicBezTo>
                  <a:pt x="3014146" y="1973916"/>
                  <a:pt x="3015507" y="1896048"/>
                  <a:pt x="3038943" y="1826647"/>
                </a:cubicBezTo>
                <a:cubicBezTo>
                  <a:pt x="3039548" y="1824379"/>
                  <a:pt x="3038338" y="1822111"/>
                  <a:pt x="3037431" y="1821053"/>
                </a:cubicBezTo>
                <a:cubicBezTo>
                  <a:pt x="3037431" y="1820902"/>
                  <a:pt x="3036675" y="1821355"/>
                  <a:pt x="3036524" y="1821506"/>
                </a:cubicBezTo>
                <a:cubicBezTo>
                  <a:pt x="2966669" y="1901340"/>
                  <a:pt x="2908457" y="2025626"/>
                  <a:pt x="2881392" y="2103343"/>
                </a:cubicBezTo>
                <a:cubicBezTo>
                  <a:pt x="2862190" y="2158380"/>
                  <a:pt x="2843895" y="2213719"/>
                  <a:pt x="2823936" y="2268454"/>
                </a:cubicBezTo>
                <a:cubicBezTo>
                  <a:pt x="2797023" y="2342693"/>
                  <a:pt x="2761793" y="2412547"/>
                  <a:pt x="2704640" y="2469096"/>
                </a:cubicBezTo>
                <a:cubicBezTo>
                  <a:pt x="2703883" y="2470003"/>
                  <a:pt x="2699499" y="2474539"/>
                  <a:pt x="2699499" y="2474539"/>
                </a:cubicBezTo>
                <a:cubicBezTo>
                  <a:pt x="2699499" y="2474539"/>
                  <a:pt x="2698743" y="2475900"/>
                  <a:pt x="2698591" y="2478017"/>
                </a:cubicBezTo>
                <a:cubicBezTo>
                  <a:pt x="2698591" y="2478168"/>
                  <a:pt x="2698894" y="2478622"/>
                  <a:pt x="2699045" y="2478622"/>
                </a:cubicBezTo>
                <a:cubicBezTo>
                  <a:pt x="2707210" y="2477261"/>
                  <a:pt x="2712502" y="2476354"/>
                  <a:pt x="2717794" y="2475295"/>
                </a:cubicBezTo>
                <a:cubicBezTo>
                  <a:pt x="2781449" y="2462141"/>
                  <a:pt x="2844651" y="2446870"/>
                  <a:pt x="2908759" y="2436286"/>
                </a:cubicBezTo>
                <a:cubicBezTo>
                  <a:pt x="3015809" y="2418444"/>
                  <a:pt x="3109251" y="2380493"/>
                  <a:pt x="3195435" y="2314267"/>
                </a:cubicBezTo>
                <a:cubicBezTo>
                  <a:pt x="3281921" y="2247890"/>
                  <a:pt x="3355102" y="2170627"/>
                  <a:pt x="3402881" y="2071591"/>
                </a:cubicBezTo>
                <a:cubicBezTo>
                  <a:pt x="3415280" y="2045887"/>
                  <a:pt x="3426922" y="2020637"/>
                  <a:pt x="3434633" y="1992514"/>
                </a:cubicBezTo>
                <a:cubicBezTo>
                  <a:pt x="3432970" y="1991909"/>
                  <a:pt x="3430400" y="1992060"/>
                  <a:pt x="3428737" y="1993270"/>
                </a:cubicBezTo>
                <a:close/>
                <a:moveTo>
                  <a:pt x="3553174" y="1502021"/>
                </a:moveTo>
                <a:cubicBezTo>
                  <a:pt x="3525656" y="1589566"/>
                  <a:pt x="3476062" y="1660479"/>
                  <a:pt x="3403637" y="1736683"/>
                </a:cubicBezTo>
                <a:cubicBezTo>
                  <a:pt x="3346786" y="1795349"/>
                  <a:pt x="3237469" y="1906179"/>
                  <a:pt x="3187119" y="1982988"/>
                </a:cubicBezTo>
                <a:cubicBezTo>
                  <a:pt x="3185758" y="1985105"/>
                  <a:pt x="3181978" y="1984198"/>
                  <a:pt x="3183339" y="1980266"/>
                </a:cubicBezTo>
                <a:cubicBezTo>
                  <a:pt x="3207682" y="1913285"/>
                  <a:pt x="3217964" y="1795046"/>
                  <a:pt x="3203449" y="1703268"/>
                </a:cubicBezTo>
                <a:cubicBezTo>
                  <a:pt x="3191050" y="1625098"/>
                  <a:pt x="3156728" y="1539670"/>
                  <a:pt x="3148260" y="1443960"/>
                </a:cubicBezTo>
                <a:cubicBezTo>
                  <a:pt x="3148260" y="1443506"/>
                  <a:pt x="3148260" y="1443355"/>
                  <a:pt x="3148260" y="1442902"/>
                </a:cubicBezTo>
                <a:cubicBezTo>
                  <a:pt x="3147807" y="1441692"/>
                  <a:pt x="3145690" y="1438819"/>
                  <a:pt x="3144178" y="1438668"/>
                </a:cubicBezTo>
                <a:cubicBezTo>
                  <a:pt x="3144178" y="1438970"/>
                  <a:pt x="3143271" y="1440331"/>
                  <a:pt x="3141003" y="1447740"/>
                </a:cubicBezTo>
                <a:cubicBezTo>
                  <a:pt x="3124522" y="1503382"/>
                  <a:pt x="3104110" y="1573085"/>
                  <a:pt x="3100632" y="1637799"/>
                </a:cubicBezTo>
                <a:cubicBezTo>
                  <a:pt x="3096550" y="1715818"/>
                  <a:pt x="3111216" y="1816215"/>
                  <a:pt x="3104715" y="1896653"/>
                </a:cubicBezTo>
                <a:cubicBezTo>
                  <a:pt x="3097306" y="1989490"/>
                  <a:pt x="3090956" y="2081268"/>
                  <a:pt x="3048317" y="2165487"/>
                </a:cubicBezTo>
                <a:cubicBezTo>
                  <a:pt x="3048166" y="2165940"/>
                  <a:pt x="3048015" y="2166394"/>
                  <a:pt x="3047864" y="2166847"/>
                </a:cubicBezTo>
                <a:cubicBezTo>
                  <a:pt x="3046956" y="2169115"/>
                  <a:pt x="3049376" y="2173198"/>
                  <a:pt x="3049376" y="2173198"/>
                </a:cubicBezTo>
                <a:cubicBezTo>
                  <a:pt x="3049376" y="2173198"/>
                  <a:pt x="3049678" y="2173198"/>
                  <a:pt x="3049980" y="2173047"/>
                </a:cubicBezTo>
                <a:cubicBezTo>
                  <a:pt x="3084152" y="2151274"/>
                  <a:pt x="3181373" y="2093969"/>
                  <a:pt x="3245482" y="2051028"/>
                </a:cubicBezTo>
                <a:cubicBezTo>
                  <a:pt x="3325618" y="1997503"/>
                  <a:pt x="3396380" y="1933999"/>
                  <a:pt x="3451719" y="1854015"/>
                </a:cubicBezTo>
                <a:cubicBezTo>
                  <a:pt x="3520817" y="1754071"/>
                  <a:pt x="3561037" y="1633867"/>
                  <a:pt x="3559071" y="1511244"/>
                </a:cubicBezTo>
                <a:cubicBezTo>
                  <a:pt x="3559071" y="1507162"/>
                  <a:pt x="3558769" y="1499753"/>
                  <a:pt x="3558315" y="1498846"/>
                </a:cubicBezTo>
                <a:cubicBezTo>
                  <a:pt x="3557408" y="1498543"/>
                  <a:pt x="3553628" y="1501114"/>
                  <a:pt x="3553477" y="1501719"/>
                </a:cubicBezTo>
                <a:close/>
                <a:moveTo>
                  <a:pt x="3346786" y="1554941"/>
                </a:moveTo>
                <a:cubicBezTo>
                  <a:pt x="3346484" y="1556150"/>
                  <a:pt x="3345577" y="1556604"/>
                  <a:pt x="3345123" y="1556755"/>
                </a:cubicBezTo>
                <a:cubicBezTo>
                  <a:pt x="3343157" y="1557360"/>
                  <a:pt x="3342250" y="1554941"/>
                  <a:pt x="3342250" y="1554336"/>
                </a:cubicBezTo>
                <a:cubicBezTo>
                  <a:pt x="3345425" y="1529539"/>
                  <a:pt x="3345577" y="1498846"/>
                  <a:pt x="3343913" y="1475561"/>
                </a:cubicBezTo>
                <a:cubicBezTo>
                  <a:pt x="3337260" y="1383783"/>
                  <a:pt x="3281921" y="1307880"/>
                  <a:pt x="3233386" y="1231524"/>
                </a:cubicBezTo>
                <a:cubicBezTo>
                  <a:pt x="3208136" y="1191759"/>
                  <a:pt x="3164288" y="1122055"/>
                  <a:pt x="3145539" y="1075183"/>
                </a:cubicBezTo>
                <a:cubicBezTo>
                  <a:pt x="3145388" y="1074730"/>
                  <a:pt x="3141608" y="1072462"/>
                  <a:pt x="3140549" y="1072915"/>
                </a:cubicBezTo>
                <a:cubicBezTo>
                  <a:pt x="3140096" y="1081080"/>
                  <a:pt x="3141759" y="1108145"/>
                  <a:pt x="3143573" y="1125533"/>
                </a:cubicBezTo>
                <a:cubicBezTo>
                  <a:pt x="3157181" y="1256775"/>
                  <a:pt x="3199064" y="1385446"/>
                  <a:pt x="3242307" y="1510035"/>
                </a:cubicBezTo>
                <a:cubicBezTo>
                  <a:pt x="3271337" y="1593497"/>
                  <a:pt x="3285701" y="1664863"/>
                  <a:pt x="3276780" y="1753164"/>
                </a:cubicBezTo>
                <a:cubicBezTo>
                  <a:pt x="3275873" y="1760573"/>
                  <a:pt x="3275571" y="1761329"/>
                  <a:pt x="3278595" y="1763597"/>
                </a:cubicBezTo>
                <a:cubicBezTo>
                  <a:pt x="3278595" y="1763597"/>
                  <a:pt x="3278897" y="1763446"/>
                  <a:pt x="3278897" y="1763597"/>
                </a:cubicBezTo>
                <a:cubicBezTo>
                  <a:pt x="3308532" y="1720959"/>
                  <a:pt x="3366140" y="1660932"/>
                  <a:pt x="3401520" y="1617840"/>
                </a:cubicBezTo>
                <a:cubicBezTo>
                  <a:pt x="3439925" y="1571119"/>
                  <a:pt x="3633612" y="1350216"/>
                  <a:pt x="3538205" y="1042675"/>
                </a:cubicBezTo>
                <a:cubicBezTo>
                  <a:pt x="3532460" y="1024078"/>
                  <a:pt x="3525504" y="1008050"/>
                  <a:pt x="3523237" y="1004573"/>
                </a:cubicBezTo>
                <a:cubicBezTo>
                  <a:pt x="3521724" y="1004573"/>
                  <a:pt x="3519154" y="1008504"/>
                  <a:pt x="3518852" y="1009411"/>
                </a:cubicBezTo>
                <a:cubicBezTo>
                  <a:pt x="3519457" y="1230617"/>
                  <a:pt x="3412407" y="1325722"/>
                  <a:pt x="3367652" y="1477073"/>
                </a:cubicBezTo>
                <a:cubicBezTo>
                  <a:pt x="3359184" y="1505952"/>
                  <a:pt x="3352380" y="1532715"/>
                  <a:pt x="3346635" y="1554941"/>
                </a:cubicBezTo>
                <a:close/>
                <a:moveTo>
                  <a:pt x="3180012" y="867132"/>
                </a:moveTo>
                <a:cubicBezTo>
                  <a:pt x="3144934" y="836741"/>
                  <a:pt x="3092619" y="782762"/>
                  <a:pt x="3062076" y="735739"/>
                </a:cubicBezTo>
                <a:cubicBezTo>
                  <a:pt x="3061925" y="735437"/>
                  <a:pt x="3061623" y="735135"/>
                  <a:pt x="3061320" y="734832"/>
                </a:cubicBezTo>
                <a:cubicBezTo>
                  <a:pt x="3060867" y="734379"/>
                  <a:pt x="3060413" y="734076"/>
                  <a:pt x="3059959" y="733774"/>
                </a:cubicBezTo>
                <a:cubicBezTo>
                  <a:pt x="3057994" y="732564"/>
                  <a:pt x="3055575" y="732413"/>
                  <a:pt x="3054970" y="732715"/>
                </a:cubicBezTo>
                <a:cubicBezTo>
                  <a:pt x="3053609" y="732413"/>
                  <a:pt x="3052399" y="732564"/>
                  <a:pt x="3052551" y="732866"/>
                </a:cubicBezTo>
                <a:cubicBezTo>
                  <a:pt x="3054516" y="742090"/>
                  <a:pt x="3084908" y="839614"/>
                  <a:pt x="3104564" y="885125"/>
                </a:cubicBezTo>
                <a:cubicBezTo>
                  <a:pt x="3132989" y="950746"/>
                  <a:pt x="3178652" y="1005782"/>
                  <a:pt x="3221441" y="1062331"/>
                </a:cubicBezTo>
                <a:cubicBezTo>
                  <a:pt x="3224465" y="1066414"/>
                  <a:pt x="3227640" y="1070496"/>
                  <a:pt x="3230664" y="1074579"/>
                </a:cubicBezTo>
                <a:cubicBezTo>
                  <a:pt x="3273605" y="1132337"/>
                  <a:pt x="3342250" y="1255263"/>
                  <a:pt x="3358882" y="1318313"/>
                </a:cubicBezTo>
                <a:cubicBezTo>
                  <a:pt x="3359336" y="1320127"/>
                  <a:pt x="3363116" y="1321790"/>
                  <a:pt x="3363267" y="1321035"/>
                </a:cubicBezTo>
                <a:cubicBezTo>
                  <a:pt x="3369315" y="1298506"/>
                  <a:pt x="3396984" y="1210961"/>
                  <a:pt x="3417548" y="1151993"/>
                </a:cubicBezTo>
                <a:cubicBezTo>
                  <a:pt x="3421932" y="1139746"/>
                  <a:pt x="3458220" y="1021054"/>
                  <a:pt x="3465629" y="969797"/>
                </a:cubicBezTo>
                <a:cubicBezTo>
                  <a:pt x="3486344" y="824191"/>
                  <a:pt x="3438413" y="635342"/>
                  <a:pt x="3353439" y="532073"/>
                </a:cubicBezTo>
                <a:cubicBezTo>
                  <a:pt x="3352078" y="532526"/>
                  <a:pt x="3350869" y="536306"/>
                  <a:pt x="3351020" y="537214"/>
                </a:cubicBezTo>
                <a:cubicBezTo>
                  <a:pt x="3352532" y="542052"/>
                  <a:pt x="3353741" y="545832"/>
                  <a:pt x="3355102" y="550671"/>
                </a:cubicBezTo>
                <a:cubicBezTo>
                  <a:pt x="3356917" y="557021"/>
                  <a:pt x="3358731" y="563371"/>
                  <a:pt x="3360243" y="569873"/>
                </a:cubicBezTo>
                <a:cubicBezTo>
                  <a:pt x="3382469" y="664675"/>
                  <a:pt x="3374909" y="731657"/>
                  <a:pt x="3364174" y="812246"/>
                </a:cubicBezTo>
                <a:cubicBezTo>
                  <a:pt x="3355556" y="876506"/>
                  <a:pt x="3343006" y="940162"/>
                  <a:pt x="3346332" y="1005026"/>
                </a:cubicBezTo>
                <a:cubicBezTo>
                  <a:pt x="3346937" y="1015913"/>
                  <a:pt x="3353439" y="1095595"/>
                  <a:pt x="3352532" y="1098770"/>
                </a:cubicBezTo>
                <a:cubicBezTo>
                  <a:pt x="3351473" y="1102399"/>
                  <a:pt x="3348147" y="1099526"/>
                  <a:pt x="3347844" y="1097712"/>
                </a:cubicBezTo>
                <a:cubicBezTo>
                  <a:pt x="3347844" y="1097107"/>
                  <a:pt x="3337412" y="1068077"/>
                  <a:pt x="3326979" y="1043734"/>
                </a:cubicBezTo>
                <a:cubicBezTo>
                  <a:pt x="3322594" y="1033150"/>
                  <a:pt x="3318360" y="1023170"/>
                  <a:pt x="3314732" y="1015913"/>
                </a:cubicBezTo>
                <a:cubicBezTo>
                  <a:pt x="3280560" y="948175"/>
                  <a:pt x="3236561" y="913097"/>
                  <a:pt x="3180012" y="866981"/>
                </a:cubicBezTo>
                <a:close/>
                <a:moveTo>
                  <a:pt x="3086269" y="277754"/>
                </a:moveTo>
                <a:cubicBezTo>
                  <a:pt x="3113484" y="304366"/>
                  <a:pt x="3134652" y="334001"/>
                  <a:pt x="3149470" y="368928"/>
                </a:cubicBezTo>
                <a:cubicBezTo>
                  <a:pt x="3172906" y="423965"/>
                  <a:pt x="3179861" y="506520"/>
                  <a:pt x="3194981" y="569117"/>
                </a:cubicBezTo>
                <a:cubicBezTo>
                  <a:pt x="3204204" y="607068"/>
                  <a:pt x="3209950" y="633982"/>
                  <a:pt x="3223256" y="677074"/>
                </a:cubicBezTo>
                <a:cubicBezTo>
                  <a:pt x="3224465" y="680854"/>
                  <a:pt x="3220534" y="682517"/>
                  <a:pt x="3218569" y="679039"/>
                </a:cubicBezTo>
                <a:cubicBezTo>
                  <a:pt x="3218266" y="678586"/>
                  <a:pt x="3217964" y="678132"/>
                  <a:pt x="3217510" y="677679"/>
                </a:cubicBezTo>
                <a:cubicBezTo>
                  <a:pt x="3173662" y="618257"/>
                  <a:pt x="3119381" y="581213"/>
                  <a:pt x="3041967" y="532375"/>
                </a:cubicBezTo>
                <a:cubicBezTo>
                  <a:pt x="2996002" y="502135"/>
                  <a:pt x="2960924" y="474768"/>
                  <a:pt x="2927659" y="429711"/>
                </a:cubicBezTo>
                <a:cubicBezTo>
                  <a:pt x="2921914" y="421999"/>
                  <a:pt x="2916017" y="414288"/>
                  <a:pt x="2910120" y="406728"/>
                </a:cubicBezTo>
                <a:cubicBezTo>
                  <a:pt x="2909667" y="406123"/>
                  <a:pt x="2906038" y="404914"/>
                  <a:pt x="2904979" y="405216"/>
                </a:cubicBezTo>
                <a:cubicBezTo>
                  <a:pt x="2904828" y="407031"/>
                  <a:pt x="2905584" y="410357"/>
                  <a:pt x="2906340" y="414742"/>
                </a:cubicBezTo>
                <a:cubicBezTo>
                  <a:pt x="2916319" y="464638"/>
                  <a:pt x="2949735" y="557021"/>
                  <a:pt x="3006889" y="611755"/>
                </a:cubicBezTo>
                <a:cubicBezTo>
                  <a:pt x="3048015" y="651067"/>
                  <a:pt x="3094433" y="685995"/>
                  <a:pt x="3138281" y="722434"/>
                </a:cubicBezTo>
                <a:cubicBezTo>
                  <a:pt x="3216754" y="788055"/>
                  <a:pt x="3273908" y="858967"/>
                  <a:pt x="3292354" y="882403"/>
                </a:cubicBezTo>
                <a:cubicBezTo>
                  <a:pt x="3292657" y="882706"/>
                  <a:pt x="3293110" y="883310"/>
                  <a:pt x="3293110" y="883310"/>
                </a:cubicBezTo>
                <a:cubicBezTo>
                  <a:pt x="3293110" y="883310"/>
                  <a:pt x="3296588" y="885579"/>
                  <a:pt x="3296588" y="884369"/>
                </a:cubicBezTo>
                <a:cubicBezTo>
                  <a:pt x="3296588" y="884066"/>
                  <a:pt x="3296588" y="883764"/>
                  <a:pt x="3296588" y="883462"/>
                </a:cubicBezTo>
                <a:cubicBezTo>
                  <a:pt x="3296588" y="883462"/>
                  <a:pt x="3296588" y="883462"/>
                  <a:pt x="3296588" y="883462"/>
                </a:cubicBezTo>
                <a:cubicBezTo>
                  <a:pt x="3295529" y="871970"/>
                  <a:pt x="3295076" y="853675"/>
                  <a:pt x="3295076" y="832205"/>
                </a:cubicBezTo>
                <a:cubicBezTo>
                  <a:pt x="3295076" y="784123"/>
                  <a:pt x="3297344" y="719863"/>
                  <a:pt x="3299460" y="675713"/>
                </a:cubicBezTo>
                <a:cubicBezTo>
                  <a:pt x="3300217" y="657871"/>
                  <a:pt x="3300972" y="639879"/>
                  <a:pt x="3300821" y="621886"/>
                </a:cubicBezTo>
                <a:cubicBezTo>
                  <a:pt x="3300821" y="568512"/>
                  <a:pt x="3294773" y="515743"/>
                  <a:pt x="3272244" y="465091"/>
                </a:cubicBezTo>
                <a:cubicBezTo>
                  <a:pt x="3235805" y="382990"/>
                  <a:pt x="3181524" y="317822"/>
                  <a:pt x="3100481" y="277452"/>
                </a:cubicBezTo>
                <a:cubicBezTo>
                  <a:pt x="3095643" y="275033"/>
                  <a:pt x="3089444" y="272614"/>
                  <a:pt x="3085361" y="271706"/>
                </a:cubicBezTo>
                <a:cubicBezTo>
                  <a:pt x="3085210" y="271706"/>
                  <a:pt x="3084605" y="274277"/>
                  <a:pt x="3085815" y="277452"/>
                </a:cubicBezTo>
                <a:cubicBezTo>
                  <a:pt x="3085815" y="277754"/>
                  <a:pt x="3086117" y="278057"/>
                  <a:pt x="3086419" y="278208"/>
                </a:cubicBezTo>
                <a:close/>
                <a:moveTo>
                  <a:pt x="2750302" y="122623"/>
                </a:moveTo>
                <a:cubicBezTo>
                  <a:pt x="2797325" y="164354"/>
                  <a:pt x="2834974" y="213797"/>
                  <a:pt x="2870204" y="265507"/>
                </a:cubicBezTo>
                <a:cubicBezTo>
                  <a:pt x="2904072" y="315101"/>
                  <a:pt x="2937488" y="365451"/>
                  <a:pt x="2983452" y="405216"/>
                </a:cubicBezTo>
                <a:cubicBezTo>
                  <a:pt x="3013844" y="435910"/>
                  <a:pt x="3102296" y="504554"/>
                  <a:pt x="3124371" y="521640"/>
                </a:cubicBezTo>
                <a:cubicBezTo>
                  <a:pt x="3124673" y="521942"/>
                  <a:pt x="3124976" y="522245"/>
                  <a:pt x="3125278" y="522396"/>
                </a:cubicBezTo>
                <a:cubicBezTo>
                  <a:pt x="3126034" y="522699"/>
                  <a:pt x="3127092" y="522396"/>
                  <a:pt x="3127092" y="522396"/>
                </a:cubicBezTo>
                <a:cubicBezTo>
                  <a:pt x="3127092" y="522396"/>
                  <a:pt x="3127092" y="521791"/>
                  <a:pt x="3126941" y="521338"/>
                </a:cubicBezTo>
                <a:cubicBezTo>
                  <a:pt x="3122254" y="495936"/>
                  <a:pt x="3082337" y="309658"/>
                  <a:pt x="2965762" y="217577"/>
                </a:cubicBezTo>
                <a:cubicBezTo>
                  <a:pt x="2903165" y="163447"/>
                  <a:pt x="2819854" y="130183"/>
                  <a:pt x="2739113" y="107957"/>
                </a:cubicBezTo>
                <a:cubicBezTo>
                  <a:pt x="2738357" y="109469"/>
                  <a:pt x="2739113" y="113551"/>
                  <a:pt x="2739718" y="113400"/>
                </a:cubicBezTo>
                <a:cubicBezTo>
                  <a:pt x="2743649" y="116726"/>
                  <a:pt x="2746371" y="119146"/>
                  <a:pt x="2750302" y="122623"/>
                </a:cubicBezTo>
                <a:close/>
                <a:moveTo>
                  <a:pt x="919723" y="2666866"/>
                </a:moveTo>
                <a:cubicBezTo>
                  <a:pt x="996986" y="2661422"/>
                  <a:pt x="1071830" y="2644639"/>
                  <a:pt x="1146372" y="2624681"/>
                </a:cubicBezTo>
                <a:cubicBezTo>
                  <a:pt x="1194907" y="2611678"/>
                  <a:pt x="1289407" y="2591266"/>
                  <a:pt x="1322066" y="2583706"/>
                </a:cubicBezTo>
                <a:cubicBezTo>
                  <a:pt x="1322671" y="2583706"/>
                  <a:pt x="1323427" y="2583403"/>
                  <a:pt x="1324032" y="2583252"/>
                </a:cubicBezTo>
                <a:cubicBezTo>
                  <a:pt x="1324334" y="2583252"/>
                  <a:pt x="1324485" y="2582950"/>
                  <a:pt x="1324334" y="2582647"/>
                </a:cubicBezTo>
                <a:cubicBezTo>
                  <a:pt x="1324032" y="2581891"/>
                  <a:pt x="1323427" y="2580379"/>
                  <a:pt x="1322217" y="2578867"/>
                </a:cubicBezTo>
                <a:cubicBezTo>
                  <a:pt x="1321764" y="2578263"/>
                  <a:pt x="1319798" y="2577658"/>
                  <a:pt x="1318891" y="2577355"/>
                </a:cubicBezTo>
                <a:cubicBezTo>
                  <a:pt x="1276706" y="2566469"/>
                  <a:pt x="1160282" y="2532449"/>
                  <a:pt x="1079239" y="2455035"/>
                </a:cubicBezTo>
                <a:cubicBezTo>
                  <a:pt x="1027377" y="2406802"/>
                  <a:pt x="978540" y="2355394"/>
                  <a:pt x="926829" y="2307312"/>
                </a:cubicBezTo>
                <a:cubicBezTo>
                  <a:pt x="885098" y="2268454"/>
                  <a:pt x="793017" y="2190132"/>
                  <a:pt x="786667" y="2188015"/>
                </a:cubicBezTo>
                <a:cubicBezTo>
                  <a:pt x="785760" y="2188771"/>
                  <a:pt x="785457" y="2192400"/>
                  <a:pt x="785760" y="2192854"/>
                </a:cubicBezTo>
                <a:cubicBezTo>
                  <a:pt x="799216" y="2210847"/>
                  <a:pt x="847752" y="2321071"/>
                  <a:pt x="877387" y="2377318"/>
                </a:cubicBezTo>
                <a:cubicBezTo>
                  <a:pt x="920176" y="2458663"/>
                  <a:pt x="976876" y="2523528"/>
                  <a:pt x="1060490" y="2554222"/>
                </a:cubicBezTo>
                <a:cubicBezTo>
                  <a:pt x="1060944" y="2554373"/>
                  <a:pt x="1061549" y="2554827"/>
                  <a:pt x="1061851" y="2555129"/>
                </a:cubicBezTo>
                <a:cubicBezTo>
                  <a:pt x="1063816" y="2557095"/>
                  <a:pt x="1061095" y="2559665"/>
                  <a:pt x="1055198" y="2558758"/>
                </a:cubicBezTo>
                <a:cubicBezTo>
                  <a:pt x="1054744" y="2558758"/>
                  <a:pt x="1054140" y="2558607"/>
                  <a:pt x="1053686" y="2558455"/>
                </a:cubicBezTo>
                <a:cubicBezTo>
                  <a:pt x="959942" y="2543184"/>
                  <a:pt x="868164" y="2539102"/>
                  <a:pt x="773059" y="2534112"/>
                </a:cubicBezTo>
                <a:cubicBezTo>
                  <a:pt x="701088" y="2530332"/>
                  <a:pt x="626848" y="2525494"/>
                  <a:pt x="557901" y="2501907"/>
                </a:cubicBezTo>
                <a:cubicBezTo>
                  <a:pt x="512087" y="2486182"/>
                  <a:pt x="476404" y="2472120"/>
                  <a:pt x="421216" y="2429633"/>
                </a:cubicBezTo>
                <a:cubicBezTo>
                  <a:pt x="420611" y="2429330"/>
                  <a:pt x="417587" y="2428423"/>
                  <a:pt x="414866" y="2429784"/>
                </a:cubicBezTo>
                <a:cubicBezTo>
                  <a:pt x="414715" y="2429784"/>
                  <a:pt x="414866" y="2430238"/>
                  <a:pt x="415017" y="2430540"/>
                </a:cubicBezTo>
                <a:cubicBezTo>
                  <a:pt x="477311" y="2523830"/>
                  <a:pt x="586327" y="2601850"/>
                  <a:pt x="674779" y="2634811"/>
                </a:cubicBezTo>
                <a:cubicBezTo>
                  <a:pt x="752647" y="2663842"/>
                  <a:pt x="835958" y="2672611"/>
                  <a:pt x="919723" y="2666714"/>
                </a:cubicBezTo>
                <a:close/>
                <a:moveTo>
                  <a:pt x="846996" y="2474993"/>
                </a:moveTo>
                <a:cubicBezTo>
                  <a:pt x="852288" y="2476051"/>
                  <a:pt x="857580" y="2476959"/>
                  <a:pt x="865744" y="2478319"/>
                </a:cubicBezTo>
                <a:cubicBezTo>
                  <a:pt x="865896" y="2478319"/>
                  <a:pt x="866198" y="2478017"/>
                  <a:pt x="866198" y="2477715"/>
                </a:cubicBezTo>
                <a:cubicBezTo>
                  <a:pt x="865896" y="2475749"/>
                  <a:pt x="865291" y="2474388"/>
                  <a:pt x="865291" y="2474388"/>
                </a:cubicBezTo>
                <a:cubicBezTo>
                  <a:pt x="865291" y="2474388"/>
                  <a:pt x="860906" y="2469852"/>
                  <a:pt x="860150" y="2468945"/>
                </a:cubicBezTo>
                <a:cubicBezTo>
                  <a:pt x="802996" y="2412396"/>
                  <a:pt x="767918" y="2342693"/>
                  <a:pt x="740853" y="2268303"/>
                </a:cubicBezTo>
                <a:cubicBezTo>
                  <a:pt x="721046" y="2213568"/>
                  <a:pt x="702600" y="2158229"/>
                  <a:pt x="683397" y="2103192"/>
                </a:cubicBezTo>
                <a:cubicBezTo>
                  <a:pt x="656332" y="2025475"/>
                  <a:pt x="598120" y="1901189"/>
                  <a:pt x="528266" y="1821355"/>
                </a:cubicBezTo>
                <a:cubicBezTo>
                  <a:pt x="528266" y="1821204"/>
                  <a:pt x="527510" y="1820750"/>
                  <a:pt x="527359" y="1820902"/>
                </a:cubicBezTo>
                <a:cubicBezTo>
                  <a:pt x="526603" y="1821960"/>
                  <a:pt x="525242" y="1824379"/>
                  <a:pt x="525847" y="1826496"/>
                </a:cubicBezTo>
                <a:cubicBezTo>
                  <a:pt x="549131" y="1895897"/>
                  <a:pt x="550643" y="1973765"/>
                  <a:pt x="560623" y="2045736"/>
                </a:cubicBezTo>
                <a:cubicBezTo>
                  <a:pt x="589199" y="2252124"/>
                  <a:pt x="684304" y="2349497"/>
                  <a:pt x="687480" y="2353126"/>
                </a:cubicBezTo>
                <a:cubicBezTo>
                  <a:pt x="689899" y="2355999"/>
                  <a:pt x="687631" y="2358871"/>
                  <a:pt x="685514" y="2357208"/>
                </a:cubicBezTo>
                <a:cubicBezTo>
                  <a:pt x="681280" y="2354033"/>
                  <a:pt x="677803" y="2351463"/>
                  <a:pt x="673569" y="2347985"/>
                </a:cubicBezTo>
                <a:cubicBezTo>
                  <a:pt x="609007" y="2294460"/>
                  <a:pt x="543537" y="2262255"/>
                  <a:pt x="467483" y="2226874"/>
                </a:cubicBezTo>
                <a:cubicBezTo>
                  <a:pt x="406550" y="2198599"/>
                  <a:pt x="355142" y="2173954"/>
                  <a:pt x="299651" y="2135398"/>
                </a:cubicBezTo>
                <a:cubicBezTo>
                  <a:pt x="185495" y="2057227"/>
                  <a:pt x="138926" y="1996143"/>
                  <a:pt x="136204" y="1992816"/>
                </a:cubicBezTo>
                <a:cubicBezTo>
                  <a:pt x="134541" y="1991455"/>
                  <a:pt x="131971" y="1991455"/>
                  <a:pt x="130307" y="1992060"/>
                </a:cubicBezTo>
                <a:cubicBezTo>
                  <a:pt x="138018" y="2020183"/>
                  <a:pt x="149661" y="2045434"/>
                  <a:pt x="162059" y="2071138"/>
                </a:cubicBezTo>
                <a:cubicBezTo>
                  <a:pt x="209838" y="2170023"/>
                  <a:pt x="283019" y="2247437"/>
                  <a:pt x="369506" y="2313814"/>
                </a:cubicBezTo>
                <a:cubicBezTo>
                  <a:pt x="455690" y="2380039"/>
                  <a:pt x="549131" y="2417990"/>
                  <a:pt x="656181" y="2435832"/>
                </a:cubicBezTo>
                <a:cubicBezTo>
                  <a:pt x="720139" y="2446567"/>
                  <a:pt x="783492" y="2461687"/>
                  <a:pt x="847147" y="2474842"/>
                </a:cubicBezTo>
                <a:close/>
                <a:moveTo>
                  <a:pt x="319307" y="2051179"/>
                </a:moveTo>
                <a:cubicBezTo>
                  <a:pt x="383416" y="2093969"/>
                  <a:pt x="480789" y="2151425"/>
                  <a:pt x="514809" y="2173198"/>
                </a:cubicBezTo>
                <a:cubicBezTo>
                  <a:pt x="514960" y="2173198"/>
                  <a:pt x="515414" y="2173349"/>
                  <a:pt x="515414" y="2173349"/>
                </a:cubicBezTo>
                <a:cubicBezTo>
                  <a:pt x="515414" y="2173349"/>
                  <a:pt x="517833" y="2169267"/>
                  <a:pt x="516926" y="2166999"/>
                </a:cubicBezTo>
                <a:cubicBezTo>
                  <a:pt x="516775" y="2166545"/>
                  <a:pt x="516623" y="2166091"/>
                  <a:pt x="516472" y="2165638"/>
                </a:cubicBezTo>
                <a:cubicBezTo>
                  <a:pt x="473985" y="2081419"/>
                  <a:pt x="467635" y="1989641"/>
                  <a:pt x="460075" y="1896804"/>
                </a:cubicBezTo>
                <a:cubicBezTo>
                  <a:pt x="453573" y="1816517"/>
                  <a:pt x="468391" y="1716120"/>
                  <a:pt x="464157" y="1637950"/>
                </a:cubicBezTo>
                <a:cubicBezTo>
                  <a:pt x="460679" y="1573236"/>
                  <a:pt x="440116" y="1503533"/>
                  <a:pt x="423787" y="1447891"/>
                </a:cubicBezTo>
                <a:cubicBezTo>
                  <a:pt x="421519" y="1440483"/>
                  <a:pt x="420611" y="1439122"/>
                  <a:pt x="420611" y="1438819"/>
                </a:cubicBezTo>
                <a:cubicBezTo>
                  <a:pt x="419251" y="1438819"/>
                  <a:pt x="417134" y="1441843"/>
                  <a:pt x="416529" y="1443053"/>
                </a:cubicBezTo>
                <a:cubicBezTo>
                  <a:pt x="416378" y="1443506"/>
                  <a:pt x="416529" y="1443658"/>
                  <a:pt x="416529" y="1444111"/>
                </a:cubicBezTo>
                <a:cubicBezTo>
                  <a:pt x="408062" y="1539821"/>
                  <a:pt x="373739" y="1625249"/>
                  <a:pt x="361341" y="1703419"/>
                </a:cubicBezTo>
                <a:cubicBezTo>
                  <a:pt x="346826" y="1795198"/>
                  <a:pt x="357107" y="1913436"/>
                  <a:pt x="381451" y="1980418"/>
                </a:cubicBezTo>
                <a:cubicBezTo>
                  <a:pt x="382811" y="1984349"/>
                  <a:pt x="379031" y="1985256"/>
                  <a:pt x="377671" y="1983139"/>
                </a:cubicBezTo>
                <a:cubicBezTo>
                  <a:pt x="327170" y="1906330"/>
                  <a:pt x="217852" y="1795349"/>
                  <a:pt x="161152" y="1736835"/>
                </a:cubicBezTo>
                <a:cubicBezTo>
                  <a:pt x="88727" y="1660630"/>
                  <a:pt x="39134" y="1589717"/>
                  <a:pt x="11615" y="1502172"/>
                </a:cubicBezTo>
                <a:cubicBezTo>
                  <a:pt x="11464" y="1501567"/>
                  <a:pt x="7684" y="1498846"/>
                  <a:pt x="6777" y="1499299"/>
                </a:cubicBezTo>
                <a:cubicBezTo>
                  <a:pt x="6323" y="1500206"/>
                  <a:pt x="6021" y="1507464"/>
                  <a:pt x="5870" y="1511698"/>
                </a:cubicBezTo>
                <a:cubicBezTo>
                  <a:pt x="3904" y="1634170"/>
                  <a:pt x="43972" y="1754525"/>
                  <a:pt x="113222" y="1854468"/>
                </a:cubicBezTo>
                <a:cubicBezTo>
                  <a:pt x="168561" y="1934453"/>
                  <a:pt x="239474" y="1997957"/>
                  <a:pt x="319459" y="2051482"/>
                </a:cubicBezTo>
                <a:close/>
                <a:moveTo>
                  <a:pt x="285590" y="1763597"/>
                </a:moveTo>
                <a:cubicBezTo>
                  <a:pt x="285590" y="1763597"/>
                  <a:pt x="285892" y="1763748"/>
                  <a:pt x="285892" y="1763597"/>
                </a:cubicBezTo>
                <a:cubicBezTo>
                  <a:pt x="288916" y="1761329"/>
                  <a:pt x="288765" y="1760573"/>
                  <a:pt x="287707" y="1753164"/>
                </a:cubicBezTo>
                <a:cubicBezTo>
                  <a:pt x="278786" y="1665015"/>
                  <a:pt x="293301" y="1593497"/>
                  <a:pt x="322180" y="1510035"/>
                </a:cubicBezTo>
                <a:cubicBezTo>
                  <a:pt x="365423" y="1385446"/>
                  <a:pt x="407306" y="1256926"/>
                  <a:pt x="420914" y="1125533"/>
                </a:cubicBezTo>
                <a:cubicBezTo>
                  <a:pt x="422728" y="1107994"/>
                  <a:pt x="424391" y="1081080"/>
                  <a:pt x="423938" y="1072764"/>
                </a:cubicBezTo>
                <a:cubicBezTo>
                  <a:pt x="422879" y="1072310"/>
                  <a:pt x="419099" y="1074579"/>
                  <a:pt x="418948" y="1075032"/>
                </a:cubicBezTo>
                <a:cubicBezTo>
                  <a:pt x="400199" y="1121904"/>
                  <a:pt x="356351" y="1191456"/>
                  <a:pt x="331101" y="1231373"/>
                </a:cubicBezTo>
                <a:cubicBezTo>
                  <a:pt x="282566" y="1307729"/>
                  <a:pt x="227227" y="1383631"/>
                  <a:pt x="220574" y="1475410"/>
                </a:cubicBezTo>
                <a:cubicBezTo>
                  <a:pt x="218911" y="1498695"/>
                  <a:pt x="219062" y="1529388"/>
                  <a:pt x="222237" y="1554185"/>
                </a:cubicBezTo>
                <a:cubicBezTo>
                  <a:pt x="222237" y="1554790"/>
                  <a:pt x="221330" y="1557058"/>
                  <a:pt x="219364" y="1556604"/>
                </a:cubicBezTo>
                <a:cubicBezTo>
                  <a:pt x="219062" y="1556604"/>
                  <a:pt x="218003" y="1555999"/>
                  <a:pt x="217701" y="1554790"/>
                </a:cubicBezTo>
                <a:cubicBezTo>
                  <a:pt x="211804" y="1532412"/>
                  <a:pt x="205151" y="1505650"/>
                  <a:pt x="196533" y="1476922"/>
                </a:cubicBezTo>
                <a:cubicBezTo>
                  <a:pt x="151929" y="1325570"/>
                  <a:pt x="44879" y="1230617"/>
                  <a:pt x="45484" y="1009260"/>
                </a:cubicBezTo>
                <a:cubicBezTo>
                  <a:pt x="45182" y="1008202"/>
                  <a:pt x="42611" y="1004422"/>
                  <a:pt x="41099" y="1004422"/>
                </a:cubicBezTo>
                <a:cubicBezTo>
                  <a:pt x="38680" y="1007899"/>
                  <a:pt x="31876" y="1023926"/>
                  <a:pt x="26131" y="1042524"/>
                </a:cubicBezTo>
                <a:cubicBezTo>
                  <a:pt x="-69277" y="1350065"/>
                  <a:pt x="124411" y="1570968"/>
                  <a:pt x="162815" y="1617689"/>
                </a:cubicBezTo>
                <a:cubicBezTo>
                  <a:pt x="198347" y="1660932"/>
                  <a:pt x="255955" y="1720807"/>
                  <a:pt x="285590" y="1763446"/>
                </a:cubicBezTo>
                <a:close/>
                <a:moveTo>
                  <a:pt x="146939" y="1152144"/>
                </a:moveTo>
                <a:cubicBezTo>
                  <a:pt x="167654" y="1211263"/>
                  <a:pt x="195323" y="1298808"/>
                  <a:pt x="201371" y="1321337"/>
                </a:cubicBezTo>
                <a:cubicBezTo>
                  <a:pt x="201523" y="1322093"/>
                  <a:pt x="205303" y="1320430"/>
                  <a:pt x="205756" y="1318615"/>
                </a:cubicBezTo>
                <a:cubicBezTo>
                  <a:pt x="222237" y="1255565"/>
                  <a:pt x="291033" y="1132488"/>
                  <a:pt x="333974" y="1074881"/>
                </a:cubicBezTo>
                <a:cubicBezTo>
                  <a:pt x="336998" y="1070799"/>
                  <a:pt x="340173" y="1066716"/>
                  <a:pt x="343197" y="1062634"/>
                </a:cubicBezTo>
                <a:cubicBezTo>
                  <a:pt x="385987" y="1006085"/>
                  <a:pt x="431649" y="951199"/>
                  <a:pt x="460075" y="885427"/>
                </a:cubicBezTo>
                <a:cubicBezTo>
                  <a:pt x="479731" y="839916"/>
                  <a:pt x="510122" y="742392"/>
                  <a:pt x="512087" y="733169"/>
                </a:cubicBezTo>
                <a:cubicBezTo>
                  <a:pt x="512087" y="732866"/>
                  <a:pt x="511029" y="732715"/>
                  <a:pt x="509517" y="733018"/>
                </a:cubicBezTo>
                <a:cubicBezTo>
                  <a:pt x="508912" y="732715"/>
                  <a:pt x="506342" y="732866"/>
                  <a:pt x="504527" y="734076"/>
                </a:cubicBezTo>
                <a:cubicBezTo>
                  <a:pt x="504074" y="734379"/>
                  <a:pt x="503620" y="734681"/>
                  <a:pt x="503167" y="735135"/>
                </a:cubicBezTo>
                <a:cubicBezTo>
                  <a:pt x="502864" y="735286"/>
                  <a:pt x="502713" y="735588"/>
                  <a:pt x="502411" y="736042"/>
                </a:cubicBezTo>
                <a:cubicBezTo>
                  <a:pt x="471868" y="783065"/>
                  <a:pt x="419553" y="837043"/>
                  <a:pt x="384475" y="867435"/>
                </a:cubicBezTo>
                <a:cubicBezTo>
                  <a:pt x="327926" y="913550"/>
                  <a:pt x="283775" y="948629"/>
                  <a:pt x="249755" y="1016366"/>
                </a:cubicBezTo>
                <a:cubicBezTo>
                  <a:pt x="246127" y="1023624"/>
                  <a:pt x="241742" y="1033603"/>
                  <a:pt x="237508" y="1044187"/>
                </a:cubicBezTo>
                <a:cubicBezTo>
                  <a:pt x="227075" y="1068530"/>
                  <a:pt x="216794" y="1097712"/>
                  <a:pt x="216643" y="1098166"/>
                </a:cubicBezTo>
                <a:cubicBezTo>
                  <a:pt x="216340" y="1099980"/>
                  <a:pt x="213014" y="1102702"/>
                  <a:pt x="211804" y="1099224"/>
                </a:cubicBezTo>
                <a:cubicBezTo>
                  <a:pt x="210897" y="1096200"/>
                  <a:pt x="217550" y="1016366"/>
                  <a:pt x="218003" y="1005480"/>
                </a:cubicBezTo>
                <a:cubicBezTo>
                  <a:pt x="221178" y="940615"/>
                  <a:pt x="208780" y="876960"/>
                  <a:pt x="200162" y="812700"/>
                </a:cubicBezTo>
                <a:cubicBezTo>
                  <a:pt x="189275" y="732110"/>
                  <a:pt x="181866" y="665129"/>
                  <a:pt x="203942" y="570326"/>
                </a:cubicBezTo>
                <a:cubicBezTo>
                  <a:pt x="205454" y="563825"/>
                  <a:pt x="207268" y="557474"/>
                  <a:pt x="209083" y="551124"/>
                </a:cubicBezTo>
                <a:cubicBezTo>
                  <a:pt x="210443" y="546286"/>
                  <a:pt x="211653" y="542506"/>
                  <a:pt x="213165" y="537667"/>
                </a:cubicBezTo>
                <a:cubicBezTo>
                  <a:pt x="213467" y="536911"/>
                  <a:pt x="212258" y="533131"/>
                  <a:pt x="210746" y="532526"/>
                </a:cubicBezTo>
                <a:cubicBezTo>
                  <a:pt x="125771" y="635796"/>
                  <a:pt x="77841" y="824645"/>
                  <a:pt x="98555" y="970250"/>
                </a:cubicBezTo>
                <a:cubicBezTo>
                  <a:pt x="105964" y="1021507"/>
                  <a:pt x="142252" y="1140199"/>
                  <a:pt x="146637" y="1152446"/>
                </a:cubicBezTo>
                <a:close/>
                <a:moveTo>
                  <a:pt x="269411" y="831751"/>
                </a:moveTo>
                <a:cubicBezTo>
                  <a:pt x="269411" y="853373"/>
                  <a:pt x="268958" y="871517"/>
                  <a:pt x="267899" y="883008"/>
                </a:cubicBezTo>
                <a:cubicBezTo>
                  <a:pt x="267899" y="883008"/>
                  <a:pt x="267899" y="883008"/>
                  <a:pt x="267899" y="883008"/>
                </a:cubicBezTo>
                <a:cubicBezTo>
                  <a:pt x="267899" y="883310"/>
                  <a:pt x="267899" y="883613"/>
                  <a:pt x="267899" y="883915"/>
                </a:cubicBezTo>
                <a:cubicBezTo>
                  <a:pt x="267899" y="885125"/>
                  <a:pt x="271377" y="882857"/>
                  <a:pt x="271377" y="882857"/>
                </a:cubicBezTo>
                <a:cubicBezTo>
                  <a:pt x="271377" y="882857"/>
                  <a:pt x="271982" y="882252"/>
                  <a:pt x="272133" y="881950"/>
                </a:cubicBezTo>
                <a:cubicBezTo>
                  <a:pt x="290579" y="858514"/>
                  <a:pt x="347733" y="787601"/>
                  <a:pt x="426206" y="721980"/>
                </a:cubicBezTo>
                <a:cubicBezTo>
                  <a:pt x="470205" y="685541"/>
                  <a:pt x="516472" y="650614"/>
                  <a:pt x="557599" y="611302"/>
                </a:cubicBezTo>
                <a:cubicBezTo>
                  <a:pt x="614903" y="556567"/>
                  <a:pt x="648319" y="464184"/>
                  <a:pt x="658147" y="414288"/>
                </a:cubicBezTo>
                <a:cubicBezTo>
                  <a:pt x="658903" y="409903"/>
                  <a:pt x="659659" y="406426"/>
                  <a:pt x="659508" y="404762"/>
                </a:cubicBezTo>
                <a:cubicBezTo>
                  <a:pt x="658449" y="404309"/>
                  <a:pt x="654971" y="405519"/>
                  <a:pt x="654367" y="406274"/>
                </a:cubicBezTo>
                <a:cubicBezTo>
                  <a:pt x="648470" y="413834"/>
                  <a:pt x="642573" y="421546"/>
                  <a:pt x="636828" y="429257"/>
                </a:cubicBezTo>
                <a:cubicBezTo>
                  <a:pt x="603412" y="474466"/>
                  <a:pt x="568485" y="501833"/>
                  <a:pt x="522369" y="531922"/>
                </a:cubicBezTo>
                <a:cubicBezTo>
                  <a:pt x="444955" y="580759"/>
                  <a:pt x="390523" y="617803"/>
                  <a:pt x="346826" y="677225"/>
                </a:cubicBezTo>
                <a:cubicBezTo>
                  <a:pt x="346523" y="677679"/>
                  <a:pt x="346070" y="678132"/>
                  <a:pt x="345767" y="678586"/>
                </a:cubicBezTo>
                <a:cubicBezTo>
                  <a:pt x="343802" y="682215"/>
                  <a:pt x="339871" y="680400"/>
                  <a:pt x="341080" y="676620"/>
                </a:cubicBezTo>
                <a:cubicBezTo>
                  <a:pt x="354386" y="633528"/>
                  <a:pt x="360131" y="606614"/>
                  <a:pt x="369355" y="568663"/>
                </a:cubicBezTo>
                <a:cubicBezTo>
                  <a:pt x="384475" y="506218"/>
                  <a:pt x="391430" y="423511"/>
                  <a:pt x="414866" y="368474"/>
                </a:cubicBezTo>
                <a:cubicBezTo>
                  <a:pt x="429683" y="333699"/>
                  <a:pt x="450851" y="303912"/>
                  <a:pt x="478067" y="277301"/>
                </a:cubicBezTo>
                <a:cubicBezTo>
                  <a:pt x="478370" y="277150"/>
                  <a:pt x="478672" y="276847"/>
                  <a:pt x="478672" y="276545"/>
                </a:cubicBezTo>
                <a:cubicBezTo>
                  <a:pt x="479731" y="273219"/>
                  <a:pt x="479277" y="270648"/>
                  <a:pt x="478975" y="270799"/>
                </a:cubicBezTo>
                <a:cubicBezTo>
                  <a:pt x="474892" y="271706"/>
                  <a:pt x="468542" y="274126"/>
                  <a:pt x="463855" y="276545"/>
                </a:cubicBezTo>
                <a:cubicBezTo>
                  <a:pt x="382811" y="316915"/>
                  <a:pt x="328531" y="382234"/>
                  <a:pt x="292091" y="464184"/>
                </a:cubicBezTo>
                <a:cubicBezTo>
                  <a:pt x="269714" y="514836"/>
                  <a:pt x="263666" y="567605"/>
                  <a:pt x="263515" y="620979"/>
                </a:cubicBezTo>
                <a:cubicBezTo>
                  <a:pt x="263515" y="638971"/>
                  <a:pt x="264119" y="656813"/>
                  <a:pt x="264875" y="674806"/>
                </a:cubicBezTo>
                <a:cubicBezTo>
                  <a:pt x="266992" y="719107"/>
                  <a:pt x="269109" y="783216"/>
                  <a:pt x="269260" y="831298"/>
                </a:cubicBezTo>
                <a:close/>
                <a:moveTo>
                  <a:pt x="437395" y="522396"/>
                </a:moveTo>
                <a:cubicBezTo>
                  <a:pt x="437395" y="522396"/>
                  <a:pt x="438604" y="522850"/>
                  <a:pt x="439209" y="522396"/>
                </a:cubicBezTo>
                <a:cubicBezTo>
                  <a:pt x="439511" y="522396"/>
                  <a:pt x="439814" y="521942"/>
                  <a:pt x="440116" y="521640"/>
                </a:cubicBezTo>
                <a:cubicBezTo>
                  <a:pt x="462191" y="504554"/>
                  <a:pt x="550643" y="435759"/>
                  <a:pt x="581035" y="405216"/>
                </a:cubicBezTo>
                <a:cubicBezTo>
                  <a:pt x="627000" y="365299"/>
                  <a:pt x="660415" y="315101"/>
                  <a:pt x="694283" y="265507"/>
                </a:cubicBezTo>
                <a:cubicBezTo>
                  <a:pt x="729513" y="213797"/>
                  <a:pt x="767162" y="164354"/>
                  <a:pt x="814185" y="122623"/>
                </a:cubicBezTo>
                <a:cubicBezTo>
                  <a:pt x="818116" y="119146"/>
                  <a:pt x="820838" y="116878"/>
                  <a:pt x="824769" y="113400"/>
                </a:cubicBezTo>
                <a:cubicBezTo>
                  <a:pt x="825223" y="113400"/>
                  <a:pt x="826130" y="109469"/>
                  <a:pt x="825374" y="107957"/>
                </a:cubicBezTo>
                <a:cubicBezTo>
                  <a:pt x="744633" y="130183"/>
                  <a:pt x="661322" y="163447"/>
                  <a:pt x="598725" y="217577"/>
                </a:cubicBezTo>
                <a:cubicBezTo>
                  <a:pt x="482150" y="309809"/>
                  <a:pt x="442233" y="495936"/>
                  <a:pt x="437546" y="521338"/>
                </a:cubicBezTo>
                <a:cubicBezTo>
                  <a:pt x="437546" y="521640"/>
                  <a:pt x="437395" y="522396"/>
                  <a:pt x="437395" y="522396"/>
                </a:cubicBezTo>
                <a:close/>
                <a:moveTo>
                  <a:pt x="1750718" y="1537099"/>
                </a:moveTo>
                <a:cubicBezTo>
                  <a:pt x="1759790" y="1523340"/>
                  <a:pt x="1737110" y="1514722"/>
                  <a:pt x="1731213" y="1538611"/>
                </a:cubicBezTo>
                <a:cubicBezTo>
                  <a:pt x="1725619" y="1560838"/>
                  <a:pt x="1741646" y="1550859"/>
                  <a:pt x="1750718" y="1537099"/>
                </a:cubicBezTo>
                <a:close/>
                <a:moveTo>
                  <a:pt x="1999291" y="962388"/>
                </a:moveTo>
                <a:cubicBezTo>
                  <a:pt x="1990521" y="957852"/>
                  <a:pt x="1954082" y="1002154"/>
                  <a:pt x="1959979" y="1009260"/>
                </a:cubicBezTo>
                <a:cubicBezTo>
                  <a:pt x="1962550" y="1012133"/>
                  <a:pt x="2002466" y="964505"/>
                  <a:pt x="1999291" y="962388"/>
                </a:cubicBezTo>
                <a:close/>
                <a:moveTo>
                  <a:pt x="2007154" y="954526"/>
                </a:moveTo>
                <a:cubicBezTo>
                  <a:pt x="2012597" y="957399"/>
                  <a:pt x="2036789" y="944244"/>
                  <a:pt x="2032253" y="940766"/>
                </a:cubicBezTo>
                <a:cubicBezTo>
                  <a:pt x="2027868" y="937138"/>
                  <a:pt x="1999442" y="924135"/>
                  <a:pt x="1998838" y="932148"/>
                </a:cubicBezTo>
                <a:cubicBezTo>
                  <a:pt x="1998081" y="945151"/>
                  <a:pt x="2001559" y="951804"/>
                  <a:pt x="2007154" y="954526"/>
                </a:cubicBezTo>
                <a:close/>
                <a:moveTo>
                  <a:pt x="2444878" y="1338271"/>
                </a:moveTo>
                <a:cubicBezTo>
                  <a:pt x="2433538" y="1338725"/>
                  <a:pt x="2421139" y="1355206"/>
                  <a:pt x="2424617" y="1355508"/>
                </a:cubicBezTo>
                <a:cubicBezTo>
                  <a:pt x="2432782" y="1355962"/>
                  <a:pt x="2439132" y="1361859"/>
                  <a:pt x="2445634" y="1360346"/>
                </a:cubicBezTo>
                <a:cubicBezTo>
                  <a:pt x="2457730" y="1357625"/>
                  <a:pt x="2456218" y="1337818"/>
                  <a:pt x="2444878" y="1338271"/>
                </a:cubicBezTo>
                <a:close/>
                <a:moveTo>
                  <a:pt x="2286269" y="925042"/>
                </a:moveTo>
                <a:cubicBezTo>
                  <a:pt x="2276441" y="925344"/>
                  <a:pt x="2274022" y="935928"/>
                  <a:pt x="2283396" y="940918"/>
                </a:cubicBezTo>
                <a:cubicBezTo>
                  <a:pt x="2287630" y="943186"/>
                  <a:pt x="2301087" y="941069"/>
                  <a:pt x="2307286" y="937289"/>
                </a:cubicBezTo>
                <a:cubicBezTo>
                  <a:pt x="2313787" y="933206"/>
                  <a:pt x="2321347" y="928066"/>
                  <a:pt x="2319987" y="918086"/>
                </a:cubicBezTo>
                <a:cubicBezTo>
                  <a:pt x="2319231" y="912039"/>
                  <a:pt x="2305018" y="894953"/>
                  <a:pt x="2312427" y="888451"/>
                </a:cubicBezTo>
                <a:cubicBezTo>
                  <a:pt x="2320440" y="881345"/>
                  <a:pt x="2328454" y="892382"/>
                  <a:pt x="2336165" y="889359"/>
                </a:cubicBezTo>
                <a:cubicBezTo>
                  <a:pt x="2345691" y="885730"/>
                  <a:pt x="2344783" y="880286"/>
                  <a:pt x="2345086" y="872122"/>
                </a:cubicBezTo>
                <a:cubicBezTo>
                  <a:pt x="2345388" y="860933"/>
                  <a:pt x="2341003" y="846266"/>
                  <a:pt x="2328000" y="846266"/>
                </a:cubicBezTo>
                <a:cubicBezTo>
                  <a:pt x="2318323" y="846266"/>
                  <a:pt x="2301540" y="872122"/>
                  <a:pt x="2300784" y="873785"/>
                </a:cubicBezTo>
                <a:cubicBezTo>
                  <a:pt x="2299423" y="876658"/>
                  <a:pt x="2296853" y="886032"/>
                  <a:pt x="2300935" y="895709"/>
                </a:cubicBezTo>
                <a:cubicBezTo>
                  <a:pt x="2306681" y="909166"/>
                  <a:pt x="2304413" y="924890"/>
                  <a:pt x="2286118" y="925344"/>
                </a:cubicBezTo>
                <a:close/>
                <a:moveTo>
                  <a:pt x="2501276" y="926856"/>
                </a:moveTo>
                <a:cubicBezTo>
                  <a:pt x="2500973" y="932904"/>
                  <a:pt x="2518210" y="974333"/>
                  <a:pt x="2520024" y="985673"/>
                </a:cubicBezTo>
                <a:cubicBezTo>
                  <a:pt x="2521838" y="997013"/>
                  <a:pt x="2525316" y="1030882"/>
                  <a:pt x="2534388" y="1027404"/>
                </a:cubicBezTo>
                <a:cubicBezTo>
                  <a:pt x="2540134" y="1025136"/>
                  <a:pt x="2539680" y="1004422"/>
                  <a:pt x="2538319" y="996257"/>
                </a:cubicBezTo>
                <a:cubicBezTo>
                  <a:pt x="2534691" y="972670"/>
                  <a:pt x="2529852" y="952258"/>
                  <a:pt x="2521083" y="925798"/>
                </a:cubicBezTo>
                <a:cubicBezTo>
                  <a:pt x="2516547" y="911736"/>
                  <a:pt x="2496437" y="865620"/>
                  <a:pt x="2489784" y="867283"/>
                </a:cubicBezTo>
                <a:cubicBezTo>
                  <a:pt x="2483887" y="868644"/>
                  <a:pt x="2499763" y="900850"/>
                  <a:pt x="2502031" y="911282"/>
                </a:cubicBezTo>
                <a:cubicBezTo>
                  <a:pt x="2503543" y="918086"/>
                  <a:pt x="2501427" y="920808"/>
                  <a:pt x="2501124" y="926856"/>
                </a:cubicBezTo>
                <a:close/>
                <a:moveTo>
                  <a:pt x="2387724" y="372557"/>
                </a:moveTo>
                <a:cubicBezTo>
                  <a:pt x="2398308" y="376639"/>
                  <a:pt x="2398308" y="356681"/>
                  <a:pt x="2380315" y="342166"/>
                </a:cubicBezTo>
                <a:cubicBezTo>
                  <a:pt x="2362323" y="327499"/>
                  <a:pt x="2338433" y="334606"/>
                  <a:pt x="2344934" y="341863"/>
                </a:cubicBezTo>
                <a:cubicBezTo>
                  <a:pt x="2350831" y="348365"/>
                  <a:pt x="2378350" y="368928"/>
                  <a:pt x="2387724" y="372557"/>
                </a:cubicBezTo>
                <a:close/>
                <a:moveTo>
                  <a:pt x="1898441" y="232092"/>
                </a:moveTo>
                <a:cubicBezTo>
                  <a:pt x="1877121" y="218333"/>
                  <a:pt x="1894963" y="199282"/>
                  <a:pt x="1877877" y="186581"/>
                </a:cubicBezTo>
                <a:cubicBezTo>
                  <a:pt x="1865933" y="177660"/>
                  <a:pt x="1832517" y="186581"/>
                  <a:pt x="1824201" y="197165"/>
                </a:cubicBezTo>
                <a:cubicBezTo>
                  <a:pt x="1809837" y="215762"/>
                  <a:pt x="1842799" y="209563"/>
                  <a:pt x="1854744" y="214855"/>
                </a:cubicBezTo>
                <a:cubicBezTo>
                  <a:pt x="1868050" y="220752"/>
                  <a:pt x="1896777" y="245398"/>
                  <a:pt x="1901918" y="240408"/>
                </a:cubicBezTo>
                <a:cubicBezTo>
                  <a:pt x="1906908" y="235419"/>
                  <a:pt x="1900860" y="234360"/>
                  <a:pt x="1898441" y="232092"/>
                </a:cubicBezTo>
                <a:close/>
                <a:moveTo>
                  <a:pt x="2028019" y="166925"/>
                </a:moveTo>
                <a:cubicBezTo>
                  <a:pt x="1999291" y="153770"/>
                  <a:pt x="1891183" y="154375"/>
                  <a:pt x="1894056" y="182499"/>
                </a:cubicBezTo>
                <a:cubicBezTo>
                  <a:pt x="1896324" y="206539"/>
                  <a:pt x="1956501" y="184010"/>
                  <a:pt x="1972075" y="182499"/>
                </a:cubicBezTo>
                <a:cubicBezTo>
                  <a:pt x="1987649" y="181138"/>
                  <a:pt x="2053421" y="179777"/>
                  <a:pt x="2028019" y="166774"/>
                </a:cubicBezTo>
                <a:close/>
                <a:moveTo>
                  <a:pt x="1711709" y="1424758"/>
                </a:moveTo>
                <a:cubicBezTo>
                  <a:pt x="1710348" y="1419466"/>
                  <a:pt x="1700973" y="1420222"/>
                  <a:pt x="1703241" y="1425211"/>
                </a:cubicBezTo>
                <a:cubicBezTo>
                  <a:pt x="1705510" y="1430201"/>
                  <a:pt x="1700369" y="1435190"/>
                  <a:pt x="1705207" y="1441390"/>
                </a:cubicBezTo>
                <a:cubicBezTo>
                  <a:pt x="1711557" y="1448194"/>
                  <a:pt x="1725166" y="1447286"/>
                  <a:pt x="1731970" y="1441692"/>
                </a:cubicBezTo>
                <a:cubicBezTo>
                  <a:pt x="1735901" y="1437459"/>
                  <a:pt x="1733481" y="1429294"/>
                  <a:pt x="1730457" y="1427782"/>
                </a:cubicBezTo>
                <a:cubicBezTo>
                  <a:pt x="1725317" y="1425211"/>
                  <a:pt x="1713070" y="1430201"/>
                  <a:pt x="1711709" y="1424758"/>
                </a:cubicBezTo>
                <a:close/>
                <a:moveTo>
                  <a:pt x="1670129" y="1209751"/>
                </a:moveTo>
                <a:cubicBezTo>
                  <a:pt x="1679050" y="1209751"/>
                  <a:pt x="1678747" y="1203099"/>
                  <a:pt x="1683888" y="1203250"/>
                </a:cubicBezTo>
                <a:cubicBezTo>
                  <a:pt x="1689180" y="1203401"/>
                  <a:pt x="1684795" y="1210054"/>
                  <a:pt x="1693867" y="1210054"/>
                </a:cubicBezTo>
                <a:cubicBezTo>
                  <a:pt x="1702939" y="1210054"/>
                  <a:pt x="1712313" y="1186920"/>
                  <a:pt x="1683434" y="1186920"/>
                </a:cubicBezTo>
                <a:cubicBezTo>
                  <a:pt x="1659998" y="1186920"/>
                  <a:pt x="1663022" y="1209298"/>
                  <a:pt x="1670129" y="1209751"/>
                </a:cubicBezTo>
                <a:close/>
                <a:moveTo>
                  <a:pt x="1707475" y="1233641"/>
                </a:moveTo>
                <a:cubicBezTo>
                  <a:pt x="1689482" y="1229105"/>
                  <a:pt x="1693262" y="1239235"/>
                  <a:pt x="1682225" y="1240445"/>
                </a:cubicBezTo>
                <a:cubicBezTo>
                  <a:pt x="1664081" y="1242410"/>
                  <a:pt x="1680259" y="1226988"/>
                  <a:pt x="1671187" y="1219882"/>
                </a:cubicBezTo>
                <a:cubicBezTo>
                  <a:pt x="1667256" y="1216706"/>
                  <a:pt x="1656521" y="1232431"/>
                  <a:pt x="1655765" y="1242108"/>
                </a:cubicBezTo>
                <a:cubicBezTo>
                  <a:pt x="1655311" y="1246795"/>
                  <a:pt x="1655160" y="1262671"/>
                  <a:pt x="1662871" y="1263125"/>
                </a:cubicBezTo>
                <a:cubicBezTo>
                  <a:pt x="1670582" y="1263579"/>
                  <a:pt x="1711104" y="1268266"/>
                  <a:pt x="1724712" y="1271290"/>
                </a:cubicBezTo>
                <a:cubicBezTo>
                  <a:pt x="1740134" y="1274919"/>
                  <a:pt x="1724107" y="1237723"/>
                  <a:pt x="1707475" y="1233490"/>
                </a:cubicBezTo>
                <a:close/>
                <a:moveTo>
                  <a:pt x="1507740" y="1448950"/>
                </a:moveTo>
                <a:cubicBezTo>
                  <a:pt x="1513183" y="1448950"/>
                  <a:pt x="1517265" y="1429294"/>
                  <a:pt x="1513788" y="1419768"/>
                </a:cubicBezTo>
                <a:cubicBezTo>
                  <a:pt x="1510310" y="1410091"/>
                  <a:pt x="1492620" y="1417349"/>
                  <a:pt x="1490957" y="1421885"/>
                </a:cubicBezTo>
                <a:cubicBezTo>
                  <a:pt x="1489445" y="1426421"/>
                  <a:pt x="1502145" y="1448950"/>
                  <a:pt x="1507589" y="1448950"/>
                </a:cubicBezTo>
                <a:close/>
                <a:moveTo>
                  <a:pt x="1245861" y="1446984"/>
                </a:moveTo>
                <a:cubicBezTo>
                  <a:pt x="1246617" y="1438517"/>
                  <a:pt x="1245861" y="1413871"/>
                  <a:pt x="1240116" y="1409184"/>
                </a:cubicBezTo>
                <a:cubicBezTo>
                  <a:pt x="1234219" y="1404497"/>
                  <a:pt x="1234975" y="1413418"/>
                  <a:pt x="1230741" y="1412813"/>
                </a:cubicBezTo>
                <a:cubicBezTo>
                  <a:pt x="1227415" y="1412510"/>
                  <a:pt x="1227717" y="1401019"/>
                  <a:pt x="1223635" y="1401019"/>
                </a:cubicBezTo>
                <a:cubicBezTo>
                  <a:pt x="1219553" y="1401019"/>
                  <a:pt x="1224996" y="1420675"/>
                  <a:pt x="1229532" y="1432015"/>
                </a:cubicBezTo>
                <a:cubicBezTo>
                  <a:pt x="1233917" y="1443355"/>
                  <a:pt x="1244954" y="1462104"/>
                  <a:pt x="1246013" y="1446984"/>
                </a:cubicBezTo>
                <a:close/>
                <a:moveTo>
                  <a:pt x="1239511" y="1387109"/>
                </a:moveTo>
                <a:cubicBezTo>
                  <a:pt x="1240872" y="1384236"/>
                  <a:pt x="1249793" y="1343110"/>
                  <a:pt x="1248432" y="1327536"/>
                </a:cubicBezTo>
                <a:cubicBezTo>
                  <a:pt x="1247071" y="1311963"/>
                  <a:pt x="1238755" y="1297145"/>
                  <a:pt x="1236638" y="1298203"/>
                </a:cubicBezTo>
                <a:cubicBezTo>
                  <a:pt x="1233765" y="1299715"/>
                  <a:pt x="1237848" y="1309090"/>
                  <a:pt x="1238453" y="1324210"/>
                </a:cubicBezTo>
                <a:cubicBezTo>
                  <a:pt x="1239209" y="1346890"/>
                  <a:pt x="1228473" y="1365790"/>
                  <a:pt x="1228473" y="1373199"/>
                </a:cubicBezTo>
                <a:cubicBezTo>
                  <a:pt x="1228473" y="1380305"/>
                  <a:pt x="1235126" y="1396181"/>
                  <a:pt x="1239511" y="1387109"/>
                </a:cubicBezTo>
                <a:close/>
                <a:moveTo>
                  <a:pt x="540513" y="1242108"/>
                </a:moveTo>
                <a:cubicBezTo>
                  <a:pt x="540513" y="910073"/>
                  <a:pt x="669638" y="598147"/>
                  <a:pt x="904149" y="363636"/>
                </a:cubicBezTo>
                <a:cubicBezTo>
                  <a:pt x="1138509" y="129125"/>
                  <a:pt x="1450586" y="0"/>
                  <a:pt x="1782621" y="0"/>
                </a:cubicBezTo>
                <a:cubicBezTo>
                  <a:pt x="2114657" y="0"/>
                  <a:pt x="2426583" y="129125"/>
                  <a:pt x="2661094" y="363636"/>
                </a:cubicBezTo>
                <a:cubicBezTo>
                  <a:pt x="2895605" y="598147"/>
                  <a:pt x="3024730" y="910073"/>
                  <a:pt x="3024730" y="1242108"/>
                </a:cubicBezTo>
                <a:cubicBezTo>
                  <a:pt x="3024730" y="1574143"/>
                  <a:pt x="2895605" y="1886220"/>
                  <a:pt x="2661094" y="2120580"/>
                </a:cubicBezTo>
                <a:cubicBezTo>
                  <a:pt x="2426583" y="2355091"/>
                  <a:pt x="2114657" y="2484216"/>
                  <a:pt x="1782621" y="2484216"/>
                </a:cubicBezTo>
                <a:cubicBezTo>
                  <a:pt x="1450586" y="2484216"/>
                  <a:pt x="1138509" y="2355091"/>
                  <a:pt x="904149" y="2120580"/>
                </a:cubicBezTo>
                <a:cubicBezTo>
                  <a:pt x="669638" y="1886220"/>
                  <a:pt x="540513" y="1574143"/>
                  <a:pt x="540513" y="1242108"/>
                </a:cubicBezTo>
                <a:close/>
                <a:moveTo>
                  <a:pt x="923049" y="2064031"/>
                </a:moveTo>
                <a:lnTo>
                  <a:pt x="1058071" y="1929010"/>
                </a:lnTo>
                <a:cubicBezTo>
                  <a:pt x="1031460" y="1901038"/>
                  <a:pt x="1006663" y="1871403"/>
                  <a:pt x="983378" y="1840558"/>
                </a:cubicBezTo>
                <a:cubicBezTo>
                  <a:pt x="972945" y="1836475"/>
                  <a:pt x="962361" y="1830579"/>
                  <a:pt x="954952" y="1821506"/>
                </a:cubicBezTo>
                <a:cubicBezTo>
                  <a:pt x="943461" y="1807143"/>
                  <a:pt x="937413" y="1785975"/>
                  <a:pt x="931819" y="1785975"/>
                </a:cubicBezTo>
                <a:cubicBezTo>
                  <a:pt x="926376" y="1785975"/>
                  <a:pt x="931365" y="1799431"/>
                  <a:pt x="919118" y="1801095"/>
                </a:cubicBezTo>
                <a:cubicBezTo>
                  <a:pt x="902335" y="1803514"/>
                  <a:pt x="878748" y="1761934"/>
                  <a:pt x="869524" y="1746814"/>
                </a:cubicBezTo>
                <a:cubicBezTo>
                  <a:pt x="858638" y="1728972"/>
                  <a:pt x="840796" y="1728821"/>
                  <a:pt x="832027" y="1712038"/>
                </a:cubicBezTo>
                <a:cubicBezTo>
                  <a:pt x="829456" y="1707199"/>
                  <a:pt x="823408" y="1692533"/>
                  <a:pt x="817814" y="1701151"/>
                </a:cubicBezTo>
                <a:cubicBezTo>
                  <a:pt x="808591" y="1715969"/>
                  <a:pt x="776839" y="1668795"/>
                  <a:pt x="768674" y="1671970"/>
                </a:cubicBezTo>
                <a:cubicBezTo>
                  <a:pt x="760358" y="1675145"/>
                  <a:pt x="767616" y="1684973"/>
                  <a:pt x="762928" y="1689206"/>
                </a:cubicBezTo>
                <a:cubicBezTo>
                  <a:pt x="753856" y="1697371"/>
                  <a:pt x="727094" y="1653070"/>
                  <a:pt x="717115" y="1657606"/>
                </a:cubicBezTo>
                <a:cubicBezTo>
                  <a:pt x="707740" y="1661839"/>
                  <a:pt x="705623" y="1667585"/>
                  <a:pt x="705019" y="1679227"/>
                </a:cubicBezTo>
                <a:cubicBezTo>
                  <a:pt x="704565" y="1691475"/>
                  <a:pt x="719685" y="1722773"/>
                  <a:pt x="714242" y="1725192"/>
                </a:cubicBezTo>
                <a:cubicBezTo>
                  <a:pt x="706682" y="1728670"/>
                  <a:pt x="668126" y="1630239"/>
                  <a:pt x="676442" y="1625854"/>
                </a:cubicBezTo>
                <a:cubicBezTo>
                  <a:pt x="681129" y="1623283"/>
                  <a:pt x="680373" y="1630390"/>
                  <a:pt x="685816" y="1627215"/>
                </a:cubicBezTo>
                <a:cubicBezTo>
                  <a:pt x="691260" y="1623888"/>
                  <a:pt x="681885" y="1617084"/>
                  <a:pt x="679466" y="1606500"/>
                </a:cubicBezTo>
                <a:cubicBezTo>
                  <a:pt x="676744" y="1595311"/>
                  <a:pt x="667219" y="1595160"/>
                  <a:pt x="666311" y="1582762"/>
                </a:cubicBezTo>
                <a:cubicBezTo>
                  <a:pt x="665556" y="1570515"/>
                  <a:pt x="683095" y="1574597"/>
                  <a:pt x="682792" y="1568700"/>
                </a:cubicBezTo>
                <a:cubicBezTo>
                  <a:pt x="682641" y="1562803"/>
                  <a:pt x="684153" y="1555999"/>
                  <a:pt x="689143" y="1551615"/>
                </a:cubicBezTo>
                <a:cubicBezTo>
                  <a:pt x="694888" y="1546625"/>
                  <a:pt x="708345" y="1551917"/>
                  <a:pt x="711369" y="1534680"/>
                </a:cubicBezTo>
                <a:cubicBezTo>
                  <a:pt x="713788" y="1520014"/>
                  <a:pt x="721348" y="1533622"/>
                  <a:pt x="722860" y="1544508"/>
                </a:cubicBezTo>
                <a:cubicBezTo>
                  <a:pt x="724675" y="1557209"/>
                  <a:pt x="757032" y="1560384"/>
                  <a:pt x="758695" y="1551615"/>
                </a:cubicBezTo>
                <a:cubicBezTo>
                  <a:pt x="759602" y="1546171"/>
                  <a:pt x="745540" y="1546323"/>
                  <a:pt x="745540" y="1541484"/>
                </a:cubicBezTo>
                <a:cubicBezTo>
                  <a:pt x="745540" y="1532110"/>
                  <a:pt x="763382" y="1541030"/>
                  <a:pt x="775629" y="1542089"/>
                </a:cubicBezTo>
                <a:cubicBezTo>
                  <a:pt x="780921" y="1542543"/>
                  <a:pt x="790598" y="1533924"/>
                  <a:pt x="802694" y="1540275"/>
                </a:cubicBezTo>
                <a:cubicBezTo>
                  <a:pt x="815848" y="1547079"/>
                  <a:pt x="824013" y="1550405"/>
                  <a:pt x="832783" y="1551917"/>
                </a:cubicBezTo>
                <a:cubicBezTo>
                  <a:pt x="803450" y="1462255"/>
                  <a:pt x="786364" y="1366999"/>
                  <a:pt x="783794" y="1268266"/>
                </a:cubicBezTo>
                <a:lnTo>
                  <a:pt x="593736" y="1268266"/>
                </a:lnTo>
                <a:cubicBezTo>
                  <a:pt x="600237" y="1567339"/>
                  <a:pt x="716359" y="1847815"/>
                  <a:pt x="922898" y="2063729"/>
                </a:cubicBezTo>
                <a:close/>
                <a:moveTo>
                  <a:pt x="1707173" y="962993"/>
                </a:moveTo>
                <a:cubicBezTo>
                  <a:pt x="1708533" y="964959"/>
                  <a:pt x="1694774" y="977508"/>
                  <a:pt x="1687668" y="989755"/>
                </a:cubicBezTo>
                <a:cubicBezTo>
                  <a:pt x="1709592" y="981439"/>
                  <a:pt x="1732574" y="976147"/>
                  <a:pt x="1756010" y="973879"/>
                </a:cubicBezTo>
                <a:lnTo>
                  <a:pt x="1756010" y="783367"/>
                </a:lnTo>
                <a:cubicBezTo>
                  <a:pt x="1649263" y="789566"/>
                  <a:pt x="1552041" y="832205"/>
                  <a:pt x="1477046" y="899186"/>
                </a:cubicBezTo>
                <a:lnTo>
                  <a:pt x="1611614" y="1033755"/>
                </a:lnTo>
                <a:cubicBezTo>
                  <a:pt x="1627037" y="1021054"/>
                  <a:pt x="1643820" y="1010016"/>
                  <a:pt x="1661964" y="1000944"/>
                </a:cubicBezTo>
                <a:cubicBezTo>
                  <a:pt x="1666651" y="998676"/>
                  <a:pt x="1671338" y="996408"/>
                  <a:pt x="1676177" y="994442"/>
                </a:cubicBezTo>
                <a:cubicBezTo>
                  <a:pt x="1685400" y="978415"/>
                  <a:pt x="1705510" y="960422"/>
                  <a:pt x="1707173" y="963144"/>
                </a:cubicBezTo>
                <a:close/>
                <a:moveTo>
                  <a:pt x="1237394" y="1673482"/>
                </a:moveTo>
                <a:cubicBezTo>
                  <a:pt x="1237394" y="1677262"/>
                  <a:pt x="1237394" y="1681042"/>
                  <a:pt x="1236487" y="1684519"/>
                </a:cubicBezTo>
                <a:cubicBezTo>
                  <a:pt x="1246315" y="1696615"/>
                  <a:pt x="1256445" y="1708560"/>
                  <a:pt x="1267029" y="1720051"/>
                </a:cubicBezTo>
                <a:lnTo>
                  <a:pt x="1401749" y="1585332"/>
                </a:lnTo>
                <a:cubicBezTo>
                  <a:pt x="1338244" y="1515024"/>
                  <a:pt x="1294094" y="1427177"/>
                  <a:pt x="1277311" y="1329955"/>
                </a:cubicBezTo>
                <a:cubicBezTo>
                  <a:pt x="1273229" y="1331014"/>
                  <a:pt x="1269751" y="1330560"/>
                  <a:pt x="1267483" y="1326629"/>
                </a:cubicBezTo>
                <a:cubicBezTo>
                  <a:pt x="1264761" y="1321942"/>
                  <a:pt x="1268693" y="1317103"/>
                  <a:pt x="1274589" y="1312265"/>
                </a:cubicBezTo>
                <a:cubicBezTo>
                  <a:pt x="1272624" y="1297901"/>
                  <a:pt x="1271263" y="1283537"/>
                  <a:pt x="1270507" y="1268870"/>
                </a:cubicBezTo>
                <a:lnTo>
                  <a:pt x="1180845" y="1268870"/>
                </a:lnTo>
                <a:cubicBezTo>
                  <a:pt x="1181753" y="1283083"/>
                  <a:pt x="1187498" y="1303646"/>
                  <a:pt x="1178124" y="1310904"/>
                </a:cubicBezTo>
                <a:cubicBezTo>
                  <a:pt x="1170413" y="1316801"/>
                  <a:pt x="1159375" y="1310904"/>
                  <a:pt x="1152420" y="1311811"/>
                </a:cubicBezTo>
                <a:cubicBezTo>
                  <a:pt x="1135183" y="1314079"/>
                  <a:pt x="1131252" y="1334945"/>
                  <a:pt x="1135788" y="1349006"/>
                </a:cubicBezTo>
                <a:cubicBezTo>
                  <a:pt x="1138812" y="1358532"/>
                  <a:pt x="1142894" y="1365790"/>
                  <a:pt x="1141231" y="1376071"/>
                </a:cubicBezTo>
                <a:cubicBezTo>
                  <a:pt x="1139719" y="1385748"/>
                  <a:pt x="1134427" y="1393157"/>
                  <a:pt x="1149698" y="1401322"/>
                </a:cubicBezTo>
                <a:cubicBezTo>
                  <a:pt x="1163609" y="1408579"/>
                  <a:pt x="1186137" y="1437307"/>
                  <a:pt x="1184323" y="1442146"/>
                </a:cubicBezTo>
                <a:cubicBezTo>
                  <a:pt x="1181904" y="1448496"/>
                  <a:pt x="1167993" y="1436249"/>
                  <a:pt x="1167237" y="1447740"/>
                </a:cubicBezTo>
                <a:cubicBezTo>
                  <a:pt x="1166633" y="1454846"/>
                  <a:pt x="1187649" y="1445775"/>
                  <a:pt x="1186440" y="1469664"/>
                </a:cubicBezTo>
                <a:cubicBezTo>
                  <a:pt x="1185684" y="1483575"/>
                  <a:pt x="1189161" y="1498846"/>
                  <a:pt x="1193244" y="1508371"/>
                </a:cubicBezTo>
                <a:cubicBezTo>
                  <a:pt x="1201560" y="1528179"/>
                  <a:pt x="1211085" y="1541333"/>
                  <a:pt x="1210178" y="1563710"/>
                </a:cubicBezTo>
                <a:cubicBezTo>
                  <a:pt x="1209573" y="1582308"/>
                  <a:pt x="1206247" y="1602569"/>
                  <a:pt x="1214412" y="1620108"/>
                </a:cubicBezTo>
                <a:cubicBezTo>
                  <a:pt x="1222728" y="1638101"/>
                  <a:pt x="1237545" y="1652616"/>
                  <a:pt x="1237545" y="1673935"/>
                </a:cubicBezTo>
                <a:close/>
                <a:moveTo>
                  <a:pt x="1125355" y="1352786"/>
                </a:moveTo>
                <a:cubicBezTo>
                  <a:pt x="1114317" y="1340086"/>
                  <a:pt x="1132764" y="1303949"/>
                  <a:pt x="1135485" y="1296843"/>
                </a:cubicBezTo>
                <a:cubicBezTo>
                  <a:pt x="1138358" y="1289283"/>
                  <a:pt x="1155141" y="1279606"/>
                  <a:pt x="1160131" y="1268568"/>
                </a:cubicBezTo>
                <a:lnTo>
                  <a:pt x="1080297" y="1268568"/>
                </a:lnTo>
                <a:cubicBezTo>
                  <a:pt x="1081809" y="1310299"/>
                  <a:pt x="1087101" y="1351426"/>
                  <a:pt x="1095720" y="1391494"/>
                </a:cubicBezTo>
                <a:cubicBezTo>
                  <a:pt x="1114922" y="1398449"/>
                  <a:pt x="1151664" y="1382875"/>
                  <a:pt x="1125355" y="1352635"/>
                </a:cubicBezTo>
                <a:close/>
                <a:moveTo>
                  <a:pt x="1075308" y="1866262"/>
                </a:moveTo>
                <a:cubicBezTo>
                  <a:pt x="1075308" y="1866262"/>
                  <a:pt x="1074098" y="1866866"/>
                  <a:pt x="1073342" y="1867018"/>
                </a:cubicBezTo>
                <a:cubicBezTo>
                  <a:pt x="1080600" y="1875334"/>
                  <a:pt x="1088009" y="1883347"/>
                  <a:pt x="1095569" y="1891361"/>
                </a:cubicBezTo>
                <a:lnTo>
                  <a:pt x="1110840" y="1876090"/>
                </a:lnTo>
                <a:cubicBezTo>
                  <a:pt x="1096627" y="1867018"/>
                  <a:pt x="1083473" y="1861423"/>
                  <a:pt x="1075308" y="1866110"/>
                </a:cubicBezTo>
                <a:close/>
                <a:moveTo>
                  <a:pt x="1401900" y="898884"/>
                </a:moveTo>
                <a:lnTo>
                  <a:pt x="1267483" y="764467"/>
                </a:lnTo>
                <a:cubicBezTo>
                  <a:pt x="1156653" y="883915"/>
                  <a:pt x="1086799" y="1041768"/>
                  <a:pt x="1080297" y="1215497"/>
                </a:cubicBezTo>
                <a:lnTo>
                  <a:pt x="1174495" y="1215497"/>
                </a:lnTo>
                <a:cubicBezTo>
                  <a:pt x="1190220" y="1190095"/>
                  <a:pt x="1184928" y="1170742"/>
                  <a:pt x="1190220" y="1156075"/>
                </a:cubicBezTo>
                <a:cubicBezTo>
                  <a:pt x="1195209" y="1142014"/>
                  <a:pt x="1203525" y="1129162"/>
                  <a:pt x="1211388" y="1116461"/>
                </a:cubicBezTo>
                <a:cubicBezTo>
                  <a:pt x="1218343" y="1105272"/>
                  <a:pt x="1226205" y="1092723"/>
                  <a:pt x="1240720" y="1092723"/>
                </a:cubicBezTo>
                <a:cubicBezTo>
                  <a:pt x="1271414" y="1092571"/>
                  <a:pt x="1278974" y="1076544"/>
                  <a:pt x="1298479" y="1067623"/>
                </a:cubicBezTo>
                <a:cubicBezTo>
                  <a:pt x="1317984" y="1058703"/>
                  <a:pt x="1352306" y="1053410"/>
                  <a:pt x="1348526" y="1043280"/>
                </a:cubicBezTo>
                <a:cubicBezTo>
                  <a:pt x="1345804" y="1036476"/>
                  <a:pt x="1276706" y="1063239"/>
                  <a:pt x="1275194" y="1058098"/>
                </a:cubicBezTo>
                <a:cubicBezTo>
                  <a:pt x="1272624" y="1048875"/>
                  <a:pt x="1296967" y="1049782"/>
                  <a:pt x="1307249" y="1040559"/>
                </a:cubicBezTo>
                <a:cubicBezTo>
                  <a:pt x="1309214" y="1038593"/>
                  <a:pt x="1311331" y="1037535"/>
                  <a:pt x="1313145" y="1036476"/>
                </a:cubicBezTo>
                <a:cubicBezTo>
                  <a:pt x="1335372" y="985975"/>
                  <a:pt x="1365309" y="939557"/>
                  <a:pt x="1401900" y="899186"/>
                </a:cubicBezTo>
                <a:close/>
                <a:moveTo>
                  <a:pt x="1377708" y="1024682"/>
                </a:moveTo>
                <a:cubicBezTo>
                  <a:pt x="1379522" y="1023926"/>
                  <a:pt x="1381337" y="1023019"/>
                  <a:pt x="1383302" y="1021961"/>
                </a:cubicBezTo>
                <a:cubicBezTo>
                  <a:pt x="1406436" y="1008806"/>
                  <a:pt x="1436676" y="1011226"/>
                  <a:pt x="1449528" y="1016971"/>
                </a:cubicBezTo>
                <a:cubicBezTo>
                  <a:pt x="1466160" y="1024229"/>
                  <a:pt x="1487479" y="1042675"/>
                  <a:pt x="1497156" y="1050084"/>
                </a:cubicBezTo>
                <a:cubicBezTo>
                  <a:pt x="1501389" y="1053259"/>
                  <a:pt x="1503355" y="1047362"/>
                  <a:pt x="1522860" y="1044339"/>
                </a:cubicBezTo>
                <a:cubicBezTo>
                  <a:pt x="1531025" y="1043129"/>
                  <a:pt x="1532839" y="1051294"/>
                  <a:pt x="1544481" y="1052957"/>
                </a:cubicBezTo>
                <a:cubicBezTo>
                  <a:pt x="1549169" y="1053562"/>
                  <a:pt x="1553100" y="1053864"/>
                  <a:pt x="1556577" y="1053562"/>
                </a:cubicBezTo>
                <a:lnTo>
                  <a:pt x="1439397" y="936382"/>
                </a:lnTo>
                <a:cubicBezTo>
                  <a:pt x="1415508" y="963144"/>
                  <a:pt x="1394793" y="992779"/>
                  <a:pt x="1377557" y="1024531"/>
                </a:cubicBezTo>
                <a:close/>
                <a:moveTo>
                  <a:pt x="1245861" y="1169381"/>
                </a:moveTo>
                <a:cubicBezTo>
                  <a:pt x="1231044" y="1167869"/>
                  <a:pt x="1215924" y="1174068"/>
                  <a:pt x="1207910" y="1186920"/>
                </a:cubicBezTo>
                <a:cubicBezTo>
                  <a:pt x="1202316" y="1195841"/>
                  <a:pt x="1200804" y="1205971"/>
                  <a:pt x="1202618" y="1215346"/>
                </a:cubicBezTo>
                <a:lnTo>
                  <a:pt x="1270658" y="1215346"/>
                </a:lnTo>
                <a:cubicBezTo>
                  <a:pt x="1271263" y="1202494"/>
                  <a:pt x="1272473" y="1189793"/>
                  <a:pt x="1274136" y="1177243"/>
                </a:cubicBezTo>
                <a:cubicBezTo>
                  <a:pt x="1265366" y="1172707"/>
                  <a:pt x="1254933" y="1170288"/>
                  <a:pt x="1246013" y="1169381"/>
                </a:cubicBezTo>
                <a:close/>
                <a:moveTo>
                  <a:pt x="1439700" y="1547532"/>
                </a:moveTo>
                <a:lnTo>
                  <a:pt x="1574268" y="1412813"/>
                </a:lnTo>
                <a:cubicBezTo>
                  <a:pt x="1563230" y="1399507"/>
                  <a:pt x="1553705" y="1384992"/>
                  <a:pt x="1545389" y="1369721"/>
                </a:cubicBezTo>
                <a:cubicBezTo>
                  <a:pt x="1545389" y="1369721"/>
                  <a:pt x="1545389" y="1369721"/>
                  <a:pt x="1545389" y="1369721"/>
                </a:cubicBezTo>
                <a:cubicBezTo>
                  <a:pt x="1543272" y="1372140"/>
                  <a:pt x="1541457" y="1374710"/>
                  <a:pt x="1540399" y="1376979"/>
                </a:cubicBezTo>
                <a:cubicBezTo>
                  <a:pt x="1537677" y="1383026"/>
                  <a:pt x="1541155" y="1402985"/>
                  <a:pt x="1532839" y="1411603"/>
                </a:cubicBezTo>
                <a:cubicBezTo>
                  <a:pt x="1522104" y="1422792"/>
                  <a:pt x="1493225" y="1387109"/>
                  <a:pt x="1484153" y="1384236"/>
                </a:cubicBezTo>
                <a:cubicBezTo>
                  <a:pt x="1471754" y="1380305"/>
                  <a:pt x="1465857" y="1393913"/>
                  <a:pt x="1466462" y="1397995"/>
                </a:cubicBezTo>
                <a:cubicBezTo>
                  <a:pt x="1468125" y="1408277"/>
                  <a:pt x="1466009" y="1412359"/>
                  <a:pt x="1461624" y="1413266"/>
                </a:cubicBezTo>
                <a:cubicBezTo>
                  <a:pt x="1457088" y="1414174"/>
                  <a:pt x="1434559" y="1398751"/>
                  <a:pt x="1444689" y="1394971"/>
                </a:cubicBezTo>
                <a:cubicBezTo>
                  <a:pt x="1456483" y="1390586"/>
                  <a:pt x="1441665" y="1380456"/>
                  <a:pt x="1436524" y="1376525"/>
                </a:cubicBezTo>
                <a:cubicBezTo>
                  <a:pt x="1427755" y="1369872"/>
                  <a:pt x="1414147" y="1376071"/>
                  <a:pt x="1407797" y="1367150"/>
                </a:cubicBezTo>
                <a:cubicBezTo>
                  <a:pt x="1400993" y="1357625"/>
                  <a:pt x="1387989" y="1350670"/>
                  <a:pt x="1384058" y="1349460"/>
                </a:cubicBezTo>
                <a:cubicBezTo>
                  <a:pt x="1381337" y="1348704"/>
                  <a:pt x="1368182" y="1343110"/>
                  <a:pt x="1359413" y="1347646"/>
                </a:cubicBezTo>
                <a:cubicBezTo>
                  <a:pt x="1352609" y="1351275"/>
                  <a:pt x="1345200" y="1343866"/>
                  <a:pt x="1340210" y="1338876"/>
                </a:cubicBezTo>
                <a:cubicBezTo>
                  <a:pt x="1337337" y="1336155"/>
                  <a:pt x="1334616" y="1332979"/>
                  <a:pt x="1331592" y="1329804"/>
                </a:cubicBezTo>
                <a:cubicBezTo>
                  <a:pt x="1347619" y="1412359"/>
                  <a:pt x="1385873" y="1487052"/>
                  <a:pt x="1439700" y="1547532"/>
                </a:cubicBezTo>
                <a:close/>
                <a:moveTo>
                  <a:pt x="1574419" y="1314986"/>
                </a:moveTo>
                <a:cubicBezTo>
                  <a:pt x="1574419" y="1313777"/>
                  <a:pt x="1574419" y="1312567"/>
                  <a:pt x="1574721" y="1311358"/>
                </a:cubicBezTo>
                <a:cubicBezTo>
                  <a:pt x="1574721" y="1311055"/>
                  <a:pt x="1574721" y="1310753"/>
                  <a:pt x="1574721" y="1310450"/>
                </a:cubicBezTo>
                <a:cubicBezTo>
                  <a:pt x="1574721" y="1309543"/>
                  <a:pt x="1574873" y="1308636"/>
                  <a:pt x="1575024" y="1307729"/>
                </a:cubicBezTo>
                <a:cubicBezTo>
                  <a:pt x="1575024" y="1307426"/>
                  <a:pt x="1575024" y="1306973"/>
                  <a:pt x="1575175" y="1306519"/>
                </a:cubicBezTo>
                <a:cubicBezTo>
                  <a:pt x="1575175" y="1305915"/>
                  <a:pt x="1575326" y="1305310"/>
                  <a:pt x="1575477" y="1304705"/>
                </a:cubicBezTo>
                <a:cubicBezTo>
                  <a:pt x="1575477" y="1304403"/>
                  <a:pt x="1575477" y="1304100"/>
                  <a:pt x="1575629" y="1303798"/>
                </a:cubicBezTo>
                <a:cubicBezTo>
                  <a:pt x="1575629" y="1303495"/>
                  <a:pt x="1575629" y="1303042"/>
                  <a:pt x="1575780" y="1302739"/>
                </a:cubicBezTo>
                <a:cubicBezTo>
                  <a:pt x="1575931" y="1301530"/>
                  <a:pt x="1576233" y="1300320"/>
                  <a:pt x="1576536" y="1299110"/>
                </a:cubicBezTo>
                <a:lnTo>
                  <a:pt x="1576536" y="1299110"/>
                </a:lnTo>
                <a:cubicBezTo>
                  <a:pt x="1576838" y="1297901"/>
                  <a:pt x="1577141" y="1296843"/>
                  <a:pt x="1577443" y="1295784"/>
                </a:cubicBezTo>
                <a:cubicBezTo>
                  <a:pt x="1577443" y="1295482"/>
                  <a:pt x="1577594" y="1295179"/>
                  <a:pt x="1577746" y="1294726"/>
                </a:cubicBezTo>
                <a:cubicBezTo>
                  <a:pt x="1578048" y="1293970"/>
                  <a:pt x="1578199" y="1293214"/>
                  <a:pt x="1578501" y="1292609"/>
                </a:cubicBezTo>
                <a:cubicBezTo>
                  <a:pt x="1578501" y="1292306"/>
                  <a:pt x="1578804" y="1292004"/>
                  <a:pt x="1578804" y="1291550"/>
                </a:cubicBezTo>
                <a:cubicBezTo>
                  <a:pt x="1579106" y="1290946"/>
                  <a:pt x="1579409" y="1290190"/>
                  <a:pt x="1579711" y="1289736"/>
                </a:cubicBezTo>
                <a:cubicBezTo>
                  <a:pt x="1579711" y="1289434"/>
                  <a:pt x="1580013" y="1289131"/>
                  <a:pt x="1580013" y="1288980"/>
                </a:cubicBezTo>
                <a:cubicBezTo>
                  <a:pt x="1580467" y="1288224"/>
                  <a:pt x="1580921" y="1287468"/>
                  <a:pt x="1581374" y="1286863"/>
                </a:cubicBezTo>
                <a:cubicBezTo>
                  <a:pt x="1583189" y="1284595"/>
                  <a:pt x="1585457" y="1284293"/>
                  <a:pt x="1588178" y="1284595"/>
                </a:cubicBezTo>
                <a:cubicBezTo>
                  <a:pt x="1592866" y="1285200"/>
                  <a:pt x="1598913" y="1288375"/>
                  <a:pt x="1604659" y="1288678"/>
                </a:cubicBezTo>
                <a:cubicBezTo>
                  <a:pt x="1608741" y="1288829"/>
                  <a:pt x="1612824" y="1287619"/>
                  <a:pt x="1616453" y="1283083"/>
                </a:cubicBezTo>
                <a:cubicBezTo>
                  <a:pt x="1618116" y="1280966"/>
                  <a:pt x="1619628" y="1278699"/>
                  <a:pt x="1620686" y="1276279"/>
                </a:cubicBezTo>
                <a:cubicBezTo>
                  <a:pt x="1621745" y="1274011"/>
                  <a:pt x="1622501" y="1271743"/>
                  <a:pt x="1622501" y="1269778"/>
                </a:cubicBezTo>
                <a:cubicBezTo>
                  <a:pt x="1622501" y="1268870"/>
                  <a:pt x="1622501" y="1267963"/>
                  <a:pt x="1622047" y="1267359"/>
                </a:cubicBezTo>
                <a:cubicBezTo>
                  <a:pt x="1620989" y="1265393"/>
                  <a:pt x="1618267" y="1264637"/>
                  <a:pt x="1612975" y="1266603"/>
                </a:cubicBezTo>
                <a:cubicBezTo>
                  <a:pt x="1611917" y="1266905"/>
                  <a:pt x="1610707" y="1267359"/>
                  <a:pt x="1609649" y="1267661"/>
                </a:cubicBezTo>
                <a:cubicBezTo>
                  <a:pt x="1607381" y="1268266"/>
                  <a:pt x="1605264" y="1268719"/>
                  <a:pt x="1603147" y="1268719"/>
                </a:cubicBezTo>
                <a:cubicBezTo>
                  <a:pt x="1602089" y="1268719"/>
                  <a:pt x="1601030" y="1268719"/>
                  <a:pt x="1600123" y="1268568"/>
                </a:cubicBezTo>
                <a:cubicBezTo>
                  <a:pt x="1597099" y="1268115"/>
                  <a:pt x="1594529" y="1266754"/>
                  <a:pt x="1592563" y="1264183"/>
                </a:cubicBezTo>
                <a:cubicBezTo>
                  <a:pt x="1591958" y="1263276"/>
                  <a:pt x="1591353" y="1262218"/>
                  <a:pt x="1590900" y="1261008"/>
                </a:cubicBezTo>
                <a:cubicBezTo>
                  <a:pt x="1590295" y="1259496"/>
                  <a:pt x="1589539" y="1258135"/>
                  <a:pt x="1588632" y="1256926"/>
                </a:cubicBezTo>
                <a:cubicBezTo>
                  <a:pt x="1585306" y="1252087"/>
                  <a:pt x="1580316" y="1249517"/>
                  <a:pt x="1575175" y="1246493"/>
                </a:cubicBezTo>
                <a:cubicBezTo>
                  <a:pt x="1572605" y="1244981"/>
                  <a:pt x="1570034" y="1243318"/>
                  <a:pt x="1567464" y="1241201"/>
                </a:cubicBezTo>
                <a:cubicBezTo>
                  <a:pt x="1566254" y="1240143"/>
                  <a:pt x="1565045" y="1238933"/>
                  <a:pt x="1563835" y="1237572"/>
                </a:cubicBezTo>
                <a:cubicBezTo>
                  <a:pt x="1562928" y="1236514"/>
                  <a:pt x="1562021" y="1235455"/>
                  <a:pt x="1560962" y="1234397"/>
                </a:cubicBezTo>
                <a:cubicBezTo>
                  <a:pt x="1560660" y="1234095"/>
                  <a:pt x="1560206" y="1233641"/>
                  <a:pt x="1559904" y="1233339"/>
                </a:cubicBezTo>
                <a:cubicBezTo>
                  <a:pt x="1559299" y="1232734"/>
                  <a:pt x="1558694" y="1232129"/>
                  <a:pt x="1558089" y="1231524"/>
                </a:cubicBezTo>
                <a:cubicBezTo>
                  <a:pt x="1557636" y="1231070"/>
                  <a:pt x="1557182" y="1230768"/>
                  <a:pt x="1556729" y="1230315"/>
                </a:cubicBezTo>
                <a:cubicBezTo>
                  <a:pt x="1556124" y="1229861"/>
                  <a:pt x="1555670" y="1229407"/>
                  <a:pt x="1555066" y="1229105"/>
                </a:cubicBezTo>
                <a:cubicBezTo>
                  <a:pt x="1554461" y="1228651"/>
                  <a:pt x="1554007" y="1228349"/>
                  <a:pt x="1553402" y="1227895"/>
                </a:cubicBezTo>
                <a:cubicBezTo>
                  <a:pt x="1552949" y="1227593"/>
                  <a:pt x="1552495" y="1227290"/>
                  <a:pt x="1551890" y="1226988"/>
                </a:cubicBezTo>
                <a:cubicBezTo>
                  <a:pt x="1551286" y="1226535"/>
                  <a:pt x="1550681" y="1226232"/>
                  <a:pt x="1549925" y="1225930"/>
                </a:cubicBezTo>
                <a:cubicBezTo>
                  <a:pt x="1549471" y="1225779"/>
                  <a:pt x="1549169" y="1225476"/>
                  <a:pt x="1548715" y="1225325"/>
                </a:cubicBezTo>
                <a:cubicBezTo>
                  <a:pt x="1547959" y="1225023"/>
                  <a:pt x="1547203" y="1224720"/>
                  <a:pt x="1546598" y="1224418"/>
                </a:cubicBezTo>
                <a:cubicBezTo>
                  <a:pt x="1546296" y="1224418"/>
                  <a:pt x="1545993" y="1224266"/>
                  <a:pt x="1545540" y="1224115"/>
                </a:cubicBezTo>
                <a:cubicBezTo>
                  <a:pt x="1544784" y="1223813"/>
                  <a:pt x="1543877" y="1223510"/>
                  <a:pt x="1543121" y="1223359"/>
                </a:cubicBezTo>
                <a:cubicBezTo>
                  <a:pt x="1542969" y="1223359"/>
                  <a:pt x="1542818" y="1223359"/>
                  <a:pt x="1542667" y="1223359"/>
                </a:cubicBezTo>
                <a:cubicBezTo>
                  <a:pt x="1536317" y="1222150"/>
                  <a:pt x="1529664" y="1223813"/>
                  <a:pt x="1523313" y="1230012"/>
                </a:cubicBezTo>
                <a:cubicBezTo>
                  <a:pt x="1523313" y="1230012"/>
                  <a:pt x="1523162" y="1230012"/>
                  <a:pt x="1523011" y="1230163"/>
                </a:cubicBezTo>
                <a:cubicBezTo>
                  <a:pt x="1521953" y="1231222"/>
                  <a:pt x="1521045" y="1232280"/>
                  <a:pt x="1519987" y="1233490"/>
                </a:cubicBezTo>
                <a:cubicBezTo>
                  <a:pt x="1519987" y="1233490"/>
                  <a:pt x="1519836" y="1233792"/>
                  <a:pt x="1519685" y="1233792"/>
                </a:cubicBezTo>
                <a:cubicBezTo>
                  <a:pt x="1518626" y="1235153"/>
                  <a:pt x="1517719" y="1236363"/>
                  <a:pt x="1516661" y="1237875"/>
                </a:cubicBezTo>
                <a:cubicBezTo>
                  <a:pt x="1516661" y="1237875"/>
                  <a:pt x="1516661" y="1238177"/>
                  <a:pt x="1516358" y="1238177"/>
                </a:cubicBezTo>
                <a:cubicBezTo>
                  <a:pt x="1515300" y="1239689"/>
                  <a:pt x="1514393" y="1241503"/>
                  <a:pt x="1513334" y="1243318"/>
                </a:cubicBezTo>
                <a:cubicBezTo>
                  <a:pt x="1511217" y="1247098"/>
                  <a:pt x="1509252" y="1251331"/>
                  <a:pt x="1507286" y="1256472"/>
                </a:cubicBezTo>
                <a:cubicBezTo>
                  <a:pt x="1491864" y="1296843"/>
                  <a:pt x="1474022" y="1284444"/>
                  <a:pt x="1476895" y="1298959"/>
                </a:cubicBezTo>
                <a:cubicBezTo>
                  <a:pt x="1477197" y="1300623"/>
                  <a:pt x="1481582" y="1301832"/>
                  <a:pt x="1487933" y="1302286"/>
                </a:cubicBezTo>
                <a:cubicBezTo>
                  <a:pt x="1490503" y="1302437"/>
                  <a:pt x="1493376" y="1302588"/>
                  <a:pt x="1496249" y="1302588"/>
                </a:cubicBezTo>
                <a:cubicBezTo>
                  <a:pt x="1499121" y="1302588"/>
                  <a:pt x="1502448" y="1302588"/>
                  <a:pt x="1505774" y="1302286"/>
                </a:cubicBezTo>
                <a:cubicBezTo>
                  <a:pt x="1509101" y="1302135"/>
                  <a:pt x="1512427" y="1301832"/>
                  <a:pt x="1515602" y="1301379"/>
                </a:cubicBezTo>
                <a:cubicBezTo>
                  <a:pt x="1517265" y="1301227"/>
                  <a:pt x="1518777" y="1300925"/>
                  <a:pt x="1520289" y="1300623"/>
                </a:cubicBezTo>
                <a:cubicBezTo>
                  <a:pt x="1521197" y="1300623"/>
                  <a:pt x="1522104" y="1300320"/>
                  <a:pt x="1523011" y="1300169"/>
                </a:cubicBezTo>
                <a:cubicBezTo>
                  <a:pt x="1523918" y="1300018"/>
                  <a:pt x="1524825" y="1299866"/>
                  <a:pt x="1525581" y="1299564"/>
                </a:cubicBezTo>
                <a:cubicBezTo>
                  <a:pt x="1526337" y="1299413"/>
                  <a:pt x="1527093" y="1299262"/>
                  <a:pt x="1527849" y="1299110"/>
                </a:cubicBezTo>
                <a:cubicBezTo>
                  <a:pt x="1528908" y="1298808"/>
                  <a:pt x="1529815" y="1298506"/>
                  <a:pt x="1530722" y="1298355"/>
                </a:cubicBezTo>
                <a:cubicBezTo>
                  <a:pt x="1531327" y="1298203"/>
                  <a:pt x="1531932" y="1298052"/>
                  <a:pt x="1532385" y="1297901"/>
                </a:cubicBezTo>
                <a:cubicBezTo>
                  <a:pt x="1533897" y="1297447"/>
                  <a:pt x="1535107" y="1296994"/>
                  <a:pt x="1536317" y="1296389"/>
                </a:cubicBezTo>
                <a:cubicBezTo>
                  <a:pt x="1538433" y="1295482"/>
                  <a:pt x="1540550" y="1294575"/>
                  <a:pt x="1542516" y="1293970"/>
                </a:cubicBezTo>
                <a:cubicBezTo>
                  <a:pt x="1542516" y="1293970"/>
                  <a:pt x="1542516" y="1293970"/>
                  <a:pt x="1542667" y="1293970"/>
                </a:cubicBezTo>
                <a:cubicBezTo>
                  <a:pt x="1544633" y="1293365"/>
                  <a:pt x="1546598" y="1292760"/>
                  <a:pt x="1548564" y="1292458"/>
                </a:cubicBezTo>
                <a:cubicBezTo>
                  <a:pt x="1552646" y="1291702"/>
                  <a:pt x="1556275" y="1291702"/>
                  <a:pt x="1559148" y="1292760"/>
                </a:cubicBezTo>
                <a:cubicBezTo>
                  <a:pt x="1561265" y="1293516"/>
                  <a:pt x="1565649" y="1295330"/>
                  <a:pt x="1568673" y="1299866"/>
                </a:cubicBezTo>
                <a:cubicBezTo>
                  <a:pt x="1571244" y="1303495"/>
                  <a:pt x="1573663" y="1309997"/>
                  <a:pt x="1574268" y="1314986"/>
                </a:cubicBezTo>
                <a:close/>
                <a:moveTo>
                  <a:pt x="1756161" y="729994"/>
                </a:moveTo>
                <a:lnTo>
                  <a:pt x="1756161" y="539784"/>
                </a:lnTo>
                <a:cubicBezTo>
                  <a:pt x="1582433" y="546286"/>
                  <a:pt x="1424580" y="616140"/>
                  <a:pt x="1305132" y="726970"/>
                </a:cubicBezTo>
                <a:lnTo>
                  <a:pt x="1439549" y="861386"/>
                </a:lnTo>
                <a:cubicBezTo>
                  <a:pt x="1524372" y="784879"/>
                  <a:pt x="1634748" y="736193"/>
                  <a:pt x="1756161" y="729994"/>
                </a:cubicBezTo>
                <a:close/>
                <a:moveTo>
                  <a:pt x="1756161" y="486713"/>
                </a:moveTo>
                <a:lnTo>
                  <a:pt x="1756161" y="296503"/>
                </a:lnTo>
                <a:cubicBezTo>
                  <a:pt x="1515451" y="303156"/>
                  <a:pt x="1296816" y="400226"/>
                  <a:pt x="1133217" y="555055"/>
                </a:cubicBezTo>
                <a:lnTo>
                  <a:pt x="1267634" y="689472"/>
                </a:lnTo>
                <a:cubicBezTo>
                  <a:pt x="1396608" y="569117"/>
                  <a:pt x="1567766" y="493366"/>
                  <a:pt x="1756161" y="486713"/>
                </a:cubicBezTo>
                <a:close/>
                <a:moveTo>
                  <a:pt x="1095720" y="592553"/>
                </a:moveTo>
                <a:cubicBezTo>
                  <a:pt x="941042" y="756151"/>
                  <a:pt x="843972" y="974635"/>
                  <a:pt x="837319" y="1215497"/>
                </a:cubicBezTo>
                <a:lnTo>
                  <a:pt x="1027377" y="1215497"/>
                </a:lnTo>
                <a:cubicBezTo>
                  <a:pt x="1033879" y="1027102"/>
                  <a:pt x="1109781" y="856095"/>
                  <a:pt x="1230137" y="726970"/>
                </a:cubicBezTo>
                <a:lnTo>
                  <a:pt x="1095720" y="592553"/>
                </a:lnTo>
                <a:close/>
                <a:moveTo>
                  <a:pt x="837319" y="1268568"/>
                </a:moveTo>
                <a:cubicBezTo>
                  <a:pt x="840040" y="1367150"/>
                  <a:pt x="857882" y="1461953"/>
                  <a:pt x="888727" y="1550859"/>
                </a:cubicBezTo>
                <a:cubicBezTo>
                  <a:pt x="889785" y="1550859"/>
                  <a:pt x="890844" y="1550859"/>
                  <a:pt x="892053" y="1550707"/>
                </a:cubicBezTo>
                <a:cubicBezTo>
                  <a:pt x="911407" y="1549800"/>
                  <a:pt x="937111" y="1550405"/>
                  <a:pt x="949358" y="1541030"/>
                </a:cubicBezTo>
                <a:cubicBezTo>
                  <a:pt x="968107" y="1526666"/>
                  <a:pt x="950719" y="1474956"/>
                  <a:pt x="962512" y="1453486"/>
                </a:cubicBezTo>
                <a:cubicBezTo>
                  <a:pt x="977028" y="1426875"/>
                  <a:pt x="1013164" y="1363673"/>
                  <a:pt x="1024051" y="1363219"/>
                </a:cubicBezTo>
                <a:cubicBezTo>
                  <a:pt x="1033728" y="1362917"/>
                  <a:pt x="1033274" y="1370023"/>
                  <a:pt x="1038112" y="1371233"/>
                </a:cubicBezTo>
                <a:cubicBezTo>
                  <a:pt x="1032367" y="1337515"/>
                  <a:pt x="1028738" y="1303344"/>
                  <a:pt x="1027529" y="1268568"/>
                </a:cubicBezTo>
                <a:lnTo>
                  <a:pt x="837319" y="1268568"/>
                </a:lnTo>
                <a:close/>
                <a:moveTo>
                  <a:pt x="1756161" y="2240633"/>
                </a:moveTo>
                <a:cubicBezTo>
                  <a:pt x="1500785" y="2233980"/>
                  <a:pt x="1268844" y="2130862"/>
                  <a:pt x="1095720" y="1966659"/>
                </a:cubicBezTo>
                <a:lnTo>
                  <a:pt x="960698" y="2101680"/>
                </a:lnTo>
                <a:cubicBezTo>
                  <a:pt x="1176460" y="2308219"/>
                  <a:pt x="1457088" y="2424341"/>
                  <a:pt x="1756161" y="2430843"/>
                </a:cubicBezTo>
                <a:lnTo>
                  <a:pt x="1756161" y="2240784"/>
                </a:lnTo>
                <a:close/>
                <a:moveTo>
                  <a:pt x="1756161" y="1997352"/>
                </a:moveTo>
                <a:cubicBezTo>
                  <a:pt x="1587422" y="1991606"/>
                  <a:pt x="1428662" y="1930673"/>
                  <a:pt x="1299991" y="1823623"/>
                </a:cubicBezTo>
                <a:cubicBezTo>
                  <a:pt x="1302864" y="1827101"/>
                  <a:pt x="1305434" y="1830579"/>
                  <a:pt x="1307400" y="1833905"/>
                </a:cubicBezTo>
                <a:cubicBezTo>
                  <a:pt x="1316169" y="1849025"/>
                  <a:pt x="1346561" y="1879719"/>
                  <a:pt x="1327207" y="1891966"/>
                </a:cubicBezTo>
                <a:cubicBezTo>
                  <a:pt x="1311180" y="1902096"/>
                  <a:pt x="1284417" y="1895292"/>
                  <a:pt x="1269449" y="1894990"/>
                </a:cubicBezTo>
                <a:cubicBezTo>
                  <a:pt x="1252968" y="1894839"/>
                  <a:pt x="1229078" y="1919333"/>
                  <a:pt x="1214865" y="1921903"/>
                </a:cubicBezTo>
                <a:cubicBezTo>
                  <a:pt x="1196873" y="1924927"/>
                  <a:pt x="1186591" y="1923566"/>
                  <a:pt x="1169808" y="1916763"/>
                </a:cubicBezTo>
                <a:cubicBezTo>
                  <a:pt x="1165725" y="1915099"/>
                  <a:pt x="1160433" y="1911773"/>
                  <a:pt x="1154536" y="1907539"/>
                </a:cubicBezTo>
                <a:lnTo>
                  <a:pt x="1133066" y="1929010"/>
                </a:lnTo>
                <a:cubicBezTo>
                  <a:pt x="1296664" y="2083687"/>
                  <a:pt x="1515149" y="2180758"/>
                  <a:pt x="1756010" y="2187562"/>
                </a:cubicBezTo>
                <a:lnTo>
                  <a:pt x="1756010" y="1997503"/>
                </a:lnTo>
                <a:close/>
                <a:moveTo>
                  <a:pt x="1756161" y="1930522"/>
                </a:moveTo>
                <a:cubicBezTo>
                  <a:pt x="1729399" y="1932487"/>
                  <a:pt x="1689029" y="1931883"/>
                  <a:pt x="1679352" y="1925230"/>
                </a:cubicBezTo>
                <a:cubicBezTo>
                  <a:pt x="1659393" y="1911470"/>
                  <a:pt x="1635655" y="1897863"/>
                  <a:pt x="1632933" y="1887127"/>
                </a:cubicBezTo>
                <a:cubicBezTo>
                  <a:pt x="1628095" y="1868076"/>
                  <a:pt x="1602089" y="1853863"/>
                  <a:pt x="1602089" y="1836022"/>
                </a:cubicBezTo>
                <a:cubicBezTo>
                  <a:pt x="1602089" y="1816215"/>
                  <a:pt x="1629456" y="1809713"/>
                  <a:pt x="1622198" y="1789755"/>
                </a:cubicBezTo>
                <a:cubicBezTo>
                  <a:pt x="1616301" y="1773727"/>
                  <a:pt x="1631875" y="1753769"/>
                  <a:pt x="1660301" y="1739859"/>
                </a:cubicBezTo>
                <a:cubicBezTo>
                  <a:pt x="1576838" y="1719295"/>
                  <a:pt x="1501389" y="1678471"/>
                  <a:pt x="1439549" y="1622679"/>
                </a:cubicBezTo>
                <a:lnTo>
                  <a:pt x="1304829" y="1757398"/>
                </a:lnTo>
                <a:cubicBezTo>
                  <a:pt x="1428662" y="1872461"/>
                  <a:pt x="1587120" y="1937930"/>
                  <a:pt x="1756161" y="1944130"/>
                </a:cubicBezTo>
                <a:lnTo>
                  <a:pt x="1756161" y="1930522"/>
                </a:lnTo>
                <a:close/>
                <a:moveTo>
                  <a:pt x="1797288" y="1676506"/>
                </a:moveTo>
                <a:cubicBezTo>
                  <a:pt x="1817549" y="1673028"/>
                  <a:pt x="1839019" y="1667283"/>
                  <a:pt x="1857314" y="1665468"/>
                </a:cubicBezTo>
                <a:cubicBezTo>
                  <a:pt x="1877273" y="1663503"/>
                  <a:pt x="1856558" y="1691928"/>
                  <a:pt x="1868352" y="1693138"/>
                </a:cubicBezTo>
                <a:cubicBezTo>
                  <a:pt x="1882565" y="1694499"/>
                  <a:pt x="1940928" y="1704478"/>
                  <a:pt x="1945010" y="1691323"/>
                </a:cubicBezTo>
                <a:cubicBezTo>
                  <a:pt x="1948337" y="1680437"/>
                  <a:pt x="1949093" y="1675599"/>
                  <a:pt x="1961642" y="1672877"/>
                </a:cubicBezTo>
                <a:cubicBezTo>
                  <a:pt x="1985230" y="1667736"/>
                  <a:pt x="2003978" y="1668492"/>
                  <a:pt x="2023937" y="1653221"/>
                </a:cubicBezTo>
                <a:cubicBezTo>
                  <a:pt x="2031194" y="1647778"/>
                  <a:pt x="2046012" y="1645661"/>
                  <a:pt x="2050246" y="1637496"/>
                </a:cubicBezTo>
                <a:cubicBezTo>
                  <a:pt x="2054479" y="1629331"/>
                  <a:pt x="2047221" y="1590624"/>
                  <a:pt x="2032858" y="1596975"/>
                </a:cubicBezTo>
                <a:cubicBezTo>
                  <a:pt x="2025902" y="1600150"/>
                  <a:pt x="2017435" y="1610129"/>
                  <a:pt x="2002466" y="1617689"/>
                </a:cubicBezTo>
                <a:cubicBezTo>
                  <a:pt x="1988858" y="1624493"/>
                  <a:pt x="1979333" y="1627668"/>
                  <a:pt x="1969656" y="1614665"/>
                </a:cubicBezTo>
                <a:cubicBezTo>
                  <a:pt x="1960886" y="1602871"/>
                  <a:pt x="1974797" y="1593648"/>
                  <a:pt x="1982054" y="1585786"/>
                </a:cubicBezTo>
                <a:cubicBezTo>
                  <a:pt x="1993243" y="1573539"/>
                  <a:pt x="2003374" y="1561140"/>
                  <a:pt x="2015772" y="1561140"/>
                </a:cubicBezTo>
                <a:cubicBezTo>
                  <a:pt x="2020610" y="1561140"/>
                  <a:pt x="2046163" y="1548439"/>
                  <a:pt x="2044046" y="1536797"/>
                </a:cubicBezTo>
                <a:cubicBezTo>
                  <a:pt x="2041174" y="1521677"/>
                  <a:pt x="2011387" y="1538158"/>
                  <a:pt x="2004583" y="1531959"/>
                </a:cubicBezTo>
                <a:cubicBezTo>
                  <a:pt x="1999745" y="1527725"/>
                  <a:pt x="2004583" y="1516839"/>
                  <a:pt x="2000803" y="1515175"/>
                </a:cubicBezTo>
                <a:cubicBezTo>
                  <a:pt x="1997326" y="1513512"/>
                  <a:pt x="1986288" y="1528632"/>
                  <a:pt x="1994906" y="1536646"/>
                </a:cubicBezTo>
                <a:cubicBezTo>
                  <a:pt x="1999291" y="1540879"/>
                  <a:pt x="1987800" y="1552673"/>
                  <a:pt x="1974797" y="1544206"/>
                </a:cubicBezTo>
                <a:cubicBezTo>
                  <a:pt x="1964818" y="1537553"/>
                  <a:pt x="1962247" y="1573841"/>
                  <a:pt x="1963154" y="1580494"/>
                </a:cubicBezTo>
                <a:cubicBezTo>
                  <a:pt x="1964061" y="1587146"/>
                  <a:pt x="1977821" y="1585332"/>
                  <a:pt x="1968598" y="1597277"/>
                </a:cubicBezTo>
                <a:cubicBezTo>
                  <a:pt x="1959374" y="1609373"/>
                  <a:pt x="1956048" y="1600452"/>
                  <a:pt x="1949244" y="1606349"/>
                </a:cubicBezTo>
                <a:cubicBezTo>
                  <a:pt x="1941079" y="1613455"/>
                  <a:pt x="1939265" y="1616177"/>
                  <a:pt x="1949244" y="1626610"/>
                </a:cubicBezTo>
                <a:cubicBezTo>
                  <a:pt x="1957257" y="1634775"/>
                  <a:pt x="1944557" y="1650348"/>
                  <a:pt x="1941684" y="1635833"/>
                </a:cubicBezTo>
                <a:cubicBezTo>
                  <a:pt x="1939718" y="1626156"/>
                  <a:pt x="1919306" y="1629029"/>
                  <a:pt x="1915526" y="1618143"/>
                </a:cubicBezTo>
                <a:cubicBezTo>
                  <a:pt x="1911595" y="1606803"/>
                  <a:pt x="1894963" y="1608012"/>
                  <a:pt x="1874854" y="1597579"/>
                </a:cubicBezTo>
                <a:cubicBezTo>
                  <a:pt x="1859582" y="1589717"/>
                  <a:pt x="1861548" y="1612850"/>
                  <a:pt x="1887403" y="1618747"/>
                </a:cubicBezTo>
                <a:cubicBezTo>
                  <a:pt x="1909327" y="1623737"/>
                  <a:pt x="1908269" y="1626307"/>
                  <a:pt x="1901918" y="1640218"/>
                </a:cubicBezTo>
                <a:cubicBezTo>
                  <a:pt x="1896777" y="1651558"/>
                  <a:pt x="1897836" y="1631599"/>
                  <a:pt x="1871678" y="1624644"/>
                </a:cubicBezTo>
                <a:cubicBezTo>
                  <a:pt x="1854895" y="1620259"/>
                  <a:pt x="1854139" y="1611187"/>
                  <a:pt x="1840834" y="1611339"/>
                </a:cubicBezTo>
                <a:cubicBezTo>
                  <a:pt x="1827377" y="1611339"/>
                  <a:pt x="1831761" y="1624190"/>
                  <a:pt x="1817700" y="1620864"/>
                </a:cubicBezTo>
                <a:cubicBezTo>
                  <a:pt x="1806965" y="1618294"/>
                  <a:pt x="1805301" y="1632809"/>
                  <a:pt x="1795473" y="1636891"/>
                </a:cubicBezTo>
                <a:cubicBezTo>
                  <a:pt x="1783377" y="1642032"/>
                  <a:pt x="1784133" y="1663805"/>
                  <a:pt x="1771886" y="1669853"/>
                </a:cubicBezTo>
                <a:cubicBezTo>
                  <a:pt x="1753742" y="1678774"/>
                  <a:pt x="1716396" y="1672121"/>
                  <a:pt x="1718059" y="1653977"/>
                </a:cubicBezTo>
                <a:cubicBezTo>
                  <a:pt x="1719722" y="1635984"/>
                  <a:pt x="1720630" y="1622376"/>
                  <a:pt x="1731062" y="1616177"/>
                </a:cubicBezTo>
                <a:cubicBezTo>
                  <a:pt x="1740286" y="1610734"/>
                  <a:pt x="1755406" y="1626912"/>
                  <a:pt x="1768257" y="1621166"/>
                </a:cubicBezTo>
                <a:cubicBezTo>
                  <a:pt x="1781563" y="1615270"/>
                  <a:pt x="1778237" y="1601057"/>
                  <a:pt x="1770223" y="1591834"/>
                </a:cubicBezTo>
                <a:cubicBezTo>
                  <a:pt x="1767804" y="1588659"/>
                  <a:pt x="1757976" y="1583820"/>
                  <a:pt x="1758278" y="1580796"/>
                </a:cubicBezTo>
                <a:cubicBezTo>
                  <a:pt x="1758430" y="1577016"/>
                  <a:pt x="1777481" y="1575202"/>
                  <a:pt x="1787157" y="1568700"/>
                </a:cubicBezTo>
                <a:cubicBezTo>
                  <a:pt x="1796834" y="1562199"/>
                  <a:pt x="1807267" y="1544962"/>
                  <a:pt x="1812106" y="1541182"/>
                </a:cubicBezTo>
                <a:cubicBezTo>
                  <a:pt x="1817397" y="1537099"/>
                  <a:pt x="1827679" y="1536041"/>
                  <a:pt x="1828586" y="1532261"/>
                </a:cubicBezTo>
                <a:cubicBezTo>
                  <a:pt x="1829947" y="1527423"/>
                  <a:pt x="1821329" y="1518502"/>
                  <a:pt x="1822085" y="1512605"/>
                </a:cubicBezTo>
                <a:cubicBezTo>
                  <a:pt x="1822841" y="1506708"/>
                  <a:pt x="1824957" y="1502172"/>
                  <a:pt x="1829645" y="1502475"/>
                </a:cubicBezTo>
                <a:cubicBezTo>
                  <a:pt x="1834181" y="1502777"/>
                  <a:pt x="1839775" y="1516083"/>
                  <a:pt x="1836751" y="1519258"/>
                </a:cubicBezTo>
                <a:cubicBezTo>
                  <a:pt x="1833425" y="1522886"/>
                  <a:pt x="1839170" y="1528935"/>
                  <a:pt x="1845370" y="1526364"/>
                </a:cubicBezTo>
                <a:cubicBezTo>
                  <a:pt x="1851720" y="1523794"/>
                  <a:pt x="1874097" y="1515024"/>
                  <a:pt x="1880599" y="1513361"/>
                </a:cubicBezTo>
                <a:cubicBezTo>
                  <a:pt x="1889369" y="1510942"/>
                  <a:pt x="1878331" y="1490983"/>
                  <a:pt x="1881204" y="1487506"/>
                </a:cubicBezTo>
                <a:cubicBezTo>
                  <a:pt x="1883926" y="1484179"/>
                  <a:pt x="1886496" y="1488564"/>
                  <a:pt x="1889974" y="1485238"/>
                </a:cubicBezTo>
                <a:cubicBezTo>
                  <a:pt x="1893300" y="1481911"/>
                  <a:pt x="1883018" y="1478434"/>
                  <a:pt x="1884681" y="1471176"/>
                </a:cubicBezTo>
                <a:cubicBezTo>
                  <a:pt x="1885891" y="1465733"/>
                  <a:pt x="1909327" y="1459383"/>
                  <a:pt x="1902826" y="1455149"/>
                </a:cubicBezTo>
                <a:cubicBezTo>
                  <a:pt x="1896324" y="1450915"/>
                  <a:pt x="1887706" y="1463011"/>
                  <a:pt x="1882565" y="1465279"/>
                </a:cubicBezTo>
                <a:cubicBezTo>
                  <a:pt x="1870922" y="1470420"/>
                  <a:pt x="1865177" y="1457719"/>
                  <a:pt x="1865630" y="1448043"/>
                </a:cubicBezTo>
                <a:cubicBezTo>
                  <a:pt x="1865781" y="1443355"/>
                  <a:pt x="1872132" y="1426723"/>
                  <a:pt x="1866689" y="1423548"/>
                </a:cubicBezTo>
                <a:cubicBezTo>
                  <a:pt x="1858977" y="1419163"/>
                  <a:pt x="1857617" y="1438819"/>
                  <a:pt x="1856407" y="1442750"/>
                </a:cubicBezTo>
                <a:cubicBezTo>
                  <a:pt x="1854593" y="1448647"/>
                  <a:pt x="1849603" y="1456056"/>
                  <a:pt x="1858070" y="1471932"/>
                </a:cubicBezTo>
                <a:cubicBezTo>
                  <a:pt x="1862606" y="1480550"/>
                  <a:pt x="1860338" y="1509581"/>
                  <a:pt x="1851417" y="1512756"/>
                </a:cubicBezTo>
                <a:cubicBezTo>
                  <a:pt x="1841892" y="1516234"/>
                  <a:pt x="1837658" y="1497939"/>
                  <a:pt x="1833274" y="1490530"/>
                </a:cubicBezTo>
                <a:cubicBezTo>
                  <a:pt x="1832517" y="1489169"/>
                  <a:pt x="1831761" y="1488262"/>
                  <a:pt x="1830854" y="1487808"/>
                </a:cubicBezTo>
                <a:cubicBezTo>
                  <a:pt x="1830854" y="1487808"/>
                  <a:pt x="1830703" y="1487808"/>
                  <a:pt x="1830552" y="1487808"/>
                </a:cubicBezTo>
                <a:cubicBezTo>
                  <a:pt x="1830250" y="1487657"/>
                  <a:pt x="1829796" y="1487506"/>
                  <a:pt x="1829342" y="1487657"/>
                </a:cubicBezTo>
                <a:lnTo>
                  <a:pt x="1829342" y="1487657"/>
                </a:lnTo>
                <a:cubicBezTo>
                  <a:pt x="1829342" y="1487657"/>
                  <a:pt x="1828586" y="1487959"/>
                  <a:pt x="1828133" y="1488262"/>
                </a:cubicBezTo>
                <a:cubicBezTo>
                  <a:pt x="1828133" y="1488262"/>
                  <a:pt x="1827830" y="1488413"/>
                  <a:pt x="1827830" y="1488564"/>
                </a:cubicBezTo>
                <a:cubicBezTo>
                  <a:pt x="1827377" y="1489018"/>
                  <a:pt x="1826923" y="1489471"/>
                  <a:pt x="1826470" y="1490227"/>
                </a:cubicBezTo>
                <a:cubicBezTo>
                  <a:pt x="1825714" y="1491437"/>
                  <a:pt x="1824504" y="1493403"/>
                  <a:pt x="1823597" y="1495217"/>
                </a:cubicBezTo>
                <a:cubicBezTo>
                  <a:pt x="1822841" y="1496426"/>
                  <a:pt x="1821480" y="1499450"/>
                  <a:pt x="1819666" y="1504440"/>
                </a:cubicBezTo>
                <a:cubicBezTo>
                  <a:pt x="1818607" y="1507615"/>
                  <a:pt x="1816490" y="1509581"/>
                  <a:pt x="1812861" y="1510488"/>
                </a:cubicBezTo>
                <a:cubicBezTo>
                  <a:pt x="1803185" y="1511546"/>
                  <a:pt x="1793206" y="1512303"/>
                  <a:pt x="1783226" y="1512303"/>
                </a:cubicBezTo>
                <a:cubicBezTo>
                  <a:pt x="1779295" y="1512303"/>
                  <a:pt x="1775515" y="1512303"/>
                  <a:pt x="1771735" y="1512000"/>
                </a:cubicBezTo>
                <a:cubicBezTo>
                  <a:pt x="1773398" y="1518048"/>
                  <a:pt x="1775061" y="1524399"/>
                  <a:pt x="1777178" y="1528632"/>
                </a:cubicBezTo>
                <a:cubicBezTo>
                  <a:pt x="1782470" y="1538611"/>
                  <a:pt x="1792601" y="1546625"/>
                  <a:pt x="1790786" y="1554034"/>
                </a:cubicBezTo>
                <a:cubicBezTo>
                  <a:pt x="1789123" y="1561443"/>
                  <a:pt x="1758278" y="1568095"/>
                  <a:pt x="1755708" y="1562652"/>
                </a:cubicBezTo>
                <a:cubicBezTo>
                  <a:pt x="1752533" y="1555999"/>
                  <a:pt x="1763419" y="1542391"/>
                  <a:pt x="1762663" y="1536343"/>
                </a:cubicBezTo>
                <a:cubicBezTo>
                  <a:pt x="1761151" y="1525155"/>
                  <a:pt x="1755557" y="1518653"/>
                  <a:pt x="1756161" y="1510942"/>
                </a:cubicBezTo>
                <a:cubicBezTo>
                  <a:pt x="1701881" y="1505499"/>
                  <a:pt x="1652287" y="1484028"/>
                  <a:pt x="1612219" y="1451066"/>
                </a:cubicBezTo>
                <a:lnTo>
                  <a:pt x="1477500" y="1585786"/>
                </a:lnTo>
                <a:cubicBezTo>
                  <a:pt x="1543877" y="1644905"/>
                  <a:pt x="1627490" y="1685275"/>
                  <a:pt x="1719722" y="1697976"/>
                </a:cubicBezTo>
                <a:cubicBezTo>
                  <a:pt x="1732726" y="1689963"/>
                  <a:pt x="1738169" y="1675750"/>
                  <a:pt x="1748450" y="1683461"/>
                </a:cubicBezTo>
                <a:cubicBezTo>
                  <a:pt x="1764780" y="1695859"/>
                  <a:pt x="1784587" y="1679379"/>
                  <a:pt x="1797590" y="1677110"/>
                </a:cubicBezTo>
                <a:close/>
                <a:moveTo>
                  <a:pt x="1809233" y="1997352"/>
                </a:moveTo>
                <a:lnTo>
                  <a:pt x="1809233" y="2187562"/>
                </a:lnTo>
                <a:cubicBezTo>
                  <a:pt x="1886194" y="2185445"/>
                  <a:pt x="1961038" y="2173954"/>
                  <a:pt x="2032404" y="2154449"/>
                </a:cubicBezTo>
                <a:cubicBezTo>
                  <a:pt x="2017586" y="2141899"/>
                  <a:pt x="2010782" y="2121336"/>
                  <a:pt x="1992487" y="2115137"/>
                </a:cubicBezTo>
                <a:cubicBezTo>
                  <a:pt x="1960886" y="2104250"/>
                  <a:pt x="1952419" y="2084746"/>
                  <a:pt x="1969505" y="2056623"/>
                </a:cubicBezTo>
                <a:cubicBezTo>
                  <a:pt x="1978728" y="2041351"/>
                  <a:pt x="1975099" y="2035455"/>
                  <a:pt x="1964213" y="2019125"/>
                </a:cubicBezTo>
                <a:cubicBezTo>
                  <a:pt x="1951058" y="1999318"/>
                  <a:pt x="1933973" y="1990397"/>
                  <a:pt x="1921574" y="1984954"/>
                </a:cubicBezTo>
                <a:cubicBezTo>
                  <a:pt x="1884984" y="1991758"/>
                  <a:pt x="1847486" y="1996143"/>
                  <a:pt x="1809233" y="1997503"/>
                </a:cubicBezTo>
                <a:close/>
                <a:moveTo>
                  <a:pt x="1900557" y="1934755"/>
                </a:moveTo>
                <a:cubicBezTo>
                  <a:pt x="1894358" y="1928103"/>
                  <a:pt x="1881657" y="1927498"/>
                  <a:pt x="1872737" y="1929917"/>
                </a:cubicBezTo>
                <a:cubicBezTo>
                  <a:pt x="1841892" y="1938233"/>
                  <a:pt x="1852174" y="1913739"/>
                  <a:pt x="1809233" y="1919938"/>
                </a:cubicBezTo>
                <a:lnTo>
                  <a:pt x="1809233" y="1944130"/>
                </a:lnTo>
                <a:cubicBezTo>
                  <a:pt x="1840229" y="1942920"/>
                  <a:pt x="1870620" y="1939745"/>
                  <a:pt x="1900557" y="1934604"/>
                </a:cubicBezTo>
                <a:close/>
                <a:moveTo>
                  <a:pt x="2604696" y="2101529"/>
                </a:moveTo>
                <a:lnTo>
                  <a:pt x="2469675" y="1966507"/>
                </a:lnTo>
                <a:cubicBezTo>
                  <a:pt x="2400123" y="2032582"/>
                  <a:pt x="2321045" y="2088526"/>
                  <a:pt x="2234861" y="2132525"/>
                </a:cubicBezTo>
                <a:cubicBezTo>
                  <a:pt x="2206435" y="2153995"/>
                  <a:pt x="2171659" y="2169569"/>
                  <a:pt x="2145502" y="2181514"/>
                </a:cubicBezTo>
                <a:cubicBezTo>
                  <a:pt x="2134464" y="2186503"/>
                  <a:pt x="2122670" y="2193005"/>
                  <a:pt x="2110121" y="2193005"/>
                </a:cubicBezTo>
                <a:cubicBezTo>
                  <a:pt x="2106038" y="2193005"/>
                  <a:pt x="2102561" y="2191644"/>
                  <a:pt x="2099083" y="2189527"/>
                </a:cubicBezTo>
                <a:cubicBezTo>
                  <a:pt x="2007607" y="2220070"/>
                  <a:pt x="1910386" y="2237911"/>
                  <a:pt x="1809384" y="2240482"/>
                </a:cubicBezTo>
                <a:lnTo>
                  <a:pt x="1809384" y="2430540"/>
                </a:lnTo>
                <a:cubicBezTo>
                  <a:pt x="2108458" y="2424039"/>
                  <a:pt x="2388934" y="2307917"/>
                  <a:pt x="2604696" y="2101378"/>
                </a:cubicBezTo>
                <a:close/>
                <a:moveTo>
                  <a:pt x="2338735" y="726667"/>
                </a:moveTo>
                <a:cubicBezTo>
                  <a:pt x="2338433" y="727726"/>
                  <a:pt x="2337979" y="728482"/>
                  <a:pt x="2337223" y="728935"/>
                </a:cubicBezTo>
                <a:cubicBezTo>
                  <a:pt x="2368522" y="762804"/>
                  <a:pt x="2396645" y="799395"/>
                  <a:pt x="2421593" y="838555"/>
                </a:cubicBezTo>
                <a:cubicBezTo>
                  <a:pt x="2424466" y="834926"/>
                  <a:pt x="2426734" y="831600"/>
                  <a:pt x="2430816" y="836136"/>
                </a:cubicBezTo>
                <a:cubicBezTo>
                  <a:pt x="2437469" y="843847"/>
                  <a:pt x="2423861" y="857758"/>
                  <a:pt x="2443668" y="854129"/>
                </a:cubicBezTo>
                <a:cubicBezTo>
                  <a:pt x="2455613" y="851861"/>
                  <a:pt x="2453194" y="867283"/>
                  <a:pt x="2443517" y="875448"/>
                </a:cubicBezTo>
                <a:cubicBezTo>
                  <a:pt x="2449716" y="886486"/>
                  <a:pt x="2455613" y="897675"/>
                  <a:pt x="2461207" y="909015"/>
                </a:cubicBezTo>
                <a:cubicBezTo>
                  <a:pt x="2468163" y="912190"/>
                  <a:pt x="2473455" y="915970"/>
                  <a:pt x="2474664" y="920506"/>
                </a:cubicBezTo>
                <a:cubicBezTo>
                  <a:pt x="2477839" y="933811"/>
                  <a:pt x="2483887" y="948629"/>
                  <a:pt x="2485399" y="963446"/>
                </a:cubicBezTo>
                <a:cubicBezTo>
                  <a:pt x="2494925" y="987336"/>
                  <a:pt x="2503241" y="1011830"/>
                  <a:pt x="2510347" y="1036930"/>
                </a:cubicBezTo>
                <a:cubicBezTo>
                  <a:pt x="2520176" y="1028614"/>
                  <a:pt x="2531213" y="1033150"/>
                  <a:pt x="2532271" y="1047060"/>
                </a:cubicBezTo>
                <a:cubicBezTo>
                  <a:pt x="2533481" y="1060970"/>
                  <a:pt x="2528945" y="1076242"/>
                  <a:pt x="2522897" y="1088640"/>
                </a:cubicBezTo>
                <a:cubicBezTo>
                  <a:pt x="2531364" y="1129766"/>
                  <a:pt x="2536656" y="1171951"/>
                  <a:pt x="2538168" y="1215195"/>
                </a:cubicBezTo>
                <a:lnTo>
                  <a:pt x="2728227" y="1215195"/>
                </a:lnTo>
                <a:cubicBezTo>
                  <a:pt x="2724749" y="1092118"/>
                  <a:pt x="2697231" y="970402"/>
                  <a:pt x="2647788" y="858514"/>
                </a:cubicBezTo>
                <a:cubicBezTo>
                  <a:pt x="2644008" y="861538"/>
                  <a:pt x="2639019" y="861840"/>
                  <a:pt x="2632517" y="869854"/>
                </a:cubicBezTo>
                <a:cubicBezTo>
                  <a:pt x="2622840" y="881950"/>
                  <a:pt x="2607267" y="866830"/>
                  <a:pt x="2598799" y="856246"/>
                </a:cubicBezTo>
                <a:cubicBezTo>
                  <a:pt x="2582923" y="836590"/>
                  <a:pt x="2545426" y="781250"/>
                  <a:pt x="2528491" y="778529"/>
                </a:cubicBezTo>
                <a:cubicBezTo>
                  <a:pt x="2514430" y="776261"/>
                  <a:pt x="2503846" y="757815"/>
                  <a:pt x="2489028" y="754790"/>
                </a:cubicBezTo>
                <a:cubicBezTo>
                  <a:pt x="2474211" y="751766"/>
                  <a:pt x="2455764" y="743450"/>
                  <a:pt x="2453345" y="727726"/>
                </a:cubicBezTo>
                <a:cubicBezTo>
                  <a:pt x="2450775" y="711699"/>
                  <a:pt x="2445029" y="705046"/>
                  <a:pt x="2428548" y="702475"/>
                </a:cubicBezTo>
                <a:cubicBezTo>
                  <a:pt x="2409951" y="699602"/>
                  <a:pt x="2396947" y="692194"/>
                  <a:pt x="2383793" y="678283"/>
                </a:cubicBezTo>
                <a:lnTo>
                  <a:pt x="2338282" y="723795"/>
                </a:lnTo>
                <a:cubicBezTo>
                  <a:pt x="2338584" y="724853"/>
                  <a:pt x="2338887" y="725609"/>
                  <a:pt x="2338735" y="726365"/>
                </a:cubicBezTo>
                <a:close/>
                <a:moveTo>
                  <a:pt x="2459393" y="1881079"/>
                </a:moveTo>
                <a:lnTo>
                  <a:pt x="2469826" y="1891512"/>
                </a:lnTo>
                <a:cubicBezTo>
                  <a:pt x="2624503" y="1727914"/>
                  <a:pt x="2721725" y="1509430"/>
                  <a:pt x="2728378" y="1268568"/>
                </a:cubicBezTo>
                <a:lnTo>
                  <a:pt x="2538319" y="1268568"/>
                </a:lnTo>
                <a:cubicBezTo>
                  <a:pt x="2531818" y="1456963"/>
                  <a:pt x="2455915" y="1628122"/>
                  <a:pt x="2335560" y="1757095"/>
                </a:cubicBezTo>
                <a:lnTo>
                  <a:pt x="2404205" y="1825740"/>
                </a:lnTo>
                <a:cubicBezTo>
                  <a:pt x="2404658" y="1824833"/>
                  <a:pt x="2405112" y="1823775"/>
                  <a:pt x="2405566" y="1822867"/>
                </a:cubicBezTo>
                <a:cubicBezTo>
                  <a:pt x="2411311" y="1810771"/>
                  <a:pt x="2408741" y="1795046"/>
                  <a:pt x="2409799" y="1784009"/>
                </a:cubicBezTo>
                <a:cubicBezTo>
                  <a:pt x="2410404" y="1776751"/>
                  <a:pt x="2436562" y="1778566"/>
                  <a:pt x="2438376" y="1790510"/>
                </a:cubicBezTo>
                <a:cubicBezTo>
                  <a:pt x="2439888" y="1800490"/>
                  <a:pt x="2445180" y="1807899"/>
                  <a:pt x="2454252" y="1832846"/>
                </a:cubicBezTo>
                <a:cubicBezTo>
                  <a:pt x="2460754" y="1850839"/>
                  <a:pt x="2463929" y="1867320"/>
                  <a:pt x="2459544" y="1881079"/>
                </a:cubicBezTo>
                <a:close/>
                <a:moveTo>
                  <a:pt x="2314997" y="1999771"/>
                </a:moveTo>
                <a:cubicBezTo>
                  <a:pt x="2310007" y="2011867"/>
                  <a:pt x="2284606" y="2033640"/>
                  <a:pt x="2288991" y="2040746"/>
                </a:cubicBezTo>
                <a:cubicBezTo>
                  <a:pt x="2340247" y="2008087"/>
                  <a:pt x="2388329" y="1970741"/>
                  <a:pt x="2432328" y="1929161"/>
                </a:cubicBezTo>
                <a:lnTo>
                  <a:pt x="2297911" y="1794744"/>
                </a:lnTo>
                <a:cubicBezTo>
                  <a:pt x="2288537" y="1803514"/>
                  <a:pt x="2278860" y="1811981"/>
                  <a:pt x="2269032" y="1820146"/>
                </a:cubicBezTo>
                <a:cubicBezTo>
                  <a:pt x="2266764" y="1835568"/>
                  <a:pt x="2268881" y="1847664"/>
                  <a:pt x="2287781" y="1853410"/>
                </a:cubicBezTo>
                <a:cubicBezTo>
                  <a:pt x="2308193" y="1859760"/>
                  <a:pt x="2342213" y="1880475"/>
                  <a:pt x="2335107" y="1900584"/>
                </a:cubicBezTo>
                <a:cubicBezTo>
                  <a:pt x="2327093" y="1918577"/>
                  <a:pt x="2307134" y="1945490"/>
                  <a:pt x="2297458" y="1963483"/>
                </a:cubicBezTo>
                <a:cubicBezTo>
                  <a:pt x="2289293" y="1978755"/>
                  <a:pt x="2321045" y="1985256"/>
                  <a:pt x="2314997" y="1999771"/>
                </a:cubicBezTo>
                <a:close/>
                <a:moveTo>
                  <a:pt x="2346295" y="1213078"/>
                </a:moveTo>
                <a:cubicBezTo>
                  <a:pt x="2345993" y="1213834"/>
                  <a:pt x="2345539" y="1214741"/>
                  <a:pt x="2344934" y="1215497"/>
                </a:cubicBezTo>
                <a:lnTo>
                  <a:pt x="2484946" y="1215497"/>
                </a:lnTo>
                <a:cubicBezTo>
                  <a:pt x="2484190" y="1195236"/>
                  <a:pt x="2482527" y="1175278"/>
                  <a:pt x="2480107" y="1155470"/>
                </a:cubicBezTo>
                <a:cubicBezTo>
                  <a:pt x="2479049" y="1157587"/>
                  <a:pt x="2477839" y="1159553"/>
                  <a:pt x="2476781" y="1161670"/>
                </a:cubicBezTo>
                <a:cubicBezTo>
                  <a:pt x="2466348" y="1183443"/>
                  <a:pt x="2464685" y="1170288"/>
                  <a:pt x="2465441" y="1160914"/>
                </a:cubicBezTo>
                <a:cubicBezTo>
                  <a:pt x="2466499" y="1148818"/>
                  <a:pt x="2471035" y="1137629"/>
                  <a:pt x="2475571" y="1125230"/>
                </a:cubicBezTo>
                <a:cubicBezTo>
                  <a:pt x="2474513" y="1118729"/>
                  <a:pt x="2473303" y="1112379"/>
                  <a:pt x="2472094" y="1106028"/>
                </a:cubicBezTo>
                <a:cubicBezTo>
                  <a:pt x="2467860" y="1112076"/>
                  <a:pt x="2461812" y="1116159"/>
                  <a:pt x="2452287" y="1120997"/>
                </a:cubicBezTo>
                <a:cubicBezTo>
                  <a:pt x="2446087" y="1124172"/>
                  <a:pt x="2440191" y="1138687"/>
                  <a:pt x="2437923" y="1144282"/>
                </a:cubicBezTo>
                <a:cubicBezTo>
                  <a:pt x="2435201" y="1150935"/>
                  <a:pt x="2419778" y="1142770"/>
                  <a:pt x="2407229" y="1148818"/>
                </a:cubicBezTo>
                <a:cubicBezTo>
                  <a:pt x="2385003" y="1159553"/>
                  <a:pt x="2362323" y="1161065"/>
                  <a:pt x="2378501" y="1184047"/>
                </a:cubicBezTo>
                <a:cubicBezTo>
                  <a:pt x="2388934" y="1198714"/>
                  <a:pt x="2353704" y="1194631"/>
                  <a:pt x="2346295" y="1213229"/>
                </a:cubicBezTo>
                <a:close/>
                <a:moveTo>
                  <a:pt x="2297760" y="764467"/>
                </a:moveTo>
                <a:lnTo>
                  <a:pt x="2163343" y="898884"/>
                </a:lnTo>
                <a:cubicBezTo>
                  <a:pt x="2186477" y="924588"/>
                  <a:pt x="2207040" y="952560"/>
                  <a:pt x="2224579" y="982498"/>
                </a:cubicBezTo>
                <a:cubicBezTo>
                  <a:pt x="2240455" y="984917"/>
                  <a:pt x="2261926" y="991267"/>
                  <a:pt x="2275836" y="1009109"/>
                </a:cubicBezTo>
                <a:cubicBezTo>
                  <a:pt x="2285664" y="1021810"/>
                  <a:pt x="2314090" y="1047211"/>
                  <a:pt x="2309705" y="1058551"/>
                </a:cubicBezTo>
                <a:cubicBezTo>
                  <a:pt x="2306983" y="1065506"/>
                  <a:pt x="2313031" y="1074125"/>
                  <a:pt x="2319382" y="1078661"/>
                </a:cubicBezTo>
                <a:cubicBezTo>
                  <a:pt x="2329361" y="1085616"/>
                  <a:pt x="2336316" y="1085465"/>
                  <a:pt x="2341759" y="1078510"/>
                </a:cubicBezTo>
                <a:cubicBezTo>
                  <a:pt x="2351738" y="1065809"/>
                  <a:pt x="2353099" y="1048723"/>
                  <a:pt x="2366254" y="1037988"/>
                </a:cubicBezTo>
                <a:cubicBezTo>
                  <a:pt x="2382281" y="1024682"/>
                  <a:pt x="2415394" y="1063087"/>
                  <a:pt x="2415243" y="1070043"/>
                </a:cubicBezTo>
                <a:cubicBezTo>
                  <a:pt x="2415243" y="1076998"/>
                  <a:pt x="2406624" y="1078661"/>
                  <a:pt x="2404205" y="1091210"/>
                </a:cubicBezTo>
                <a:cubicBezTo>
                  <a:pt x="2400878" y="1108145"/>
                  <a:pt x="2386212" y="1128557"/>
                  <a:pt x="2402844" y="1134151"/>
                </a:cubicBezTo>
                <a:cubicBezTo>
                  <a:pt x="2427036" y="1142467"/>
                  <a:pt x="2430060" y="1132942"/>
                  <a:pt x="2441703" y="1115856"/>
                </a:cubicBezTo>
                <a:cubicBezTo>
                  <a:pt x="2446995" y="1107994"/>
                  <a:pt x="2445936" y="1095293"/>
                  <a:pt x="2451682" y="1087582"/>
                </a:cubicBezTo>
                <a:cubicBezTo>
                  <a:pt x="2455311" y="1082743"/>
                  <a:pt x="2460754" y="1080626"/>
                  <a:pt x="2465592" y="1077300"/>
                </a:cubicBezTo>
                <a:cubicBezTo>
                  <a:pt x="2456520" y="1039651"/>
                  <a:pt x="2444424" y="1003061"/>
                  <a:pt x="2429607" y="967982"/>
                </a:cubicBezTo>
                <a:cubicBezTo>
                  <a:pt x="2425978" y="964505"/>
                  <a:pt x="2421895" y="961632"/>
                  <a:pt x="2416755" y="959969"/>
                </a:cubicBezTo>
                <a:cubicBezTo>
                  <a:pt x="2408136" y="957096"/>
                  <a:pt x="2412975" y="949385"/>
                  <a:pt x="2401634" y="945756"/>
                </a:cubicBezTo>
                <a:cubicBezTo>
                  <a:pt x="2388631" y="941674"/>
                  <a:pt x="2383491" y="937894"/>
                  <a:pt x="2382281" y="915062"/>
                </a:cubicBezTo>
                <a:cubicBezTo>
                  <a:pt x="2381374" y="896616"/>
                  <a:pt x="2397854" y="921110"/>
                  <a:pt x="2401937" y="917935"/>
                </a:cubicBezTo>
                <a:cubicBezTo>
                  <a:pt x="2402844" y="917179"/>
                  <a:pt x="2403600" y="916121"/>
                  <a:pt x="2404356" y="914911"/>
                </a:cubicBezTo>
                <a:cubicBezTo>
                  <a:pt x="2375326" y="860026"/>
                  <a:pt x="2339340" y="809525"/>
                  <a:pt x="2297609" y="764316"/>
                </a:cubicBezTo>
                <a:close/>
                <a:moveTo>
                  <a:pt x="2134615" y="946966"/>
                </a:moveTo>
                <a:cubicBezTo>
                  <a:pt x="2128265" y="946966"/>
                  <a:pt x="2122973" y="945605"/>
                  <a:pt x="2118286" y="943790"/>
                </a:cubicBezTo>
                <a:lnTo>
                  <a:pt x="2073833" y="988243"/>
                </a:lnTo>
                <a:cubicBezTo>
                  <a:pt x="2082300" y="990511"/>
                  <a:pt x="2091826" y="987336"/>
                  <a:pt x="2102410" y="992175"/>
                </a:cubicBezTo>
                <a:cubicBezTo>
                  <a:pt x="2114203" y="997315"/>
                  <a:pt x="2108458" y="959213"/>
                  <a:pt x="2126602" y="962690"/>
                </a:cubicBezTo>
                <a:cubicBezTo>
                  <a:pt x="2145048" y="966168"/>
                  <a:pt x="2149735" y="978113"/>
                  <a:pt x="2134464" y="983859"/>
                </a:cubicBezTo>
                <a:cubicBezTo>
                  <a:pt x="2122217" y="987790"/>
                  <a:pt x="2137488" y="998071"/>
                  <a:pt x="2122670" y="1003061"/>
                </a:cubicBezTo>
                <a:cubicBezTo>
                  <a:pt x="2109214" y="1007597"/>
                  <a:pt x="2133557" y="1019542"/>
                  <a:pt x="2133406" y="1024834"/>
                </a:cubicBezTo>
                <a:cubicBezTo>
                  <a:pt x="2133103" y="1032242"/>
                  <a:pt x="2114959" y="1034964"/>
                  <a:pt x="2142327" y="1043280"/>
                </a:cubicBezTo>
                <a:cubicBezTo>
                  <a:pt x="2169543" y="1051747"/>
                  <a:pt x="2142327" y="1020298"/>
                  <a:pt x="2146560" y="1015913"/>
                </a:cubicBezTo>
                <a:cubicBezTo>
                  <a:pt x="2151550" y="1010621"/>
                  <a:pt x="2166216" y="1024380"/>
                  <a:pt x="2170147" y="1018332"/>
                </a:cubicBezTo>
                <a:cubicBezTo>
                  <a:pt x="2171659" y="1016064"/>
                  <a:pt x="2174381" y="1012133"/>
                  <a:pt x="2177707" y="1007748"/>
                </a:cubicBezTo>
                <a:cubicBezTo>
                  <a:pt x="2165007" y="986278"/>
                  <a:pt x="2150491" y="966017"/>
                  <a:pt x="2134615" y="947117"/>
                </a:cubicBezTo>
                <a:close/>
                <a:moveTo>
                  <a:pt x="2065366" y="1652616"/>
                </a:moveTo>
                <a:cubicBezTo>
                  <a:pt x="2065668" y="1661990"/>
                  <a:pt x="2056294" y="1654430"/>
                  <a:pt x="2053421" y="1657606"/>
                </a:cubicBezTo>
                <a:cubicBezTo>
                  <a:pt x="2050548" y="1660781"/>
                  <a:pt x="2128114" y="1697069"/>
                  <a:pt x="2140361" y="1699186"/>
                </a:cubicBezTo>
                <a:cubicBezTo>
                  <a:pt x="2148677" y="1700546"/>
                  <a:pt x="2164553" y="1706595"/>
                  <a:pt x="2192676" y="1701000"/>
                </a:cubicBezTo>
                <a:cubicBezTo>
                  <a:pt x="2211576" y="1697220"/>
                  <a:pt x="2216717" y="1705990"/>
                  <a:pt x="2225487" y="1705536"/>
                </a:cubicBezTo>
                <a:cubicBezTo>
                  <a:pt x="2238036" y="1705083"/>
                  <a:pt x="2246201" y="1688148"/>
                  <a:pt x="2253458" y="1677715"/>
                </a:cubicBezTo>
                <a:cubicBezTo>
                  <a:pt x="2272661" y="1650197"/>
                  <a:pt x="2269032" y="1646568"/>
                  <a:pt x="2274173" y="1642335"/>
                </a:cubicBezTo>
                <a:cubicBezTo>
                  <a:pt x="2280674" y="1636891"/>
                  <a:pt x="2299574" y="1678925"/>
                  <a:pt x="2297155" y="1705536"/>
                </a:cubicBezTo>
                <a:cubicBezTo>
                  <a:pt x="2296702" y="1709770"/>
                  <a:pt x="2296248" y="1713701"/>
                  <a:pt x="2295643" y="1717481"/>
                </a:cubicBezTo>
                <a:lnTo>
                  <a:pt x="2297609" y="1719446"/>
                </a:lnTo>
                <a:cubicBezTo>
                  <a:pt x="2408438" y="1599999"/>
                  <a:pt x="2478293" y="1442146"/>
                  <a:pt x="2484795" y="1268417"/>
                </a:cubicBezTo>
                <a:lnTo>
                  <a:pt x="2340247" y="1268417"/>
                </a:lnTo>
                <a:cubicBezTo>
                  <a:pt x="2345237" y="1276582"/>
                  <a:pt x="2353855" y="1287317"/>
                  <a:pt x="2362927" y="1306066"/>
                </a:cubicBezTo>
                <a:cubicBezTo>
                  <a:pt x="2370185" y="1321035"/>
                  <a:pt x="2374570" y="1344924"/>
                  <a:pt x="2386817" y="1346134"/>
                </a:cubicBezTo>
                <a:cubicBezTo>
                  <a:pt x="2406624" y="1347948"/>
                  <a:pt x="2427036" y="1364429"/>
                  <a:pt x="2427490" y="1378188"/>
                </a:cubicBezTo>
                <a:cubicBezTo>
                  <a:pt x="2428699" y="1406916"/>
                  <a:pt x="2339340" y="1414023"/>
                  <a:pt x="2327547" y="1410243"/>
                </a:cubicBezTo>
                <a:cubicBezTo>
                  <a:pt x="2317718" y="1407067"/>
                  <a:pt x="2311066" y="1406463"/>
                  <a:pt x="2310461" y="1421885"/>
                </a:cubicBezTo>
                <a:cubicBezTo>
                  <a:pt x="2309705" y="1439424"/>
                  <a:pt x="2278255" y="1439575"/>
                  <a:pt x="2265706" y="1450008"/>
                </a:cubicBezTo>
                <a:cubicBezTo>
                  <a:pt x="2251795" y="1461802"/>
                  <a:pt x="2250283" y="1483272"/>
                  <a:pt x="2240909" y="1498392"/>
                </a:cubicBezTo>
                <a:cubicBezTo>
                  <a:pt x="2235314" y="1507464"/>
                  <a:pt x="2202353" y="1538611"/>
                  <a:pt x="2193281" y="1544810"/>
                </a:cubicBezTo>
                <a:cubicBezTo>
                  <a:pt x="2171810" y="1559779"/>
                  <a:pt x="2131289" y="1560535"/>
                  <a:pt x="2149887" y="1570515"/>
                </a:cubicBezTo>
                <a:cubicBezTo>
                  <a:pt x="2163041" y="1577621"/>
                  <a:pt x="2192978" y="1580040"/>
                  <a:pt x="2189198" y="1573085"/>
                </a:cubicBezTo>
                <a:cubicBezTo>
                  <a:pt x="2184814" y="1565071"/>
                  <a:pt x="2191467" y="1564315"/>
                  <a:pt x="2196607" y="1570817"/>
                </a:cubicBezTo>
                <a:cubicBezTo>
                  <a:pt x="2200538" y="1575806"/>
                  <a:pt x="2214600" y="1565979"/>
                  <a:pt x="2214298" y="1557058"/>
                </a:cubicBezTo>
                <a:cubicBezTo>
                  <a:pt x="2213995" y="1548439"/>
                  <a:pt x="2212181" y="1534529"/>
                  <a:pt x="2220043" y="1534075"/>
                </a:cubicBezTo>
                <a:cubicBezTo>
                  <a:pt x="2232895" y="1533319"/>
                  <a:pt x="2246352" y="1518955"/>
                  <a:pt x="2252854" y="1520316"/>
                </a:cubicBezTo>
                <a:cubicBezTo>
                  <a:pt x="2260111" y="1521828"/>
                  <a:pt x="2269939" y="1538006"/>
                  <a:pt x="2262530" y="1587146"/>
                </a:cubicBezTo>
                <a:cubicBezTo>
                  <a:pt x="2255273" y="1636286"/>
                  <a:pt x="2231686" y="1670609"/>
                  <a:pt x="2222311" y="1686031"/>
                </a:cubicBezTo>
                <a:cubicBezTo>
                  <a:pt x="2212181" y="1702512"/>
                  <a:pt x="2202050" y="1689963"/>
                  <a:pt x="2188443" y="1683007"/>
                </a:cubicBezTo>
                <a:cubicBezTo>
                  <a:pt x="2171206" y="1674086"/>
                  <a:pt x="2145199" y="1674540"/>
                  <a:pt x="2127055" y="1668643"/>
                </a:cubicBezTo>
                <a:cubicBezTo>
                  <a:pt x="2117378" y="1665468"/>
                  <a:pt x="2064761" y="1645510"/>
                  <a:pt x="2065063" y="1652767"/>
                </a:cubicBezTo>
                <a:close/>
                <a:moveTo>
                  <a:pt x="2971356" y="1268417"/>
                </a:moveTo>
                <a:lnTo>
                  <a:pt x="2781298" y="1268417"/>
                </a:lnTo>
                <a:cubicBezTo>
                  <a:pt x="2774645" y="1523794"/>
                  <a:pt x="2671527" y="1755735"/>
                  <a:pt x="2507172" y="1928859"/>
                </a:cubicBezTo>
                <a:lnTo>
                  <a:pt x="2642194" y="2063880"/>
                </a:lnTo>
                <a:cubicBezTo>
                  <a:pt x="2848733" y="1848118"/>
                  <a:pt x="2964855" y="1567490"/>
                  <a:pt x="2971356" y="1268417"/>
                </a:cubicBezTo>
                <a:close/>
                <a:moveTo>
                  <a:pt x="2642194" y="419882"/>
                </a:moveTo>
                <a:lnTo>
                  <a:pt x="2501427" y="560650"/>
                </a:lnTo>
                <a:cubicBezTo>
                  <a:pt x="2514278" y="583179"/>
                  <a:pt x="2538622" y="611453"/>
                  <a:pt x="2572793" y="646229"/>
                </a:cubicBezTo>
                <a:cubicBezTo>
                  <a:pt x="2586855" y="660593"/>
                  <a:pt x="2601672" y="674503"/>
                  <a:pt x="2614222" y="687204"/>
                </a:cubicBezTo>
                <a:cubicBezTo>
                  <a:pt x="2626167" y="699300"/>
                  <a:pt x="2702976" y="794859"/>
                  <a:pt x="2688159" y="808618"/>
                </a:cubicBezTo>
                <a:cubicBezTo>
                  <a:pt x="2687100" y="809676"/>
                  <a:pt x="2685891" y="810583"/>
                  <a:pt x="2684832" y="811490"/>
                </a:cubicBezTo>
                <a:cubicBezTo>
                  <a:pt x="2744556" y="936986"/>
                  <a:pt x="2777820" y="1075183"/>
                  <a:pt x="2781449" y="1215043"/>
                </a:cubicBezTo>
                <a:lnTo>
                  <a:pt x="2971508" y="1215043"/>
                </a:lnTo>
                <a:cubicBezTo>
                  <a:pt x="2965006" y="915970"/>
                  <a:pt x="2848884" y="635494"/>
                  <a:pt x="2642345" y="419731"/>
                </a:cubicBezTo>
                <a:close/>
                <a:moveTo>
                  <a:pt x="1809233" y="243130"/>
                </a:moveTo>
                <a:cubicBezTo>
                  <a:pt x="1968144" y="247212"/>
                  <a:pt x="2120554" y="288187"/>
                  <a:pt x="2256936" y="361973"/>
                </a:cubicBezTo>
                <a:cubicBezTo>
                  <a:pt x="2269637" y="360007"/>
                  <a:pt x="2282187" y="358344"/>
                  <a:pt x="2290654" y="354413"/>
                </a:cubicBezTo>
                <a:cubicBezTo>
                  <a:pt x="2307588" y="346551"/>
                  <a:pt x="2340852" y="364392"/>
                  <a:pt x="2356879" y="373766"/>
                </a:cubicBezTo>
                <a:cubicBezTo>
                  <a:pt x="2371546" y="382234"/>
                  <a:pt x="2382886" y="394783"/>
                  <a:pt x="2398913" y="403855"/>
                </a:cubicBezTo>
                <a:cubicBezTo>
                  <a:pt x="2415394" y="413079"/>
                  <a:pt x="2441854" y="439690"/>
                  <a:pt x="2447599" y="466452"/>
                </a:cubicBezTo>
                <a:cubicBezTo>
                  <a:pt x="2453496" y="493214"/>
                  <a:pt x="2470431" y="491400"/>
                  <a:pt x="2461963" y="502286"/>
                </a:cubicBezTo>
                <a:cubicBezTo>
                  <a:pt x="2457730" y="507730"/>
                  <a:pt x="2464231" y="509695"/>
                  <a:pt x="2472245" y="514534"/>
                </a:cubicBezTo>
                <a:lnTo>
                  <a:pt x="2604394" y="382385"/>
                </a:lnTo>
                <a:cubicBezTo>
                  <a:pt x="2388631" y="175846"/>
                  <a:pt x="2108004" y="59724"/>
                  <a:pt x="1808930" y="53222"/>
                </a:cubicBezTo>
                <a:lnTo>
                  <a:pt x="1808930" y="243281"/>
                </a:lnTo>
                <a:close/>
                <a:moveTo>
                  <a:pt x="1809233" y="486411"/>
                </a:moveTo>
                <a:cubicBezTo>
                  <a:pt x="1970563" y="492005"/>
                  <a:pt x="2119042" y="548554"/>
                  <a:pt x="2239548" y="640181"/>
                </a:cubicBezTo>
                <a:cubicBezTo>
                  <a:pt x="2225940" y="622188"/>
                  <a:pt x="2212181" y="603591"/>
                  <a:pt x="2205830" y="596635"/>
                </a:cubicBezTo>
                <a:cubicBezTo>
                  <a:pt x="2194188" y="584237"/>
                  <a:pt x="2150491" y="568966"/>
                  <a:pt x="2154876" y="561859"/>
                </a:cubicBezTo>
                <a:cubicBezTo>
                  <a:pt x="2159261" y="554753"/>
                  <a:pt x="2198119" y="585749"/>
                  <a:pt x="2204923" y="580306"/>
                </a:cubicBezTo>
                <a:cubicBezTo>
                  <a:pt x="2213088" y="573804"/>
                  <a:pt x="2185418" y="538121"/>
                  <a:pt x="2187535" y="536760"/>
                </a:cubicBezTo>
                <a:cubicBezTo>
                  <a:pt x="2190408" y="534946"/>
                  <a:pt x="2223218" y="566546"/>
                  <a:pt x="2239246" y="594972"/>
                </a:cubicBezTo>
                <a:cubicBezTo>
                  <a:pt x="2245898" y="604951"/>
                  <a:pt x="2263740" y="599962"/>
                  <a:pt x="2277651" y="609639"/>
                </a:cubicBezTo>
                <a:cubicBezTo>
                  <a:pt x="2289898" y="618257"/>
                  <a:pt x="2290654" y="632016"/>
                  <a:pt x="2300935" y="640786"/>
                </a:cubicBezTo>
                <a:cubicBezTo>
                  <a:pt x="2302598" y="642298"/>
                  <a:pt x="2324371" y="654847"/>
                  <a:pt x="2311671" y="653335"/>
                </a:cubicBezTo>
                <a:cubicBezTo>
                  <a:pt x="2308042" y="652882"/>
                  <a:pt x="2302447" y="645171"/>
                  <a:pt x="2298214" y="649102"/>
                </a:cubicBezTo>
                <a:cubicBezTo>
                  <a:pt x="2295643" y="651521"/>
                  <a:pt x="2299726" y="664978"/>
                  <a:pt x="2307286" y="679493"/>
                </a:cubicBezTo>
                <a:lnTo>
                  <a:pt x="2370487" y="616291"/>
                </a:lnTo>
                <a:cubicBezTo>
                  <a:pt x="2361264" y="597694"/>
                  <a:pt x="2343271" y="573199"/>
                  <a:pt x="2330571" y="570024"/>
                </a:cubicBezTo>
                <a:cubicBezTo>
                  <a:pt x="2317567" y="566849"/>
                  <a:pt x="2309554" y="577735"/>
                  <a:pt x="2300633" y="585144"/>
                </a:cubicBezTo>
                <a:cubicBezTo>
                  <a:pt x="2291712" y="592553"/>
                  <a:pt x="2280523" y="595123"/>
                  <a:pt x="2279011" y="590134"/>
                </a:cubicBezTo>
                <a:cubicBezTo>
                  <a:pt x="2277499" y="584539"/>
                  <a:pt x="2280826" y="570629"/>
                  <a:pt x="2280221" y="564883"/>
                </a:cubicBezTo>
                <a:cubicBezTo>
                  <a:pt x="2279314" y="557626"/>
                  <a:pt x="2273568" y="551880"/>
                  <a:pt x="2271754" y="544925"/>
                </a:cubicBezTo>
                <a:cubicBezTo>
                  <a:pt x="2267218" y="528444"/>
                  <a:pt x="2274022" y="509998"/>
                  <a:pt x="2263891" y="499111"/>
                </a:cubicBezTo>
                <a:cubicBezTo>
                  <a:pt x="2252854" y="487015"/>
                  <a:pt x="2245445" y="468871"/>
                  <a:pt x="2236827" y="455112"/>
                </a:cubicBezTo>
                <a:cubicBezTo>
                  <a:pt x="2227452" y="439992"/>
                  <a:pt x="2210518" y="416707"/>
                  <a:pt x="2209459" y="397051"/>
                </a:cubicBezTo>
                <a:cubicBezTo>
                  <a:pt x="2086534" y="334908"/>
                  <a:pt x="1950454" y="300132"/>
                  <a:pt x="1809233" y="296352"/>
                </a:cubicBezTo>
                <a:lnTo>
                  <a:pt x="1809233" y="486562"/>
                </a:lnTo>
                <a:close/>
                <a:moveTo>
                  <a:pt x="1809233" y="729691"/>
                </a:moveTo>
                <a:cubicBezTo>
                  <a:pt x="1930646" y="735890"/>
                  <a:pt x="2041022" y="784577"/>
                  <a:pt x="2125846" y="861084"/>
                </a:cubicBezTo>
                <a:lnTo>
                  <a:pt x="2260263" y="726667"/>
                </a:lnTo>
                <a:cubicBezTo>
                  <a:pt x="2140814" y="615838"/>
                  <a:pt x="1982961" y="545983"/>
                  <a:pt x="1809233" y="539482"/>
                </a:cubicBezTo>
                <a:lnTo>
                  <a:pt x="1809233" y="729691"/>
                </a:lnTo>
                <a:close/>
                <a:moveTo>
                  <a:pt x="1809233" y="973426"/>
                </a:moveTo>
                <a:cubicBezTo>
                  <a:pt x="1827377" y="975240"/>
                  <a:pt x="1845067" y="978869"/>
                  <a:pt x="1862455" y="984161"/>
                </a:cubicBezTo>
                <a:cubicBezTo>
                  <a:pt x="1866991" y="973123"/>
                  <a:pt x="1878331" y="967529"/>
                  <a:pt x="1887554" y="961330"/>
                </a:cubicBezTo>
                <a:cubicBezTo>
                  <a:pt x="1898592" y="953921"/>
                  <a:pt x="1906454" y="945454"/>
                  <a:pt x="1904942" y="965715"/>
                </a:cubicBezTo>
                <a:cubicBezTo>
                  <a:pt x="1903430" y="979927"/>
                  <a:pt x="1897534" y="988546"/>
                  <a:pt x="1890125" y="994442"/>
                </a:cubicBezTo>
                <a:cubicBezTo>
                  <a:pt x="1908722" y="1002607"/>
                  <a:pt x="1926413" y="1012738"/>
                  <a:pt x="1942894" y="1024834"/>
                </a:cubicBezTo>
                <a:cubicBezTo>
                  <a:pt x="1946522" y="1027555"/>
                  <a:pt x="1950000" y="1030277"/>
                  <a:pt x="1953477" y="1033150"/>
                </a:cubicBezTo>
                <a:lnTo>
                  <a:pt x="1971773" y="1014855"/>
                </a:lnTo>
                <a:cubicBezTo>
                  <a:pt x="1971773" y="1014855"/>
                  <a:pt x="1971470" y="1013645"/>
                  <a:pt x="1971470" y="1012889"/>
                </a:cubicBezTo>
                <a:cubicBezTo>
                  <a:pt x="1971773" y="1002456"/>
                  <a:pt x="1986893" y="990209"/>
                  <a:pt x="2004130" y="982498"/>
                </a:cubicBezTo>
                <a:lnTo>
                  <a:pt x="2063400" y="923227"/>
                </a:lnTo>
                <a:cubicBezTo>
                  <a:pt x="2062039" y="922925"/>
                  <a:pt x="2060678" y="922622"/>
                  <a:pt x="2058864" y="922471"/>
                </a:cubicBezTo>
                <a:cubicBezTo>
                  <a:pt x="2050850" y="921413"/>
                  <a:pt x="2039510" y="938045"/>
                  <a:pt x="2031799" y="933358"/>
                </a:cubicBezTo>
                <a:cubicBezTo>
                  <a:pt x="2023030" y="928217"/>
                  <a:pt x="2057957" y="897523"/>
                  <a:pt x="2073530" y="903420"/>
                </a:cubicBezTo>
                <a:cubicBezTo>
                  <a:pt x="2075647" y="904176"/>
                  <a:pt x="2077915" y="905083"/>
                  <a:pt x="2080334" y="906142"/>
                </a:cubicBezTo>
                <a:lnTo>
                  <a:pt x="2087894" y="898582"/>
                </a:lnTo>
                <a:cubicBezTo>
                  <a:pt x="2012748" y="831600"/>
                  <a:pt x="1915677" y="788962"/>
                  <a:pt x="1808930" y="782762"/>
                </a:cubicBezTo>
                <a:lnTo>
                  <a:pt x="1808930" y="973275"/>
                </a:lnTo>
                <a:close/>
                <a:moveTo>
                  <a:pt x="1782621" y="1025136"/>
                </a:moveTo>
                <a:cubicBezTo>
                  <a:pt x="1760395" y="1025136"/>
                  <a:pt x="1738773" y="1028462"/>
                  <a:pt x="1718059" y="1034964"/>
                </a:cubicBezTo>
                <a:cubicBezTo>
                  <a:pt x="1715337" y="1037988"/>
                  <a:pt x="1713221" y="1040407"/>
                  <a:pt x="1714884" y="1042675"/>
                </a:cubicBezTo>
                <a:cubicBezTo>
                  <a:pt x="1720176" y="1050235"/>
                  <a:pt x="1736052" y="1034359"/>
                  <a:pt x="1738169" y="1049026"/>
                </a:cubicBezTo>
                <a:cubicBezTo>
                  <a:pt x="1739681" y="1059761"/>
                  <a:pt x="1720478" y="1051899"/>
                  <a:pt x="1722293" y="1059761"/>
                </a:cubicBezTo>
                <a:cubicBezTo>
                  <a:pt x="1723653" y="1066111"/>
                  <a:pt x="1736959" y="1063390"/>
                  <a:pt x="1737413" y="1072159"/>
                </a:cubicBezTo>
                <a:cubicBezTo>
                  <a:pt x="1737715" y="1080173"/>
                  <a:pt x="1729399" y="1095746"/>
                  <a:pt x="1722897" y="1099829"/>
                </a:cubicBezTo>
                <a:cubicBezTo>
                  <a:pt x="1714279" y="1105272"/>
                  <a:pt x="1668768" y="1111320"/>
                  <a:pt x="1664383" y="1121904"/>
                </a:cubicBezTo>
                <a:cubicBezTo>
                  <a:pt x="1660603" y="1131127"/>
                  <a:pt x="1656521" y="1139443"/>
                  <a:pt x="1649414" y="1147155"/>
                </a:cubicBezTo>
                <a:cubicBezTo>
                  <a:pt x="1641703" y="1155319"/>
                  <a:pt x="1605113" y="1177092"/>
                  <a:pt x="1604961" y="1182686"/>
                </a:cubicBezTo>
                <a:cubicBezTo>
                  <a:pt x="1604810" y="1195992"/>
                  <a:pt x="1622501" y="1179058"/>
                  <a:pt x="1627490" y="1173766"/>
                </a:cubicBezTo>
                <a:cubicBezTo>
                  <a:pt x="1635353" y="1165450"/>
                  <a:pt x="1646088" y="1165450"/>
                  <a:pt x="1657881" y="1158797"/>
                </a:cubicBezTo>
                <a:cubicBezTo>
                  <a:pt x="1674060" y="1149574"/>
                  <a:pt x="1680259" y="1181779"/>
                  <a:pt x="1662871" y="1182989"/>
                </a:cubicBezTo>
                <a:cubicBezTo>
                  <a:pt x="1651985" y="1183745"/>
                  <a:pt x="1642913" y="1214136"/>
                  <a:pt x="1625978" y="1208239"/>
                </a:cubicBezTo>
                <a:cubicBezTo>
                  <a:pt x="1621745" y="1206727"/>
                  <a:pt x="1609649" y="1199319"/>
                  <a:pt x="1607078" y="1207030"/>
                </a:cubicBezTo>
                <a:cubicBezTo>
                  <a:pt x="1604357" y="1215195"/>
                  <a:pt x="1632329" y="1216555"/>
                  <a:pt x="1641098" y="1222301"/>
                </a:cubicBezTo>
                <a:cubicBezTo>
                  <a:pt x="1663476" y="1237119"/>
                  <a:pt x="1624164" y="1236060"/>
                  <a:pt x="1617813" y="1239991"/>
                </a:cubicBezTo>
                <a:cubicBezTo>
                  <a:pt x="1611614" y="1243923"/>
                  <a:pt x="1614638" y="1252541"/>
                  <a:pt x="1623106" y="1249063"/>
                </a:cubicBezTo>
                <a:cubicBezTo>
                  <a:pt x="1631270" y="1245586"/>
                  <a:pt x="1642459" y="1237119"/>
                  <a:pt x="1647600" y="1251029"/>
                </a:cubicBezTo>
                <a:cubicBezTo>
                  <a:pt x="1654555" y="1269929"/>
                  <a:pt x="1616604" y="1338725"/>
                  <a:pt x="1605566" y="1331467"/>
                </a:cubicBezTo>
                <a:cubicBezTo>
                  <a:pt x="1599518" y="1327536"/>
                  <a:pt x="1593319" y="1333130"/>
                  <a:pt x="1587725" y="1335550"/>
                </a:cubicBezTo>
                <a:cubicBezTo>
                  <a:pt x="1595285" y="1351123"/>
                  <a:pt x="1604810" y="1365639"/>
                  <a:pt x="1615697" y="1379095"/>
                </a:cubicBezTo>
                <a:cubicBezTo>
                  <a:pt x="1623106" y="1366848"/>
                  <a:pt x="1634899" y="1349309"/>
                  <a:pt x="1639889" y="1349158"/>
                </a:cubicBezTo>
                <a:cubicBezTo>
                  <a:pt x="1646995" y="1349006"/>
                  <a:pt x="1644576" y="1343412"/>
                  <a:pt x="1647297" y="1338423"/>
                </a:cubicBezTo>
                <a:cubicBezTo>
                  <a:pt x="1650624" y="1332375"/>
                  <a:pt x="1658940" y="1338725"/>
                  <a:pt x="1659545" y="1330560"/>
                </a:cubicBezTo>
                <a:cubicBezTo>
                  <a:pt x="1660149" y="1322395"/>
                  <a:pt x="1681015" y="1310602"/>
                  <a:pt x="1683434" y="1298657"/>
                </a:cubicBezTo>
                <a:cubicBezTo>
                  <a:pt x="1684644" y="1292155"/>
                  <a:pt x="1676933" y="1285805"/>
                  <a:pt x="1680108" y="1280362"/>
                </a:cubicBezTo>
                <a:cubicBezTo>
                  <a:pt x="1684039" y="1273860"/>
                  <a:pt x="1686761" y="1272802"/>
                  <a:pt x="1690994" y="1271441"/>
                </a:cubicBezTo>
                <a:cubicBezTo>
                  <a:pt x="1695228" y="1269929"/>
                  <a:pt x="1705056" y="1279908"/>
                  <a:pt x="1708080" y="1275523"/>
                </a:cubicBezTo>
                <a:cubicBezTo>
                  <a:pt x="1711104" y="1271290"/>
                  <a:pt x="1725921" y="1274465"/>
                  <a:pt x="1737110" y="1281723"/>
                </a:cubicBezTo>
                <a:cubicBezTo>
                  <a:pt x="1742251" y="1285049"/>
                  <a:pt x="1752230" y="1281269"/>
                  <a:pt x="1758430" y="1289887"/>
                </a:cubicBezTo>
                <a:cubicBezTo>
                  <a:pt x="1766897" y="1301832"/>
                  <a:pt x="1757976" y="1302890"/>
                  <a:pt x="1759488" y="1305612"/>
                </a:cubicBezTo>
                <a:cubicBezTo>
                  <a:pt x="1761000" y="1308334"/>
                  <a:pt x="1764629" y="1304100"/>
                  <a:pt x="1766897" y="1306368"/>
                </a:cubicBezTo>
                <a:cubicBezTo>
                  <a:pt x="1771735" y="1311055"/>
                  <a:pt x="1744670" y="1326780"/>
                  <a:pt x="1747846" y="1335399"/>
                </a:cubicBezTo>
                <a:cubicBezTo>
                  <a:pt x="1750870" y="1344017"/>
                  <a:pt x="1725014" y="1386202"/>
                  <a:pt x="1717908" y="1393006"/>
                </a:cubicBezTo>
                <a:cubicBezTo>
                  <a:pt x="1708231" y="1401926"/>
                  <a:pt x="1692053" y="1391947"/>
                  <a:pt x="1685702" y="1393762"/>
                </a:cubicBezTo>
                <a:cubicBezTo>
                  <a:pt x="1678898" y="1395727"/>
                  <a:pt x="1677537" y="1401624"/>
                  <a:pt x="1666953" y="1399054"/>
                </a:cubicBezTo>
                <a:cubicBezTo>
                  <a:pt x="1658789" y="1397088"/>
                  <a:pt x="1649112" y="1400415"/>
                  <a:pt x="1640040" y="1404648"/>
                </a:cubicBezTo>
                <a:cubicBezTo>
                  <a:pt x="1678142" y="1438063"/>
                  <a:pt x="1728038" y="1458475"/>
                  <a:pt x="1782470" y="1458475"/>
                </a:cubicBezTo>
                <a:cubicBezTo>
                  <a:pt x="1794264" y="1458475"/>
                  <a:pt x="1805755" y="1457417"/>
                  <a:pt x="1816944" y="1455603"/>
                </a:cubicBezTo>
                <a:cubicBezTo>
                  <a:pt x="1823899" y="1446530"/>
                  <a:pt x="1826923" y="1435493"/>
                  <a:pt x="1828284" y="1424153"/>
                </a:cubicBezTo>
                <a:cubicBezTo>
                  <a:pt x="1829191" y="1417954"/>
                  <a:pt x="1828133" y="1410091"/>
                  <a:pt x="1831308" y="1404648"/>
                </a:cubicBezTo>
                <a:cubicBezTo>
                  <a:pt x="1834030" y="1399961"/>
                  <a:pt x="1851720" y="1378339"/>
                  <a:pt x="1858826" y="1378490"/>
                </a:cubicBezTo>
                <a:cubicBezTo>
                  <a:pt x="1865026" y="1378793"/>
                  <a:pt x="1869259" y="1384236"/>
                  <a:pt x="1878180" y="1381363"/>
                </a:cubicBezTo>
                <a:cubicBezTo>
                  <a:pt x="1895417" y="1375920"/>
                  <a:pt x="1906152" y="1380607"/>
                  <a:pt x="1906303" y="1388016"/>
                </a:cubicBezTo>
                <a:cubicBezTo>
                  <a:pt x="1906606" y="1398449"/>
                  <a:pt x="1884530" y="1395425"/>
                  <a:pt x="1885437" y="1401322"/>
                </a:cubicBezTo>
                <a:cubicBezTo>
                  <a:pt x="1886042" y="1405404"/>
                  <a:pt x="1901918" y="1411603"/>
                  <a:pt x="1907210" y="1405706"/>
                </a:cubicBezTo>
                <a:cubicBezTo>
                  <a:pt x="1917038" y="1394669"/>
                  <a:pt x="1915526" y="1380154"/>
                  <a:pt x="1912956" y="1376979"/>
                </a:cubicBezTo>
                <a:cubicBezTo>
                  <a:pt x="1906001" y="1368209"/>
                  <a:pt x="1906454" y="1364580"/>
                  <a:pt x="1916434" y="1368058"/>
                </a:cubicBezTo>
                <a:cubicBezTo>
                  <a:pt x="1922633" y="1370175"/>
                  <a:pt x="1922481" y="1345983"/>
                  <a:pt x="1928378" y="1336608"/>
                </a:cubicBezTo>
                <a:cubicBezTo>
                  <a:pt x="1936392" y="1324059"/>
                  <a:pt x="1913712" y="1332828"/>
                  <a:pt x="1904186" y="1334189"/>
                </a:cubicBezTo>
                <a:cubicBezTo>
                  <a:pt x="1895266" y="1335399"/>
                  <a:pt x="1887857" y="1316347"/>
                  <a:pt x="1887706" y="1309695"/>
                </a:cubicBezTo>
                <a:cubicBezTo>
                  <a:pt x="1887554" y="1304856"/>
                  <a:pt x="1904640" y="1326629"/>
                  <a:pt x="1913258" y="1327083"/>
                </a:cubicBezTo>
                <a:cubicBezTo>
                  <a:pt x="1922935" y="1327536"/>
                  <a:pt x="1934577" y="1316196"/>
                  <a:pt x="1934729" y="1308031"/>
                </a:cubicBezTo>
                <a:cubicBezTo>
                  <a:pt x="1934880" y="1299715"/>
                  <a:pt x="1916131" y="1298657"/>
                  <a:pt x="1913258" y="1288526"/>
                </a:cubicBezTo>
                <a:cubicBezTo>
                  <a:pt x="1911746" y="1283083"/>
                  <a:pt x="1928530" y="1288526"/>
                  <a:pt x="1927169" y="1283083"/>
                </a:cubicBezTo>
                <a:cubicBezTo>
                  <a:pt x="1926110" y="1278245"/>
                  <a:pt x="1928832" y="1266754"/>
                  <a:pt x="1918248" y="1262218"/>
                </a:cubicBezTo>
                <a:cubicBezTo>
                  <a:pt x="1907664" y="1257682"/>
                  <a:pt x="1897987" y="1223813"/>
                  <a:pt x="1889520" y="1221545"/>
                </a:cubicBezTo>
                <a:cubicBezTo>
                  <a:pt x="1881960" y="1219579"/>
                  <a:pt x="1875761" y="1229710"/>
                  <a:pt x="1871074" y="1233339"/>
                </a:cubicBezTo>
                <a:cubicBezTo>
                  <a:pt x="1866537" y="1236967"/>
                  <a:pt x="1859280" y="1230617"/>
                  <a:pt x="1863060" y="1227139"/>
                </a:cubicBezTo>
                <a:cubicBezTo>
                  <a:pt x="1868503" y="1222150"/>
                  <a:pt x="1881053" y="1211263"/>
                  <a:pt x="1883774" y="1202645"/>
                </a:cubicBezTo>
                <a:cubicBezTo>
                  <a:pt x="1888159" y="1188281"/>
                  <a:pt x="1906606" y="1203401"/>
                  <a:pt x="1903279" y="1183291"/>
                </a:cubicBezTo>
                <a:cubicBezTo>
                  <a:pt x="1899801" y="1161519"/>
                  <a:pt x="1881204" y="1165752"/>
                  <a:pt x="1889822" y="1155319"/>
                </a:cubicBezTo>
                <a:cubicBezTo>
                  <a:pt x="1898592" y="1144735"/>
                  <a:pt x="1892090" y="1127347"/>
                  <a:pt x="1874249" y="1130825"/>
                </a:cubicBezTo>
                <a:cubicBezTo>
                  <a:pt x="1865933" y="1132337"/>
                  <a:pt x="1857314" y="1119031"/>
                  <a:pt x="1856407" y="1107389"/>
                </a:cubicBezTo>
                <a:cubicBezTo>
                  <a:pt x="1855802" y="1101039"/>
                  <a:pt x="1837507" y="1101946"/>
                  <a:pt x="1838263" y="1095293"/>
                </a:cubicBezTo>
                <a:cubicBezTo>
                  <a:pt x="1839775" y="1081534"/>
                  <a:pt x="1819061" y="1080022"/>
                  <a:pt x="1806360" y="1080929"/>
                </a:cubicBezTo>
                <a:cubicBezTo>
                  <a:pt x="1793659" y="1081836"/>
                  <a:pt x="1769165" y="1062331"/>
                  <a:pt x="1766443" y="1057644"/>
                </a:cubicBezTo>
                <a:cubicBezTo>
                  <a:pt x="1763721" y="1052806"/>
                  <a:pt x="1746182" y="1061878"/>
                  <a:pt x="1751928" y="1043280"/>
                </a:cubicBezTo>
                <a:cubicBezTo>
                  <a:pt x="1757673" y="1024985"/>
                  <a:pt x="1775061" y="1046606"/>
                  <a:pt x="1782319" y="1041315"/>
                </a:cubicBezTo>
                <a:cubicBezTo>
                  <a:pt x="1790181" y="1035720"/>
                  <a:pt x="1787762" y="1029975"/>
                  <a:pt x="1786401" y="1025439"/>
                </a:cubicBezTo>
                <a:cubicBezTo>
                  <a:pt x="1785041" y="1025439"/>
                  <a:pt x="1783680" y="1025287"/>
                  <a:pt x="1782319" y="1025287"/>
                </a:cubicBezTo>
                <a:close/>
                <a:moveTo>
                  <a:pt x="960698" y="382234"/>
                </a:moveTo>
                <a:lnTo>
                  <a:pt x="1095720" y="517255"/>
                </a:lnTo>
                <a:cubicBezTo>
                  <a:pt x="1268844" y="352901"/>
                  <a:pt x="1500785" y="249782"/>
                  <a:pt x="1756161" y="243130"/>
                </a:cubicBezTo>
                <a:lnTo>
                  <a:pt x="1756161" y="53071"/>
                </a:lnTo>
                <a:cubicBezTo>
                  <a:pt x="1457088" y="59573"/>
                  <a:pt x="1176612" y="175694"/>
                  <a:pt x="960698" y="382234"/>
                </a:cubicBezTo>
                <a:close/>
                <a:moveTo>
                  <a:pt x="594038" y="1215195"/>
                </a:moveTo>
                <a:lnTo>
                  <a:pt x="784096" y="1215195"/>
                </a:lnTo>
                <a:cubicBezTo>
                  <a:pt x="790749" y="959818"/>
                  <a:pt x="893868" y="727877"/>
                  <a:pt x="1058071" y="554753"/>
                </a:cubicBezTo>
                <a:lnTo>
                  <a:pt x="923049" y="419731"/>
                </a:lnTo>
                <a:cubicBezTo>
                  <a:pt x="716510" y="635494"/>
                  <a:pt x="600388" y="915970"/>
                  <a:pt x="593887" y="1215043"/>
                </a:cubicBezTo>
                <a:close/>
              </a:path>
            </a:pathLst>
          </a:custGeom>
          <a:solidFill>
            <a:srgbClr val="009EDB"/>
          </a:solidFill>
          <a:ln w="15111" cap="flat">
            <a:noFill/>
            <a:prstDash val="solid"/>
            <a:miter/>
          </a:ln>
        </p:spPr>
        <p:txBody>
          <a:bodyPr rtlCol="0" anchor="ctr"/>
          <a:lstStyle/>
          <a:p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14258447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D5FED388-43A9-EFD8-0BB7-099DF2B471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9299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73" imgH="574" progId="TCLayout.ActiveDocument.1">
                  <p:embed/>
                </p:oleObj>
              </mc:Choice>
              <mc:Fallback>
                <p:oleObj name="think-cell Slide" r:id="rId3" imgW="573" imgH="574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FED388-43A9-EFD8-0BB7-099DF2B471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B26A88D-62BD-24E7-95E3-689D762055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DAB64A9-BF0E-6EAD-F294-21AFA80D210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07989" y="1611312"/>
            <a:ext cx="11376024" cy="4816475"/>
          </a:xfrm>
        </p:spPr>
        <p:txBody>
          <a:bodyPr/>
          <a:lstStyle>
            <a:lvl3pPr marL="163711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9FCB9ADB-7966-28C2-7873-52D80F5F93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4012" y="6551712"/>
            <a:ext cx="540000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>
              <a:defRPr lang="en-US" sz="1000" b="1" smtClean="0">
                <a:solidFill>
                  <a:schemeClr val="tx2">
                    <a:lumMod val="50000"/>
                  </a:schemeClr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885871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A5573A7-3BF3-63B0-1166-E846F63D9D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6192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5573A7-3BF3-63B0-1166-E846F63D9D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E8AA199-43CA-E7A1-6CA4-F593E84821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892" y="407418"/>
            <a:ext cx="8775771" cy="1325563"/>
          </a:xfrm>
        </p:spPr>
        <p:txBody>
          <a:bodyPr vert="horz"/>
          <a:lstStyle>
            <a:lvl1pPr>
              <a:defRPr sz="3200"/>
            </a:lvl1pPr>
          </a:lstStyle>
          <a:p>
            <a:r>
              <a:rPr lang="en-US"/>
              <a:t>One/Two columns layout: click to edit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9CC9540-4936-A722-D4D8-6F2DD1E375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1943100"/>
            <a:ext cx="5410200" cy="3771900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79DCC21B-4B9B-5B32-FFB5-6D422F68883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19265" y="1943100"/>
            <a:ext cx="5410200" cy="3771900"/>
          </a:xfrm>
        </p:spPr>
        <p:txBody>
          <a:bodyPr/>
          <a:lstStyle/>
          <a:p>
            <a:pPr lvl="0"/>
            <a:r>
              <a:rPr lang="en-US"/>
              <a:t>Click to edit text. Delete this text box for a single column layou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CD436A9-C91A-C3AF-929E-6AAD9788D1AA}"/>
              </a:ext>
            </a:extLst>
          </p:cNvPr>
          <p:cNvSpPr/>
          <p:nvPr userDrawn="1"/>
        </p:nvSpPr>
        <p:spPr>
          <a:xfrm>
            <a:off x="588892" y="0"/>
            <a:ext cx="11031608" cy="342900"/>
          </a:xfrm>
          <a:prstGeom prst="rect">
            <a:avLst/>
          </a:prstGeom>
          <a:gradFill flip="none" rotWithShape="1">
            <a:gsLst>
              <a:gs pos="0">
                <a:srgbClr val="0044C9"/>
              </a:gs>
              <a:gs pos="100000">
                <a:srgbClr val="009EDB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4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BCEB6DF-CEDC-3E40-CC4D-B903679E63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ffice for Digital and Emerging Technologi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B505D17-B74C-916B-E765-5957E0FBF2B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5EDD575-C673-CF4D-BF44-B5D5410D0CF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675260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Layout - No Bra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D5FED388-43A9-EFD8-0BB7-099DF2B471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9299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73" imgH="574" progId="TCLayout.ActiveDocument.1">
                  <p:embed/>
                </p:oleObj>
              </mc:Choice>
              <mc:Fallback>
                <p:oleObj name="think-cell Slide" r:id="rId3" imgW="573" imgH="574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FED388-43A9-EFD8-0BB7-099DF2B471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B26A88D-62BD-24E7-95E3-689D762055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DAB64A9-BF0E-6EAD-F294-21AFA80D210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07989" y="1611312"/>
            <a:ext cx="11376024" cy="4816475"/>
          </a:xfrm>
        </p:spPr>
        <p:txBody>
          <a:bodyPr/>
          <a:lstStyle>
            <a:lvl3pPr marL="163711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9FCB9ADB-7966-28C2-7873-52D80F5F93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4012" y="6551712"/>
            <a:ext cx="540000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>
              <a:defRPr lang="en-US" sz="1000" b="1" smtClean="0">
                <a:solidFill>
                  <a:schemeClr val="tx2">
                    <a:lumMod val="50000"/>
                  </a:schemeClr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2225496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399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4E9AA62-8AA8-2166-00B6-29A709EA6706}"/>
              </a:ext>
            </a:extLst>
          </p:cNvPr>
          <p:cNvSpPr txBox="1"/>
          <p:nvPr userDrawn="1"/>
        </p:nvSpPr>
        <p:spPr>
          <a:xfrm>
            <a:off x="11457330" y="6469587"/>
            <a:ext cx="58847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C1E3C350-1A93-4420-924D-EE66CC74E655}" type="slidenum">
              <a:rPr lang="en-CA" sz="1000" smtClean="0">
                <a:solidFill>
                  <a:schemeClr val="tx2">
                    <a:lumMod val="50000"/>
                  </a:schemeClr>
                </a:solidFill>
              </a:rPr>
              <a:pPr algn="r"/>
              <a:t>‹#›</a:t>
            </a:fld>
            <a:endParaRPr lang="en-CA" sz="100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6091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Slide Whit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AE5F38E-2AC8-4CDF-901A-1000B0F55A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6216743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AE5F38E-2AC8-4CDF-901A-1000B0F55A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0343023-64CF-45B5-BAA8-C8F6FAA4B84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5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6750" b="1" i="0" u="none" strike="noStrike" kern="1200" cap="none" spc="0" normalizeH="0" baseline="0" noProof="0">
              <a:ln>
                <a:noFill/>
              </a:ln>
              <a:solidFill>
                <a:srgbClr val="149ED9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+mn-cs"/>
              <a:sym typeface="Roboto" panose="020000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3940" y="4503109"/>
            <a:ext cx="11142633" cy="1154162"/>
          </a:xfrm>
          <a:prstGeom prst="rect">
            <a:avLst/>
          </a:prstGeom>
        </p:spPr>
        <p:txBody>
          <a:bodyPr vert="horz" wrap="square" tIns="0" bIns="0" anchor="b">
            <a:noAutofit/>
          </a:bodyPr>
          <a:lstStyle>
            <a:lvl1pPr algn="l">
              <a:defRPr sz="6750" b="1" cap="none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CA"/>
              <a:t>Click to edit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FB9616-F4AE-44AB-8C7C-82A947677EF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3939" y="5677600"/>
            <a:ext cx="5738200" cy="15803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1031" b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sym typeface="Roboto Black" panose="02000000000000000000" pitchFamily="2" charset="0"/>
              </a:defRPr>
            </a:lvl1pPr>
            <a:lvl2pPr marL="166688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2pPr>
            <a:lvl3pPr marL="333375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3pPr>
            <a:lvl4pPr marL="500063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4pPr>
            <a:lvl5pPr marL="678656" indent="0">
              <a:buNone/>
              <a:defRPr sz="1031" b="0">
                <a:solidFill>
                  <a:schemeClr val="bg1"/>
                </a:solidFill>
                <a:latin typeface="Arial Nova" panose="020B05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DB22D3-6B0F-4B54-A479-2938434664C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914514">
              <a:defRPr/>
            </a:pPr>
            <a:endParaRPr lang="en-CA">
              <a:solidFill>
                <a:srgbClr val="149ED9"/>
              </a:solidFill>
            </a:endParaRPr>
          </a:p>
        </p:txBody>
      </p:sp>
      <p:sp>
        <p:nvSpPr>
          <p:cNvPr id="24" name="Footer Placeholder 23">
            <a:extLst>
              <a:ext uri="{FF2B5EF4-FFF2-40B4-BE49-F238E27FC236}">
                <a16:creationId xmlns:a16="http://schemas.microsoft.com/office/drawing/2014/main" id="{3275653B-D25C-40FF-BE6C-498978EA41C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rgbClr val="A6A6A6"/>
                </a:solidFill>
              </a:defRPr>
            </a:lvl1pPr>
          </a:lstStyle>
          <a:p>
            <a:pPr defTabSz="914514">
              <a:defRPr/>
            </a:pPr>
            <a:r>
              <a:rPr lang="en-CA"/>
              <a:t>SCIENTIFIC ADVISORY BOARD</a:t>
            </a:r>
          </a:p>
        </p:txBody>
      </p:sp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id="{0FB59214-EFD3-4636-9918-09EAFF9B581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r">
              <a:defRPr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pPr defTabSz="914514">
              <a:defRPr/>
            </a:pPr>
            <a:fld id="{73A950B1-DE82-4A29-B648-3078557F46E8}" type="slidenum">
              <a:rPr lang="en-CA" smtClean="0">
                <a:solidFill>
                  <a:srgbClr val="7F7F7F">
                    <a:lumMod val="50000"/>
                  </a:srgbClr>
                </a:solidFill>
              </a:rPr>
              <a:pPr defTabSz="914514">
                <a:defRPr/>
              </a:pPr>
              <a:t>‹#›</a:t>
            </a:fld>
            <a:endParaRPr lang="en-CA">
              <a:solidFill>
                <a:srgbClr val="7F7F7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981831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s 50-50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FA3F1E-89F7-499F-8A00-0B051660F4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9351367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9" imgH="290" progId="TCLayout.ActiveDocument.1">
                  <p:embed/>
                </p:oleObj>
              </mc:Choice>
              <mc:Fallback>
                <p:oleObj name="think-cell Slide" r:id="rId4" imgW="289" imgH="29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EFA3F1E-89F7-499F-8A00-0B051660F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B2DD5D5-0398-4EC7-B95E-99A655944ED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1500" b="0" i="0" baseline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23939" y="561084"/>
            <a:ext cx="11138859" cy="23083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defRPr b="0" spc="19" baseline="0">
                <a:solidFill>
                  <a:schemeClr val="tx2">
                    <a:lumMod val="50000"/>
                  </a:schemeClr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17A3D5A-A986-4385-A51A-0BC03A8E33B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CA"/>
              <a:t>TOPIC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52FCCA7-9A34-4D0E-B91C-F68A8A8CFEE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26916" y="1232297"/>
            <a:ext cx="5398655" cy="87004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en-CA" sz="1031" dirty="0"/>
            </a:lvl1pPr>
            <a:lvl2pPr>
              <a:defRPr lang="en-CA" dirty="0"/>
            </a:lvl2pPr>
            <a:lvl3pPr>
              <a:defRPr lang="en-CA" dirty="0"/>
            </a:lvl3pPr>
            <a:lvl4pPr>
              <a:defRPr lang="en-CA" dirty="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7D6A9695-47B6-42F6-945F-22F5441AC0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66429" y="1232297"/>
            <a:ext cx="5396369" cy="87004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en-CA" sz="1031" dirty="0"/>
            </a:lvl1pPr>
            <a:lvl2pPr>
              <a:defRPr lang="en-CA" dirty="0"/>
            </a:lvl2pPr>
            <a:lvl3pPr>
              <a:defRPr lang="en-CA" dirty="0"/>
            </a:lvl3pPr>
            <a:lvl4pPr>
              <a:defRPr lang="en-CA" dirty="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735CB66-AC9B-4357-989E-5B09C60E4311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en-CA"/>
              <a:t>UNITED NATION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F1674D-D3A0-4800-A342-9835BD06DEC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1AE7853F-D8E5-4371-823B-6948CA0649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r="75842"/>
          <a:stretch/>
        </p:blipFill>
        <p:spPr>
          <a:xfrm>
            <a:off x="11742018" y="147161"/>
            <a:ext cx="303787" cy="248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38557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A5573A7-3BF3-63B0-1166-E846F63D9D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6192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5573A7-3BF3-63B0-1166-E846F63D9D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E8AA199-43CA-E7A1-6CA4-F593E84821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892" y="407418"/>
            <a:ext cx="8775771" cy="1325563"/>
          </a:xfrm>
        </p:spPr>
        <p:txBody>
          <a:bodyPr vert="horz"/>
          <a:lstStyle>
            <a:lvl1pPr>
              <a:defRPr sz="3200"/>
            </a:lvl1pPr>
          </a:lstStyle>
          <a:p>
            <a:r>
              <a:rPr lang="en-US"/>
              <a:t>One/Two columns layout: click to edit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9CC9540-4936-A722-D4D8-6F2DD1E375C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1943100"/>
            <a:ext cx="5410200" cy="3771900"/>
          </a:xfrm>
        </p:spPr>
        <p:txBody>
          <a:bodyPr/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79DCC21B-4B9B-5B32-FFB5-6D422F68883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19265" y="1943100"/>
            <a:ext cx="5410200" cy="3771900"/>
          </a:xfrm>
        </p:spPr>
        <p:txBody>
          <a:bodyPr/>
          <a:lstStyle/>
          <a:p>
            <a:pPr lvl="0"/>
            <a:r>
              <a:rPr lang="en-US"/>
              <a:t>Click to edit text. Delete this text box for a single column layou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CD436A9-C91A-C3AF-929E-6AAD9788D1AA}"/>
              </a:ext>
            </a:extLst>
          </p:cNvPr>
          <p:cNvSpPr/>
          <p:nvPr userDrawn="1"/>
        </p:nvSpPr>
        <p:spPr>
          <a:xfrm>
            <a:off x="588892" y="0"/>
            <a:ext cx="11031608" cy="342900"/>
          </a:xfrm>
          <a:prstGeom prst="rect">
            <a:avLst/>
          </a:prstGeom>
          <a:gradFill flip="none" rotWithShape="1">
            <a:gsLst>
              <a:gs pos="0">
                <a:srgbClr val="0044C9"/>
              </a:gs>
              <a:gs pos="100000">
                <a:srgbClr val="009EDB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4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BCEB6DF-CEDC-3E40-CC4D-B903679E63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ffice for Digital and Emerging Technologi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B505D17-B74C-916B-E765-5957E0FBF2B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5EDD575-C673-CF4D-BF44-B5D5410D0CF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Freeform 2">
            <a:extLst>
              <a:ext uri="{FF2B5EF4-FFF2-40B4-BE49-F238E27FC236}">
                <a16:creationId xmlns:a16="http://schemas.microsoft.com/office/drawing/2014/main" id="{9E9E6419-A48B-9C04-DD62-1AF5CDDB5B32}"/>
              </a:ext>
            </a:extLst>
          </p:cNvPr>
          <p:cNvSpPr/>
          <p:nvPr userDrawn="1"/>
        </p:nvSpPr>
        <p:spPr>
          <a:xfrm>
            <a:off x="571501" y="6181103"/>
            <a:ext cx="452231" cy="377210"/>
          </a:xfrm>
          <a:custGeom>
            <a:avLst/>
            <a:gdLst>
              <a:gd name="connsiteX0" fmla="*/ 586884 w 736968"/>
              <a:gd name="connsiteY0" fmla="*/ 559057 h 614713"/>
              <a:gd name="connsiteX1" fmla="*/ 587869 w 736968"/>
              <a:gd name="connsiteY1" fmla="*/ 559556 h 614713"/>
              <a:gd name="connsiteX2" fmla="*/ 540711 w 736968"/>
              <a:gd name="connsiteY2" fmla="*/ 587411 h 614713"/>
              <a:gd name="connsiteX3" fmla="*/ 503480 w 736968"/>
              <a:gd name="connsiteY3" fmla="*/ 590061 h 614713"/>
              <a:gd name="connsiteX4" fmla="*/ 450805 w 736968"/>
              <a:gd name="connsiteY4" fmla="*/ 569540 h 614713"/>
              <a:gd name="connsiteX5" fmla="*/ 422114 w 736968"/>
              <a:gd name="connsiteY5" fmla="*/ 550259 h 614713"/>
              <a:gd name="connsiteX6" fmla="*/ 386381 w 736968"/>
              <a:gd name="connsiteY6" fmla="*/ 543521 h 614713"/>
              <a:gd name="connsiteX7" fmla="*/ 385772 w 736968"/>
              <a:gd name="connsiteY7" fmla="*/ 548099 h 614713"/>
              <a:gd name="connsiteX8" fmla="*/ 433943 w 736968"/>
              <a:gd name="connsiteY8" fmla="*/ 578037 h 614713"/>
              <a:gd name="connsiteX9" fmla="*/ 462359 w 736968"/>
              <a:gd name="connsiteY9" fmla="*/ 603058 h 614713"/>
              <a:gd name="connsiteX10" fmla="*/ 448738 w 736968"/>
              <a:gd name="connsiteY10" fmla="*/ 614714 h 614713"/>
              <a:gd name="connsiteX11" fmla="*/ 433814 w 736968"/>
              <a:gd name="connsiteY11" fmla="*/ 598553 h 614713"/>
              <a:gd name="connsiteX12" fmla="*/ 371602 w 736968"/>
              <a:gd name="connsiteY12" fmla="*/ 550414 h 614713"/>
              <a:gd name="connsiteX13" fmla="*/ 368540 w 736968"/>
              <a:gd name="connsiteY13" fmla="*/ 549256 h 614713"/>
              <a:gd name="connsiteX14" fmla="*/ 365479 w 736968"/>
              <a:gd name="connsiteY14" fmla="*/ 550414 h 614713"/>
              <a:gd name="connsiteX15" fmla="*/ 303259 w 736968"/>
              <a:gd name="connsiteY15" fmla="*/ 598553 h 614713"/>
              <a:gd name="connsiteX16" fmla="*/ 288343 w 736968"/>
              <a:gd name="connsiteY16" fmla="*/ 614714 h 614713"/>
              <a:gd name="connsiteX17" fmla="*/ 274713 w 736968"/>
              <a:gd name="connsiteY17" fmla="*/ 603058 h 614713"/>
              <a:gd name="connsiteX18" fmla="*/ 303139 w 736968"/>
              <a:gd name="connsiteY18" fmla="*/ 578037 h 614713"/>
              <a:gd name="connsiteX19" fmla="*/ 351309 w 736968"/>
              <a:gd name="connsiteY19" fmla="*/ 548099 h 614713"/>
              <a:gd name="connsiteX20" fmla="*/ 350700 w 736968"/>
              <a:gd name="connsiteY20" fmla="*/ 543521 h 614713"/>
              <a:gd name="connsiteX21" fmla="*/ 314967 w 736968"/>
              <a:gd name="connsiteY21" fmla="*/ 550259 h 614713"/>
              <a:gd name="connsiteX22" fmla="*/ 286267 w 736968"/>
              <a:gd name="connsiteY22" fmla="*/ 569540 h 614713"/>
              <a:gd name="connsiteX23" fmla="*/ 233594 w 736968"/>
              <a:gd name="connsiteY23" fmla="*/ 590061 h 614713"/>
              <a:gd name="connsiteX24" fmla="*/ 196368 w 736968"/>
              <a:gd name="connsiteY24" fmla="*/ 587411 h 614713"/>
              <a:gd name="connsiteX25" fmla="*/ 149168 w 736968"/>
              <a:gd name="connsiteY25" fmla="*/ 559498 h 614713"/>
              <a:gd name="connsiteX26" fmla="*/ 150197 w 736968"/>
              <a:gd name="connsiteY26" fmla="*/ 559057 h 614713"/>
              <a:gd name="connsiteX27" fmla="*/ 153148 w 736968"/>
              <a:gd name="connsiteY27" fmla="*/ 560500 h 614713"/>
              <a:gd name="connsiteX28" fmla="*/ 215727 w 736968"/>
              <a:gd name="connsiteY28" fmla="*/ 567791 h 614713"/>
              <a:gd name="connsiteX29" fmla="*/ 257919 w 736968"/>
              <a:gd name="connsiteY29" fmla="*/ 553190 h 614713"/>
              <a:gd name="connsiteX30" fmla="*/ 287605 w 736968"/>
              <a:gd name="connsiteY30" fmla="*/ 541036 h 614713"/>
              <a:gd name="connsiteX31" fmla="*/ 367185 w 736968"/>
              <a:gd name="connsiteY31" fmla="*/ 539248 h 614713"/>
              <a:gd name="connsiteX32" fmla="*/ 368541 w 736968"/>
              <a:gd name="connsiteY32" fmla="*/ 539485 h 614713"/>
              <a:gd name="connsiteX33" fmla="*/ 369896 w 736968"/>
              <a:gd name="connsiteY33" fmla="*/ 539248 h 614713"/>
              <a:gd name="connsiteX34" fmla="*/ 449476 w 736968"/>
              <a:gd name="connsiteY34" fmla="*/ 541036 h 614713"/>
              <a:gd name="connsiteX35" fmla="*/ 479162 w 736968"/>
              <a:gd name="connsiteY35" fmla="*/ 553190 h 614713"/>
              <a:gd name="connsiteX36" fmla="*/ 521354 w 736968"/>
              <a:gd name="connsiteY36" fmla="*/ 567791 h 614713"/>
              <a:gd name="connsiteX37" fmla="*/ 583936 w 736968"/>
              <a:gd name="connsiteY37" fmla="*/ 560500 h 614713"/>
              <a:gd name="connsiteX38" fmla="*/ 586884 w 736968"/>
              <a:gd name="connsiteY38" fmla="*/ 559057 h 614713"/>
              <a:gd name="connsiteX39" fmla="*/ 649912 w 736968"/>
              <a:gd name="connsiteY39" fmla="*/ 501893 h 614713"/>
              <a:gd name="connsiteX40" fmla="*/ 621647 w 736968"/>
              <a:gd name="connsiteY40" fmla="*/ 516814 h 614713"/>
              <a:gd name="connsiteX41" fmla="*/ 577167 w 736968"/>
              <a:gd name="connsiteY41" fmla="*/ 523465 h 614713"/>
              <a:gd name="connsiteX42" fmla="*/ 519133 w 736968"/>
              <a:gd name="connsiteY42" fmla="*/ 528484 h 614713"/>
              <a:gd name="connsiteX43" fmla="*/ 518822 w 736968"/>
              <a:gd name="connsiteY43" fmla="*/ 528537 h 614713"/>
              <a:gd name="connsiteX44" fmla="*/ 517440 w 736968"/>
              <a:gd name="connsiteY44" fmla="*/ 527801 h 614713"/>
              <a:gd name="connsiteX45" fmla="*/ 517731 w 736968"/>
              <a:gd name="connsiteY45" fmla="*/ 527602 h 614713"/>
              <a:gd name="connsiteX46" fmla="*/ 555603 w 736968"/>
              <a:gd name="connsiteY46" fmla="*/ 491071 h 614713"/>
              <a:gd name="connsiteX47" fmla="*/ 574543 w 736968"/>
              <a:gd name="connsiteY47" fmla="*/ 452957 h 614713"/>
              <a:gd name="connsiteX48" fmla="*/ 574354 w 736968"/>
              <a:gd name="connsiteY48" fmla="*/ 451980 h 614713"/>
              <a:gd name="connsiteX49" fmla="*/ 545381 w 736968"/>
              <a:gd name="connsiteY49" fmla="*/ 476599 h 614713"/>
              <a:gd name="connsiteX50" fmla="*/ 513857 w 736968"/>
              <a:gd name="connsiteY50" fmla="*/ 507120 h 614713"/>
              <a:gd name="connsiteX51" fmla="*/ 464298 w 736968"/>
              <a:gd name="connsiteY51" fmla="*/ 532384 h 614713"/>
              <a:gd name="connsiteX52" fmla="*/ 463611 w 736968"/>
              <a:gd name="connsiteY52" fmla="*/ 532694 h 614713"/>
              <a:gd name="connsiteX53" fmla="*/ 463174 w 736968"/>
              <a:gd name="connsiteY53" fmla="*/ 533478 h 614713"/>
              <a:gd name="connsiteX54" fmla="*/ 463242 w 736968"/>
              <a:gd name="connsiteY54" fmla="*/ 533590 h 614713"/>
              <a:gd name="connsiteX55" fmla="*/ 463637 w 736968"/>
              <a:gd name="connsiteY55" fmla="*/ 533687 h 614713"/>
              <a:gd name="connsiteX56" fmla="*/ 499979 w 736968"/>
              <a:gd name="connsiteY56" fmla="*/ 542145 h 614713"/>
              <a:gd name="connsiteX57" fmla="*/ 546836 w 736968"/>
              <a:gd name="connsiteY57" fmla="*/ 550860 h 614713"/>
              <a:gd name="connsiteX58" fmla="*/ 597470 w 736968"/>
              <a:gd name="connsiteY58" fmla="*/ 544267 h 614713"/>
              <a:gd name="connsiteX59" fmla="*/ 651188 w 736968"/>
              <a:gd name="connsiteY59" fmla="*/ 502082 h 614713"/>
              <a:gd name="connsiteX60" fmla="*/ 651222 w 736968"/>
              <a:gd name="connsiteY60" fmla="*/ 501927 h 614713"/>
              <a:gd name="connsiteX61" fmla="*/ 649912 w 736968"/>
              <a:gd name="connsiteY61" fmla="*/ 501893 h 614713"/>
              <a:gd name="connsiteX62" fmla="*/ 708819 w 736968"/>
              <a:gd name="connsiteY62" fmla="*/ 411663 h 614713"/>
              <a:gd name="connsiteX63" fmla="*/ 675040 w 736968"/>
              <a:gd name="connsiteY63" fmla="*/ 441106 h 614713"/>
              <a:gd name="connsiteX64" fmla="*/ 640345 w 736968"/>
              <a:gd name="connsiteY64" fmla="*/ 460001 h 614713"/>
              <a:gd name="connsiteX65" fmla="*/ 597736 w 736968"/>
              <a:gd name="connsiteY65" fmla="*/ 485005 h 614713"/>
              <a:gd name="connsiteX66" fmla="*/ 595273 w 736968"/>
              <a:gd name="connsiteY66" fmla="*/ 486900 h 614713"/>
              <a:gd name="connsiteX67" fmla="*/ 594851 w 736968"/>
              <a:gd name="connsiteY67" fmla="*/ 486061 h 614713"/>
              <a:gd name="connsiteX68" fmla="*/ 621075 w 736968"/>
              <a:gd name="connsiteY68" fmla="*/ 422571 h 614713"/>
              <a:gd name="connsiteX69" fmla="*/ 628252 w 736968"/>
              <a:gd name="connsiteY69" fmla="*/ 377293 h 614713"/>
              <a:gd name="connsiteX70" fmla="*/ 627951 w 736968"/>
              <a:gd name="connsiteY70" fmla="*/ 376127 h 614713"/>
              <a:gd name="connsiteX71" fmla="*/ 627772 w 736968"/>
              <a:gd name="connsiteY71" fmla="*/ 376213 h 614713"/>
              <a:gd name="connsiteX72" fmla="*/ 595695 w 736968"/>
              <a:gd name="connsiteY72" fmla="*/ 434440 h 614713"/>
              <a:gd name="connsiteX73" fmla="*/ 583824 w 736968"/>
              <a:gd name="connsiteY73" fmla="*/ 468535 h 614713"/>
              <a:gd name="connsiteX74" fmla="*/ 559147 w 736968"/>
              <a:gd name="connsiteY74" fmla="*/ 509968 h 614713"/>
              <a:gd name="connsiteX75" fmla="*/ 558081 w 736968"/>
              <a:gd name="connsiteY75" fmla="*/ 511083 h 614713"/>
              <a:gd name="connsiteX76" fmla="*/ 557887 w 736968"/>
              <a:gd name="connsiteY76" fmla="*/ 511785 h 614713"/>
              <a:gd name="connsiteX77" fmla="*/ 557979 w 736968"/>
              <a:gd name="connsiteY77" fmla="*/ 511901 h 614713"/>
              <a:gd name="connsiteX78" fmla="*/ 561863 w 736968"/>
              <a:gd name="connsiteY78" fmla="*/ 511218 h 614713"/>
              <a:gd name="connsiteX79" fmla="*/ 601334 w 736968"/>
              <a:gd name="connsiteY79" fmla="*/ 503152 h 614713"/>
              <a:gd name="connsiteX80" fmla="*/ 660605 w 736968"/>
              <a:gd name="connsiteY80" fmla="*/ 477953 h 614713"/>
              <a:gd name="connsiteX81" fmla="*/ 703485 w 736968"/>
              <a:gd name="connsiteY81" fmla="*/ 427832 h 614713"/>
              <a:gd name="connsiteX82" fmla="*/ 710046 w 736968"/>
              <a:gd name="connsiteY82" fmla="*/ 411501 h 614713"/>
              <a:gd name="connsiteX83" fmla="*/ 708819 w 736968"/>
              <a:gd name="connsiteY83" fmla="*/ 411663 h 614713"/>
              <a:gd name="connsiteX84" fmla="*/ 734621 w 736968"/>
              <a:gd name="connsiteY84" fmla="*/ 310240 h 614713"/>
              <a:gd name="connsiteX85" fmla="*/ 703698 w 736968"/>
              <a:gd name="connsiteY85" fmla="*/ 358724 h 614713"/>
              <a:gd name="connsiteX86" fmla="*/ 658917 w 736968"/>
              <a:gd name="connsiteY86" fmla="*/ 409606 h 614713"/>
              <a:gd name="connsiteX87" fmla="*/ 658137 w 736968"/>
              <a:gd name="connsiteY87" fmla="*/ 409050 h 614713"/>
              <a:gd name="connsiteX88" fmla="*/ 662297 w 736968"/>
              <a:gd name="connsiteY88" fmla="*/ 351834 h 614713"/>
              <a:gd name="connsiteX89" fmla="*/ 650887 w 736968"/>
              <a:gd name="connsiteY89" fmla="*/ 298261 h 614713"/>
              <a:gd name="connsiteX90" fmla="*/ 650863 w 736968"/>
              <a:gd name="connsiteY90" fmla="*/ 298055 h 614713"/>
              <a:gd name="connsiteX91" fmla="*/ 650029 w 736968"/>
              <a:gd name="connsiteY91" fmla="*/ 297173 h 614713"/>
              <a:gd name="connsiteX92" fmla="*/ 649360 w 736968"/>
              <a:gd name="connsiteY92" fmla="*/ 299049 h 614713"/>
              <a:gd name="connsiteX93" fmla="*/ 641014 w 736968"/>
              <a:gd name="connsiteY93" fmla="*/ 338304 h 614713"/>
              <a:gd name="connsiteX94" fmla="*/ 641873 w 736968"/>
              <a:gd name="connsiteY94" fmla="*/ 391766 h 614713"/>
              <a:gd name="connsiteX95" fmla="*/ 630216 w 736968"/>
              <a:gd name="connsiteY95" fmla="*/ 447310 h 614713"/>
              <a:gd name="connsiteX96" fmla="*/ 630114 w 736968"/>
              <a:gd name="connsiteY96" fmla="*/ 447593 h 614713"/>
              <a:gd name="connsiteX97" fmla="*/ 630424 w 736968"/>
              <a:gd name="connsiteY97" fmla="*/ 448913 h 614713"/>
              <a:gd name="connsiteX98" fmla="*/ 630536 w 736968"/>
              <a:gd name="connsiteY98" fmla="*/ 448870 h 614713"/>
              <a:gd name="connsiteX99" fmla="*/ 670967 w 736968"/>
              <a:gd name="connsiteY99" fmla="*/ 423677 h 614713"/>
              <a:gd name="connsiteX100" fmla="*/ 713615 w 736968"/>
              <a:gd name="connsiteY100" fmla="*/ 382991 h 614713"/>
              <a:gd name="connsiteX101" fmla="*/ 735795 w 736968"/>
              <a:gd name="connsiteY101" fmla="*/ 312194 h 614713"/>
              <a:gd name="connsiteX102" fmla="*/ 735625 w 736968"/>
              <a:gd name="connsiteY102" fmla="*/ 309641 h 614713"/>
              <a:gd name="connsiteX103" fmla="*/ 734621 w 736968"/>
              <a:gd name="connsiteY103" fmla="*/ 310240 h 614713"/>
              <a:gd name="connsiteX104" fmla="*/ 691954 w 736968"/>
              <a:gd name="connsiteY104" fmla="*/ 321158 h 614713"/>
              <a:gd name="connsiteX105" fmla="*/ 691619 w 736968"/>
              <a:gd name="connsiteY105" fmla="*/ 321526 h 614713"/>
              <a:gd name="connsiteX106" fmla="*/ 691023 w 736968"/>
              <a:gd name="connsiteY106" fmla="*/ 321037 h 614713"/>
              <a:gd name="connsiteX107" fmla="*/ 691358 w 736968"/>
              <a:gd name="connsiteY107" fmla="*/ 304773 h 614713"/>
              <a:gd name="connsiteX108" fmla="*/ 668499 w 736968"/>
              <a:gd name="connsiteY108" fmla="*/ 254370 h 614713"/>
              <a:gd name="connsiteX109" fmla="*/ 650329 w 736968"/>
              <a:gd name="connsiteY109" fmla="*/ 222083 h 614713"/>
              <a:gd name="connsiteX110" fmla="*/ 649301 w 736968"/>
              <a:gd name="connsiteY110" fmla="*/ 221620 h 614713"/>
              <a:gd name="connsiteX111" fmla="*/ 649927 w 736968"/>
              <a:gd name="connsiteY111" fmla="*/ 232502 h 614713"/>
              <a:gd name="connsiteX112" fmla="*/ 670332 w 736968"/>
              <a:gd name="connsiteY112" fmla="*/ 311920 h 614713"/>
              <a:gd name="connsiteX113" fmla="*/ 677470 w 736968"/>
              <a:gd name="connsiteY113" fmla="*/ 362134 h 614713"/>
              <a:gd name="connsiteX114" fmla="*/ 677853 w 736968"/>
              <a:gd name="connsiteY114" fmla="*/ 364277 h 614713"/>
              <a:gd name="connsiteX115" fmla="*/ 677930 w 736968"/>
              <a:gd name="connsiteY115" fmla="*/ 364260 h 614713"/>
              <a:gd name="connsiteX116" fmla="*/ 703296 w 736968"/>
              <a:gd name="connsiteY116" fmla="*/ 334140 h 614713"/>
              <a:gd name="connsiteX117" fmla="*/ 731566 w 736968"/>
              <a:gd name="connsiteY117" fmla="*/ 215331 h 614713"/>
              <a:gd name="connsiteX118" fmla="*/ 728463 w 736968"/>
              <a:gd name="connsiteY118" fmla="*/ 207464 h 614713"/>
              <a:gd name="connsiteX119" fmla="*/ 727561 w 736968"/>
              <a:gd name="connsiteY119" fmla="*/ 208467 h 614713"/>
              <a:gd name="connsiteX120" fmla="*/ 696313 w 736968"/>
              <a:gd name="connsiteY120" fmla="*/ 305065 h 614713"/>
              <a:gd name="connsiteX121" fmla="*/ 691954 w 736968"/>
              <a:gd name="connsiteY121" fmla="*/ 321158 h 614713"/>
              <a:gd name="connsiteX122" fmla="*/ 657467 w 736968"/>
              <a:gd name="connsiteY122" fmla="*/ 179092 h 614713"/>
              <a:gd name="connsiteX123" fmla="*/ 633091 w 736968"/>
              <a:gd name="connsiteY123" fmla="*/ 151962 h 614713"/>
              <a:gd name="connsiteX124" fmla="*/ 632946 w 736968"/>
              <a:gd name="connsiteY124" fmla="*/ 151782 h 614713"/>
              <a:gd name="connsiteX125" fmla="*/ 632669 w 736968"/>
              <a:gd name="connsiteY125" fmla="*/ 151568 h 614713"/>
              <a:gd name="connsiteX126" fmla="*/ 631631 w 736968"/>
              <a:gd name="connsiteY126" fmla="*/ 151363 h 614713"/>
              <a:gd name="connsiteX127" fmla="*/ 631117 w 736968"/>
              <a:gd name="connsiteY127" fmla="*/ 151397 h 614713"/>
              <a:gd name="connsiteX128" fmla="*/ 641873 w 736968"/>
              <a:gd name="connsiteY128" fmla="*/ 182854 h 614713"/>
              <a:gd name="connsiteX129" fmla="*/ 666026 w 736968"/>
              <a:gd name="connsiteY129" fmla="*/ 219443 h 614713"/>
              <a:gd name="connsiteX130" fmla="*/ 667941 w 736968"/>
              <a:gd name="connsiteY130" fmla="*/ 221989 h 614713"/>
              <a:gd name="connsiteX131" fmla="*/ 694437 w 736968"/>
              <a:gd name="connsiteY131" fmla="*/ 272340 h 614713"/>
              <a:gd name="connsiteX132" fmla="*/ 695353 w 736968"/>
              <a:gd name="connsiteY132" fmla="*/ 272897 h 614713"/>
              <a:gd name="connsiteX133" fmla="*/ 706589 w 736968"/>
              <a:gd name="connsiteY133" fmla="*/ 237969 h 614713"/>
              <a:gd name="connsiteX134" fmla="*/ 716529 w 736968"/>
              <a:gd name="connsiteY134" fmla="*/ 200335 h 614713"/>
              <a:gd name="connsiteX135" fmla="*/ 693336 w 736968"/>
              <a:gd name="connsiteY135" fmla="*/ 109931 h 614713"/>
              <a:gd name="connsiteX136" fmla="*/ 692846 w 736968"/>
              <a:gd name="connsiteY136" fmla="*/ 110986 h 614713"/>
              <a:gd name="connsiteX137" fmla="*/ 693695 w 736968"/>
              <a:gd name="connsiteY137" fmla="*/ 113762 h 614713"/>
              <a:gd name="connsiteX138" fmla="*/ 694762 w 736968"/>
              <a:gd name="connsiteY138" fmla="*/ 117738 h 614713"/>
              <a:gd name="connsiteX139" fmla="*/ 695557 w 736968"/>
              <a:gd name="connsiteY139" fmla="*/ 167807 h 614713"/>
              <a:gd name="connsiteX140" fmla="*/ 691876 w 736968"/>
              <a:gd name="connsiteY140" fmla="*/ 207627 h 614713"/>
              <a:gd name="connsiteX141" fmla="*/ 693157 w 736968"/>
              <a:gd name="connsiteY141" fmla="*/ 226975 h 614713"/>
              <a:gd name="connsiteX142" fmla="*/ 692177 w 736968"/>
              <a:gd name="connsiteY142" fmla="*/ 226761 h 614713"/>
              <a:gd name="connsiteX143" fmla="*/ 687871 w 736968"/>
              <a:gd name="connsiteY143" fmla="*/ 215605 h 614713"/>
              <a:gd name="connsiteX144" fmla="*/ 685325 w 736968"/>
              <a:gd name="connsiteY144" fmla="*/ 209863 h 614713"/>
              <a:gd name="connsiteX145" fmla="*/ 657467 w 736968"/>
              <a:gd name="connsiteY145" fmla="*/ 179092 h 614713"/>
              <a:gd name="connsiteX146" fmla="*/ 638090 w 736968"/>
              <a:gd name="connsiteY146" fmla="*/ 57360 h 614713"/>
              <a:gd name="connsiteX147" fmla="*/ 651173 w 736968"/>
              <a:gd name="connsiteY147" fmla="*/ 76187 h 614713"/>
              <a:gd name="connsiteX148" fmla="*/ 660571 w 736968"/>
              <a:gd name="connsiteY148" fmla="*/ 117524 h 614713"/>
              <a:gd name="connsiteX149" fmla="*/ 666414 w 736968"/>
              <a:gd name="connsiteY149" fmla="*/ 139820 h 614713"/>
              <a:gd name="connsiteX150" fmla="*/ 665434 w 736968"/>
              <a:gd name="connsiteY150" fmla="*/ 140214 h 614713"/>
              <a:gd name="connsiteX151" fmla="*/ 665221 w 736968"/>
              <a:gd name="connsiteY151" fmla="*/ 139923 h 614713"/>
              <a:gd name="connsiteX152" fmla="*/ 628911 w 736968"/>
              <a:gd name="connsiteY152" fmla="*/ 109914 h 614713"/>
              <a:gd name="connsiteX153" fmla="*/ 605267 w 736968"/>
              <a:gd name="connsiteY153" fmla="*/ 88698 h 614713"/>
              <a:gd name="connsiteX154" fmla="*/ 601635 w 736968"/>
              <a:gd name="connsiteY154" fmla="*/ 83950 h 614713"/>
              <a:gd name="connsiteX155" fmla="*/ 600583 w 736968"/>
              <a:gd name="connsiteY155" fmla="*/ 83650 h 614713"/>
              <a:gd name="connsiteX156" fmla="*/ 600854 w 736968"/>
              <a:gd name="connsiteY156" fmla="*/ 85630 h 614713"/>
              <a:gd name="connsiteX157" fmla="*/ 621657 w 736968"/>
              <a:gd name="connsiteY157" fmla="*/ 126315 h 614713"/>
              <a:gd name="connsiteX158" fmla="*/ 648836 w 736968"/>
              <a:gd name="connsiteY158" fmla="*/ 149169 h 614713"/>
              <a:gd name="connsiteX159" fmla="*/ 680685 w 736968"/>
              <a:gd name="connsiteY159" fmla="*/ 182203 h 614713"/>
              <a:gd name="connsiteX160" fmla="*/ 680859 w 736968"/>
              <a:gd name="connsiteY160" fmla="*/ 182391 h 614713"/>
              <a:gd name="connsiteX161" fmla="*/ 681567 w 736968"/>
              <a:gd name="connsiteY161" fmla="*/ 182597 h 614713"/>
              <a:gd name="connsiteX162" fmla="*/ 681553 w 736968"/>
              <a:gd name="connsiteY162" fmla="*/ 182399 h 614713"/>
              <a:gd name="connsiteX163" fmla="*/ 681567 w 736968"/>
              <a:gd name="connsiteY163" fmla="*/ 182382 h 614713"/>
              <a:gd name="connsiteX164" fmla="*/ 681262 w 736968"/>
              <a:gd name="connsiteY164" fmla="*/ 171783 h 614713"/>
              <a:gd name="connsiteX165" fmla="*/ 682154 w 736968"/>
              <a:gd name="connsiteY165" fmla="*/ 139452 h 614713"/>
              <a:gd name="connsiteX166" fmla="*/ 682435 w 736968"/>
              <a:gd name="connsiteY166" fmla="*/ 128347 h 614713"/>
              <a:gd name="connsiteX167" fmla="*/ 676534 w 736968"/>
              <a:gd name="connsiteY167" fmla="*/ 95964 h 614713"/>
              <a:gd name="connsiteX168" fmla="*/ 641014 w 736968"/>
              <a:gd name="connsiteY168" fmla="*/ 57198 h 614713"/>
              <a:gd name="connsiteX169" fmla="*/ 637887 w 736968"/>
              <a:gd name="connsiteY169" fmla="*/ 56006 h 614713"/>
              <a:gd name="connsiteX170" fmla="*/ 637969 w 736968"/>
              <a:gd name="connsiteY170" fmla="*/ 57206 h 614713"/>
              <a:gd name="connsiteX171" fmla="*/ 638090 w 736968"/>
              <a:gd name="connsiteY171" fmla="*/ 57360 h 614713"/>
              <a:gd name="connsiteX172" fmla="*/ 568632 w 736968"/>
              <a:gd name="connsiteY172" fmla="*/ 25321 h 614713"/>
              <a:gd name="connsiteX173" fmla="*/ 593421 w 736968"/>
              <a:gd name="connsiteY173" fmla="*/ 54833 h 614713"/>
              <a:gd name="connsiteX174" fmla="*/ 616827 w 736968"/>
              <a:gd name="connsiteY174" fmla="*/ 83702 h 614713"/>
              <a:gd name="connsiteX175" fmla="*/ 645956 w 736968"/>
              <a:gd name="connsiteY175" fmla="*/ 107764 h 614713"/>
              <a:gd name="connsiteX176" fmla="*/ 646154 w 736968"/>
              <a:gd name="connsiteY176" fmla="*/ 107918 h 614713"/>
              <a:gd name="connsiteX177" fmla="*/ 646538 w 736968"/>
              <a:gd name="connsiteY177" fmla="*/ 107892 h 614713"/>
              <a:gd name="connsiteX178" fmla="*/ 646504 w 736968"/>
              <a:gd name="connsiteY178" fmla="*/ 107686 h 614713"/>
              <a:gd name="connsiteX179" fmla="*/ 613181 w 736968"/>
              <a:gd name="connsiteY179" fmla="*/ 44936 h 614713"/>
              <a:gd name="connsiteX180" fmla="*/ 566314 w 736968"/>
              <a:gd name="connsiteY180" fmla="*/ 22288 h 614713"/>
              <a:gd name="connsiteX181" fmla="*/ 566436 w 736968"/>
              <a:gd name="connsiteY181" fmla="*/ 23419 h 614713"/>
              <a:gd name="connsiteX182" fmla="*/ 568632 w 736968"/>
              <a:gd name="connsiteY182" fmla="*/ 25321 h 614713"/>
              <a:gd name="connsiteX183" fmla="*/ 190133 w 736968"/>
              <a:gd name="connsiteY183" fmla="*/ 550860 h 614713"/>
              <a:gd name="connsiteX184" fmla="*/ 236991 w 736968"/>
              <a:gd name="connsiteY184" fmla="*/ 542145 h 614713"/>
              <a:gd name="connsiteX185" fmla="*/ 273332 w 736968"/>
              <a:gd name="connsiteY185" fmla="*/ 533687 h 614713"/>
              <a:gd name="connsiteX186" fmla="*/ 273727 w 736968"/>
              <a:gd name="connsiteY186" fmla="*/ 533590 h 614713"/>
              <a:gd name="connsiteX187" fmla="*/ 273796 w 736968"/>
              <a:gd name="connsiteY187" fmla="*/ 533478 h 614713"/>
              <a:gd name="connsiteX188" fmla="*/ 273358 w 736968"/>
              <a:gd name="connsiteY188" fmla="*/ 532694 h 614713"/>
              <a:gd name="connsiteX189" fmla="*/ 272663 w 736968"/>
              <a:gd name="connsiteY189" fmla="*/ 532384 h 614713"/>
              <a:gd name="connsiteX190" fmla="*/ 223112 w 736968"/>
              <a:gd name="connsiteY190" fmla="*/ 507120 h 614713"/>
              <a:gd name="connsiteX191" fmla="*/ 191591 w 736968"/>
              <a:gd name="connsiteY191" fmla="*/ 476599 h 614713"/>
              <a:gd name="connsiteX192" fmla="*/ 162617 w 736968"/>
              <a:gd name="connsiteY192" fmla="*/ 451972 h 614713"/>
              <a:gd name="connsiteX193" fmla="*/ 162428 w 736968"/>
              <a:gd name="connsiteY193" fmla="*/ 452957 h 614713"/>
              <a:gd name="connsiteX194" fmla="*/ 181367 w 736968"/>
              <a:gd name="connsiteY194" fmla="*/ 491071 h 614713"/>
              <a:gd name="connsiteX195" fmla="*/ 219235 w 736968"/>
              <a:gd name="connsiteY195" fmla="*/ 527602 h 614713"/>
              <a:gd name="connsiteX196" fmla="*/ 219527 w 736968"/>
              <a:gd name="connsiteY196" fmla="*/ 527801 h 614713"/>
              <a:gd name="connsiteX197" fmla="*/ 218146 w 736968"/>
              <a:gd name="connsiteY197" fmla="*/ 528537 h 614713"/>
              <a:gd name="connsiteX198" fmla="*/ 217837 w 736968"/>
              <a:gd name="connsiteY198" fmla="*/ 528484 h 614713"/>
              <a:gd name="connsiteX199" fmla="*/ 159803 w 736968"/>
              <a:gd name="connsiteY199" fmla="*/ 523465 h 614713"/>
              <a:gd name="connsiteX200" fmla="*/ 115321 w 736968"/>
              <a:gd name="connsiteY200" fmla="*/ 516814 h 614713"/>
              <a:gd name="connsiteX201" fmla="*/ 87059 w 736968"/>
              <a:gd name="connsiteY201" fmla="*/ 501893 h 614713"/>
              <a:gd name="connsiteX202" fmla="*/ 85747 w 736968"/>
              <a:gd name="connsiteY202" fmla="*/ 501927 h 614713"/>
              <a:gd name="connsiteX203" fmla="*/ 85782 w 736968"/>
              <a:gd name="connsiteY203" fmla="*/ 502082 h 614713"/>
              <a:gd name="connsiteX204" fmla="*/ 139501 w 736968"/>
              <a:gd name="connsiteY204" fmla="*/ 544267 h 614713"/>
              <a:gd name="connsiteX205" fmla="*/ 190133 w 736968"/>
              <a:gd name="connsiteY205" fmla="*/ 550860 h 614713"/>
              <a:gd name="connsiteX206" fmla="*/ 175105 w 736968"/>
              <a:gd name="connsiteY206" fmla="*/ 511218 h 614713"/>
              <a:gd name="connsiteX207" fmla="*/ 178991 w 736968"/>
              <a:gd name="connsiteY207" fmla="*/ 511901 h 614713"/>
              <a:gd name="connsiteX208" fmla="*/ 179085 w 736968"/>
              <a:gd name="connsiteY208" fmla="*/ 511775 h 614713"/>
              <a:gd name="connsiteX209" fmla="*/ 178887 w 736968"/>
              <a:gd name="connsiteY209" fmla="*/ 511078 h 614713"/>
              <a:gd name="connsiteX210" fmla="*/ 177816 w 736968"/>
              <a:gd name="connsiteY210" fmla="*/ 509968 h 614713"/>
              <a:gd name="connsiteX211" fmla="*/ 153148 w 736968"/>
              <a:gd name="connsiteY211" fmla="*/ 468535 h 614713"/>
              <a:gd name="connsiteX212" fmla="*/ 141276 w 736968"/>
              <a:gd name="connsiteY212" fmla="*/ 434439 h 614713"/>
              <a:gd name="connsiteX213" fmla="*/ 109197 w 736968"/>
              <a:gd name="connsiteY213" fmla="*/ 376213 h 614713"/>
              <a:gd name="connsiteX214" fmla="*/ 109017 w 736968"/>
              <a:gd name="connsiteY214" fmla="*/ 376127 h 614713"/>
              <a:gd name="connsiteX215" fmla="*/ 108717 w 736968"/>
              <a:gd name="connsiteY215" fmla="*/ 377284 h 614713"/>
              <a:gd name="connsiteX216" fmla="*/ 115896 w 736968"/>
              <a:gd name="connsiteY216" fmla="*/ 422571 h 614713"/>
              <a:gd name="connsiteX217" fmla="*/ 142117 w 736968"/>
              <a:gd name="connsiteY217" fmla="*/ 486061 h 614713"/>
              <a:gd name="connsiteX218" fmla="*/ 141697 w 736968"/>
              <a:gd name="connsiteY218" fmla="*/ 486900 h 614713"/>
              <a:gd name="connsiteX219" fmla="*/ 139235 w 736968"/>
              <a:gd name="connsiteY219" fmla="*/ 485005 h 614713"/>
              <a:gd name="connsiteX220" fmla="*/ 96623 w 736968"/>
              <a:gd name="connsiteY220" fmla="*/ 460001 h 614713"/>
              <a:gd name="connsiteX221" fmla="*/ 61928 w 736968"/>
              <a:gd name="connsiteY221" fmla="*/ 441106 h 614713"/>
              <a:gd name="connsiteX222" fmla="*/ 28142 w 736968"/>
              <a:gd name="connsiteY222" fmla="*/ 411663 h 614713"/>
              <a:gd name="connsiteX223" fmla="*/ 26924 w 736968"/>
              <a:gd name="connsiteY223" fmla="*/ 411500 h 614713"/>
              <a:gd name="connsiteX224" fmla="*/ 33486 w 736968"/>
              <a:gd name="connsiteY224" fmla="*/ 427832 h 614713"/>
              <a:gd name="connsiteX225" fmla="*/ 76363 w 736968"/>
              <a:gd name="connsiteY225" fmla="*/ 477953 h 614713"/>
              <a:gd name="connsiteX226" fmla="*/ 135633 w 736968"/>
              <a:gd name="connsiteY226" fmla="*/ 503152 h 614713"/>
              <a:gd name="connsiteX227" fmla="*/ 175105 w 736968"/>
              <a:gd name="connsiteY227" fmla="*/ 511218 h 614713"/>
              <a:gd name="connsiteX228" fmla="*/ 66002 w 736968"/>
              <a:gd name="connsiteY228" fmla="*/ 423677 h 614713"/>
              <a:gd name="connsiteX229" fmla="*/ 106435 w 736968"/>
              <a:gd name="connsiteY229" fmla="*/ 448870 h 614713"/>
              <a:gd name="connsiteX230" fmla="*/ 106547 w 736968"/>
              <a:gd name="connsiteY230" fmla="*/ 448912 h 614713"/>
              <a:gd name="connsiteX231" fmla="*/ 106856 w 736968"/>
              <a:gd name="connsiteY231" fmla="*/ 447593 h 614713"/>
              <a:gd name="connsiteX232" fmla="*/ 106752 w 736968"/>
              <a:gd name="connsiteY232" fmla="*/ 447310 h 614713"/>
              <a:gd name="connsiteX233" fmla="*/ 95096 w 736968"/>
              <a:gd name="connsiteY233" fmla="*/ 391766 h 614713"/>
              <a:gd name="connsiteX234" fmla="*/ 95954 w 736968"/>
              <a:gd name="connsiteY234" fmla="*/ 338304 h 614713"/>
              <a:gd name="connsiteX235" fmla="*/ 87608 w 736968"/>
              <a:gd name="connsiteY235" fmla="*/ 299049 h 614713"/>
              <a:gd name="connsiteX236" fmla="*/ 86939 w 736968"/>
              <a:gd name="connsiteY236" fmla="*/ 297173 h 614713"/>
              <a:gd name="connsiteX237" fmla="*/ 86107 w 736968"/>
              <a:gd name="connsiteY237" fmla="*/ 298055 h 614713"/>
              <a:gd name="connsiteX238" fmla="*/ 86081 w 736968"/>
              <a:gd name="connsiteY238" fmla="*/ 298261 h 614713"/>
              <a:gd name="connsiteX239" fmla="*/ 74674 w 736968"/>
              <a:gd name="connsiteY239" fmla="*/ 351834 h 614713"/>
              <a:gd name="connsiteX240" fmla="*/ 78834 w 736968"/>
              <a:gd name="connsiteY240" fmla="*/ 409050 h 614713"/>
              <a:gd name="connsiteX241" fmla="*/ 78053 w 736968"/>
              <a:gd name="connsiteY241" fmla="*/ 409606 h 614713"/>
              <a:gd name="connsiteX242" fmla="*/ 33271 w 736968"/>
              <a:gd name="connsiteY242" fmla="*/ 358724 h 614713"/>
              <a:gd name="connsiteX243" fmla="*/ 2350 w 736968"/>
              <a:gd name="connsiteY243" fmla="*/ 310240 h 614713"/>
              <a:gd name="connsiteX244" fmla="*/ 1355 w 736968"/>
              <a:gd name="connsiteY244" fmla="*/ 309641 h 614713"/>
              <a:gd name="connsiteX245" fmla="*/ 1174 w 736968"/>
              <a:gd name="connsiteY245" fmla="*/ 312194 h 614713"/>
              <a:gd name="connsiteX246" fmla="*/ 23356 w 736968"/>
              <a:gd name="connsiteY246" fmla="*/ 382991 h 614713"/>
              <a:gd name="connsiteX247" fmla="*/ 66002 w 736968"/>
              <a:gd name="connsiteY247" fmla="*/ 423677 h 614713"/>
              <a:gd name="connsiteX248" fmla="*/ 59037 w 736968"/>
              <a:gd name="connsiteY248" fmla="*/ 364260 h 614713"/>
              <a:gd name="connsiteX249" fmla="*/ 59115 w 736968"/>
              <a:gd name="connsiteY249" fmla="*/ 364285 h 614713"/>
              <a:gd name="connsiteX250" fmla="*/ 59501 w 736968"/>
              <a:gd name="connsiteY250" fmla="*/ 362134 h 614713"/>
              <a:gd name="connsiteX251" fmla="*/ 66637 w 736968"/>
              <a:gd name="connsiteY251" fmla="*/ 311920 h 614713"/>
              <a:gd name="connsiteX252" fmla="*/ 87042 w 736968"/>
              <a:gd name="connsiteY252" fmla="*/ 232511 h 614713"/>
              <a:gd name="connsiteX253" fmla="*/ 87668 w 736968"/>
              <a:gd name="connsiteY253" fmla="*/ 221620 h 614713"/>
              <a:gd name="connsiteX254" fmla="*/ 86639 w 736968"/>
              <a:gd name="connsiteY254" fmla="*/ 222091 h 614713"/>
              <a:gd name="connsiteX255" fmla="*/ 68472 w 736968"/>
              <a:gd name="connsiteY255" fmla="*/ 254370 h 614713"/>
              <a:gd name="connsiteX256" fmla="*/ 45614 w 736968"/>
              <a:gd name="connsiteY256" fmla="*/ 304773 h 614713"/>
              <a:gd name="connsiteX257" fmla="*/ 45948 w 736968"/>
              <a:gd name="connsiteY257" fmla="*/ 321037 h 614713"/>
              <a:gd name="connsiteX258" fmla="*/ 45348 w 736968"/>
              <a:gd name="connsiteY258" fmla="*/ 321526 h 614713"/>
              <a:gd name="connsiteX259" fmla="*/ 45014 w 736968"/>
              <a:gd name="connsiteY259" fmla="*/ 321158 h 614713"/>
              <a:gd name="connsiteX260" fmla="*/ 40648 w 736968"/>
              <a:gd name="connsiteY260" fmla="*/ 305065 h 614713"/>
              <a:gd name="connsiteX261" fmla="*/ 9409 w 736968"/>
              <a:gd name="connsiteY261" fmla="*/ 208467 h 614713"/>
              <a:gd name="connsiteX262" fmla="*/ 8509 w 736968"/>
              <a:gd name="connsiteY262" fmla="*/ 207464 h 614713"/>
              <a:gd name="connsiteX263" fmla="*/ 5403 w 736968"/>
              <a:gd name="connsiteY263" fmla="*/ 215331 h 614713"/>
              <a:gd name="connsiteX264" fmla="*/ 33666 w 736968"/>
              <a:gd name="connsiteY264" fmla="*/ 334140 h 614713"/>
              <a:gd name="connsiteX265" fmla="*/ 59037 w 736968"/>
              <a:gd name="connsiteY265" fmla="*/ 364260 h 614713"/>
              <a:gd name="connsiteX266" fmla="*/ 30372 w 736968"/>
              <a:gd name="connsiteY266" fmla="*/ 237961 h 614713"/>
              <a:gd name="connsiteX267" fmla="*/ 41617 w 736968"/>
              <a:gd name="connsiteY267" fmla="*/ 272905 h 614713"/>
              <a:gd name="connsiteX268" fmla="*/ 42535 w 736968"/>
              <a:gd name="connsiteY268" fmla="*/ 272340 h 614713"/>
              <a:gd name="connsiteX269" fmla="*/ 69030 w 736968"/>
              <a:gd name="connsiteY269" fmla="*/ 221988 h 614713"/>
              <a:gd name="connsiteX270" fmla="*/ 70943 w 736968"/>
              <a:gd name="connsiteY270" fmla="*/ 219443 h 614713"/>
              <a:gd name="connsiteX271" fmla="*/ 95096 w 736968"/>
              <a:gd name="connsiteY271" fmla="*/ 182853 h 614713"/>
              <a:gd name="connsiteX272" fmla="*/ 105861 w 736968"/>
              <a:gd name="connsiteY272" fmla="*/ 151397 h 614713"/>
              <a:gd name="connsiteX273" fmla="*/ 105338 w 736968"/>
              <a:gd name="connsiteY273" fmla="*/ 151354 h 614713"/>
              <a:gd name="connsiteX274" fmla="*/ 104300 w 736968"/>
              <a:gd name="connsiteY274" fmla="*/ 151568 h 614713"/>
              <a:gd name="connsiteX275" fmla="*/ 104025 w 736968"/>
              <a:gd name="connsiteY275" fmla="*/ 151782 h 614713"/>
              <a:gd name="connsiteX276" fmla="*/ 103879 w 736968"/>
              <a:gd name="connsiteY276" fmla="*/ 151962 h 614713"/>
              <a:gd name="connsiteX277" fmla="*/ 79503 w 736968"/>
              <a:gd name="connsiteY277" fmla="*/ 179092 h 614713"/>
              <a:gd name="connsiteX278" fmla="*/ 51644 w 736968"/>
              <a:gd name="connsiteY278" fmla="*/ 209863 h 614713"/>
              <a:gd name="connsiteX279" fmla="*/ 49096 w 736968"/>
              <a:gd name="connsiteY279" fmla="*/ 215596 h 614713"/>
              <a:gd name="connsiteX280" fmla="*/ 44790 w 736968"/>
              <a:gd name="connsiteY280" fmla="*/ 226761 h 614713"/>
              <a:gd name="connsiteX281" fmla="*/ 43804 w 736968"/>
              <a:gd name="connsiteY281" fmla="*/ 226975 h 614713"/>
              <a:gd name="connsiteX282" fmla="*/ 45099 w 736968"/>
              <a:gd name="connsiteY282" fmla="*/ 207627 h 614713"/>
              <a:gd name="connsiteX283" fmla="*/ 41411 w 736968"/>
              <a:gd name="connsiteY283" fmla="*/ 167807 h 614713"/>
              <a:gd name="connsiteX284" fmla="*/ 42200 w 736968"/>
              <a:gd name="connsiteY284" fmla="*/ 117729 h 614713"/>
              <a:gd name="connsiteX285" fmla="*/ 43272 w 736968"/>
              <a:gd name="connsiteY285" fmla="*/ 113762 h 614713"/>
              <a:gd name="connsiteX286" fmla="*/ 44121 w 736968"/>
              <a:gd name="connsiteY286" fmla="*/ 110986 h 614713"/>
              <a:gd name="connsiteX287" fmla="*/ 43632 w 736968"/>
              <a:gd name="connsiteY287" fmla="*/ 109931 h 614713"/>
              <a:gd name="connsiteX288" fmla="*/ 20440 w 736968"/>
              <a:gd name="connsiteY288" fmla="*/ 200335 h 614713"/>
              <a:gd name="connsiteX289" fmla="*/ 30372 w 736968"/>
              <a:gd name="connsiteY289" fmla="*/ 237961 h 614713"/>
              <a:gd name="connsiteX290" fmla="*/ 55709 w 736968"/>
              <a:gd name="connsiteY290" fmla="*/ 171783 h 614713"/>
              <a:gd name="connsiteX291" fmla="*/ 55401 w 736968"/>
              <a:gd name="connsiteY291" fmla="*/ 182382 h 614713"/>
              <a:gd name="connsiteX292" fmla="*/ 55418 w 736968"/>
              <a:gd name="connsiteY292" fmla="*/ 182399 h 614713"/>
              <a:gd name="connsiteX293" fmla="*/ 55401 w 736968"/>
              <a:gd name="connsiteY293" fmla="*/ 182597 h 614713"/>
              <a:gd name="connsiteX294" fmla="*/ 56113 w 736968"/>
              <a:gd name="connsiteY294" fmla="*/ 182391 h 614713"/>
              <a:gd name="connsiteX295" fmla="*/ 56284 w 736968"/>
              <a:gd name="connsiteY295" fmla="*/ 182203 h 614713"/>
              <a:gd name="connsiteX296" fmla="*/ 88132 w 736968"/>
              <a:gd name="connsiteY296" fmla="*/ 149169 h 614713"/>
              <a:gd name="connsiteX297" fmla="*/ 115313 w 736968"/>
              <a:gd name="connsiteY297" fmla="*/ 126315 h 614713"/>
              <a:gd name="connsiteX298" fmla="*/ 136113 w 736968"/>
              <a:gd name="connsiteY298" fmla="*/ 85630 h 614713"/>
              <a:gd name="connsiteX299" fmla="*/ 136387 w 736968"/>
              <a:gd name="connsiteY299" fmla="*/ 83650 h 614713"/>
              <a:gd name="connsiteX300" fmla="*/ 135332 w 736968"/>
              <a:gd name="connsiteY300" fmla="*/ 83950 h 614713"/>
              <a:gd name="connsiteX301" fmla="*/ 131713 w 736968"/>
              <a:gd name="connsiteY301" fmla="*/ 88698 h 614713"/>
              <a:gd name="connsiteX302" fmla="*/ 108056 w 736968"/>
              <a:gd name="connsiteY302" fmla="*/ 109914 h 614713"/>
              <a:gd name="connsiteX303" fmla="*/ 71748 w 736968"/>
              <a:gd name="connsiteY303" fmla="*/ 139923 h 614713"/>
              <a:gd name="connsiteX304" fmla="*/ 71534 w 736968"/>
              <a:gd name="connsiteY304" fmla="*/ 140214 h 614713"/>
              <a:gd name="connsiteX305" fmla="*/ 70557 w 736968"/>
              <a:gd name="connsiteY305" fmla="*/ 139820 h 614713"/>
              <a:gd name="connsiteX306" fmla="*/ 76397 w 736968"/>
              <a:gd name="connsiteY306" fmla="*/ 117524 h 614713"/>
              <a:gd name="connsiteX307" fmla="*/ 85799 w 736968"/>
              <a:gd name="connsiteY307" fmla="*/ 76187 h 614713"/>
              <a:gd name="connsiteX308" fmla="*/ 98870 w 736968"/>
              <a:gd name="connsiteY308" fmla="*/ 57360 h 614713"/>
              <a:gd name="connsiteX309" fmla="*/ 99008 w 736968"/>
              <a:gd name="connsiteY309" fmla="*/ 57207 h 614713"/>
              <a:gd name="connsiteX310" fmla="*/ 99085 w 736968"/>
              <a:gd name="connsiteY310" fmla="*/ 56016 h 614713"/>
              <a:gd name="connsiteX311" fmla="*/ 95954 w 736968"/>
              <a:gd name="connsiteY311" fmla="*/ 57198 h 614713"/>
              <a:gd name="connsiteX312" fmla="*/ 60436 w 736968"/>
              <a:gd name="connsiteY312" fmla="*/ 95964 h 614713"/>
              <a:gd name="connsiteX313" fmla="*/ 54534 w 736968"/>
              <a:gd name="connsiteY313" fmla="*/ 128347 h 614713"/>
              <a:gd name="connsiteX314" fmla="*/ 54817 w 736968"/>
              <a:gd name="connsiteY314" fmla="*/ 139452 h 614713"/>
              <a:gd name="connsiteX315" fmla="*/ 55709 w 736968"/>
              <a:gd name="connsiteY315" fmla="*/ 171783 h 614713"/>
              <a:gd name="connsiteX316" fmla="*/ 90430 w 736968"/>
              <a:gd name="connsiteY316" fmla="*/ 107892 h 614713"/>
              <a:gd name="connsiteX317" fmla="*/ 90816 w 736968"/>
              <a:gd name="connsiteY317" fmla="*/ 107918 h 614713"/>
              <a:gd name="connsiteX318" fmla="*/ 91014 w 736968"/>
              <a:gd name="connsiteY318" fmla="*/ 107764 h 614713"/>
              <a:gd name="connsiteX319" fmla="*/ 120142 w 736968"/>
              <a:gd name="connsiteY319" fmla="*/ 83702 h 614713"/>
              <a:gd name="connsiteX320" fmla="*/ 143550 w 736968"/>
              <a:gd name="connsiteY320" fmla="*/ 54833 h 614713"/>
              <a:gd name="connsiteX321" fmla="*/ 168338 w 736968"/>
              <a:gd name="connsiteY321" fmla="*/ 25321 h 614713"/>
              <a:gd name="connsiteX322" fmla="*/ 170533 w 736968"/>
              <a:gd name="connsiteY322" fmla="*/ 23410 h 614713"/>
              <a:gd name="connsiteX323" fmla="*/ 170654 w 736968"/>
              <a:gd name="connsiteY323" fmla="*/ 22288 h 614713"/>
              <a:gd name="connsiteX324" fmla="*/ 123788 w 736968"/>
              <a:gd name="connsiteY324" fmla="*/ 44936 h 614713"/>
              <a:gd name="connsiteX325" fmla="*/ 90465 w 736968"/>
              <a:gd name="connsiteY325" fmla="*/ 107686 h 614713"/>
              <a:gd name="connsiteX326" fmla="*/ 90430 w 736968"/>
              <a:gd name="connsiteY326" fmla="*/ 107892 h 614713"/>
              <a:gd name="connsiteX327" fmla="*/ 361962 w 736968"/>
              <a:gd name="connsiteY327" fmla="*/ 317499 h 614713"/>
              <a:gd name="connsiteX328" fmla="*/ 357913 w 736968"/>
              <a:gd name="connsiteY328" fmla="*/ 317798 h 614713"/>
              <a:gd name="connsiteX329" fmla="*/ 361962 w 736968"/>
              <a:gd name="connsiteY329" fmla="*/ 317499 h 614713"/>
              <a:gd name="connsiteX330" fmla="*/ 413348 w 736968"/>
              <a:gd name="connsiteY330" fmla="*/ 198801 h 614713"/>
              <a:gd name="connsiteX331" fmla="*/ 405209 w 736968"/>
              <a:gd name="connsiteY331" fmla="*/ 208483 h 614713"/>
              <a:gd name="connsiteX332" fmla="*/ 413348 w 736968"/>
              <a:gd name="connsiteY332" fmla="*/ 198801 h 614713"/>
              <a:gd name="connsiteX333" fmla="*/ 414961 w 736968"/>
              <a:gd name="connsiteY333" fmla="*/ 197181 h 614713"/>
              <a:gd name="connsiteX334" fmla="*/ 420150 w 736968"/>
              <a:gd name="connsiteY334" fmla="*/ 194336 h 614713"/>
              <a:gd name="connsiteX335" fmla="*/ 413254 w 736968"/>
              <a:gd name="connsiteY335" fmla="*/ 192545 h 614713"/>
              <a:gd name="connsiteX336" fmla="*/ 414961 w 736968"/>
              <a:gd name="connsiteY336" fmla="*/ 197181 h 614713"/>
              <a:gd name="connsiteX337" fmla="*/ 505468 w 736968"/>
              <a:gd name="connsiteY337" fmla="*/ 276444 h 614713"/>
              <a:gd name="connsiteX338" fmla="*/ 501274 w 736968"/>
              <a:gd name="connsiteY338" fmla="*/ 280001 h 614713"/>
              <a:gd name="connsiteX339" fmla="*/ 505633 w 736968"/>
              <a:gd name="connsiteY339" fmla="*/ 281003 h 614713"/>
              <a:gd name="connsiteX340" fmla="*/ 505468 w 736968"/>
              <a:gd name="connsiteY340" fmla="*/ 276444 h 614713"/>
              <a:gd name="connsiteX341" fmla="*/ 472669 w 736968"/>
              <a:gd name="connsiteY341" fmla="*/ 191097 h 614713"/>
              <a:gd name="connsiteX342" fmla="*/ 472077 w 736968"/>
              <a:gd name="connsiteY342" fmla="*/ 194362 h 614713"/>
              <a:gd name="connsiteX343" fmla="*/ 477018 w 736968"/>
              <a:gd name="connsiteY343" fmla="*/ 193599 h 614713"/>
              <a:gd name="connsiteX344" fmla="*/ 479642 w 736968"/>
              <a:gd name="connsiteY344" fmla="*/ 189640 h 614713"/>
              <a:gd name="connsiteX345" fmla="*/ 478081 w 736968"/>
              <a:gd name="connsiteY345" fmla="*/ 183505 h 614713"/>
              <a:gd name="connsiteX346" fmla="*/ 483004 w 736968"/>
              <a:gd name="connsiteY346" fmla="*/ 183693 h 614713"/>
              <a:gd name="connsiteX347" fmla="*/ 484849 w 736968"/>
              <a:gd name="connsiteY347" fmla="*/ 180138 h 614713"/>
              <a:gd name="connsiteX348" fmla="*/ 481315 w 736968"/>
              <a:gd name="connsiteY348" fmla="*/ 174782 h 614713"/>
              <a:gd name="connsiteX349" fmla="*/ 475688 w 736968"/>
              <a:gd name="connsiteY349" fmla="*/ 180454 h 614713"/>
              <a:gd name="connsiteX350" fmla="*/ 475722 w 736968"/>
              <a:gd name="connsiteY350" fmla="*/ 184979 h 614713"/>
              <a:gd name="connsiteX351" fmla="*/ 472669 w 736968"/>
              <a:gd name="connsiteY351" fmla="*/ 191097 h 614713"/>
              <a:gd name="connsiteX352" fmla="*/ 517125 w 736968"/>
              <a:gd name="connsiteY352" fmla="*/ 191466 h 614713"/>
              <a:gd name="connsiteX353" fmla="*/ 520995 w 736968"/>
              <a:gd name="connsiteY353" fmla="*/ 203625 h 614713"/>
              <a:gd name="connsiteX354" fmla="*/ 523977 w 736968"/>
              <a:gd name="connsiteY354" fmla="*/ 212254 h 614713"/>
              <a:gd name="connsiteX355" fmla="*/ 524801 w 736968"/>
              <a:gd name="connsiteY355" fmla="*/ 205836 h 614713"/>
              <a:gd name="connsiteX356" fmla="*/ 521252 w 736968"/>
              <a:gd name="connsiteY356" fmla="*/ 191268 h 614713"/>
              <a:gd name="connsiteX357" fmla="*/ 514793 w 736968"/>
              <a:gd name="connsiteY357" fmla="*/ 179177 h 614713"/>
              <a:gd name="connsiteX358" fmla="*/ 517324 w 736968"/>
              <a:gd name="connsiteY358" fmla="*/ 188261 h 614713"/>
              <a:gd name="connsiteX359" fmla="*/ 517125 w 736968"/>
              <a:gd name="connsiteY359" fmla="*/ 191466 h 614713"/>
              <a:gd name="connsiteX360" fmla="*/ 493631 w 736968"/>
              <a:gd name="connsiteY360" fmla="*/ 76958 h 614713"/>
              <a:gd name="connsiteX361" fmla="*/ 492089 w 736968"/>
              <a:gd name="connsiteY361" fmla="*/ 70668 h 614713"/>
              <a:gd name="connsiteX362" fmla="*/ 484780 w 736968"/>
              <a:gd name="connsiteY362" fmla="*/ 70609 h 614713"/>
              <a:gd name="connsiteX363" fmla="*/ 493631 w 736968"/>
              <a:gd name="connsiteY363" fmla="*/ 76958 h 614713"/>
              <a:gd name="connsiteX364" fmla="*/ 392480 w 736968"/>
              <a:gd name="connsiteY364" fmla="*/ 47935 h 614713"/>
              <a:gd name="connsiteX365" fmla="*/ 388234 w 736968"/>
              <a:gd name="connsiteY365" fmla="*/ 38527 h 614713"/>
              <a:gd name="connsiteX366" fmla="*/ 377126 w 736968"/>
              <a:gd name="connsiteY366" fmla="*/ 40703 h 614713"/>
              <a:gd name="connsiteX367" fmla="*/ 383440 w 736968"/>
              <a:gd name="connsiteY367" fmla="*/ 44370 h 614713"/>
              <a:gd name="connsiteX368" fmla="*/ 393183 w 736968"/>
              <a:gd name="connsiteY368" fmla="*/ 49649 h 614713"/>
              <a:gd name="connsiteX369" fmla="*/ 392480 w 736968"/>
              <a:gd name="connsiteY369" fmla="*/ 47935 h 614713"/>
              <a:gd name="connsiteX370" fmla="*/ 419275 w 736968"/>
              <a:gd name="connsiteY370" fmla="*/ 34465 h 614713"/>
              <a:gd name="connsiteX371" fmla="*/ 391570 w 736968"/>
              <a:gd name="connsiteY371" fmla="*/ 37686 h 614713"/>
              <a:gd name="connsiteX372" fmla="*/ 407696 w 736968"/>
              <a:gd name="connsiteY372" fmla="*/ 37712 h 614713"/>
              <a:gd name="connsiteX373" fmla="*/ 419275 w 736968"/>
              <a:gd name="connsiteY373" fmla="*/ 34465 h 614713"/>
              <a:gd name="connsiteX374" fmla="*/ 353873 w 736968"/>
              <a:gd name="connsiteY374" fmla="*/ 294294 h 614713"/>
              <a:gd name="connsiteX375" fmla="*/ 352124 w 736968"/>
              <a:gd name="connsiteY375" fmla="*/ 294388 h 614713"/>
              <a:gd name="connsiteX376" fmla="*/ 352535 w 736968"/>
              <a:gd name="connsiteY376" fmla="*/ 297721 h 614713"/>
              <a:gd name="connsiteX377" fmla="*/ 358068 w 736968"/>
              <a:gd name="connsiteY377" fmla="*/ 297790 h 614713"/>
              <a:gd name="connsiteX378" fmla="*/ 357750 w 736968"/>
              <a:gd name="connsiteY378" fmla="*/ 294911 h 614713"/>
              <a:gd name="connsiteX379" fmla="*/ 353873 w 736968"/>
              <a:gd name="connsiteY379" fmla="*/ 294294 h 614713"/>
              <a:gd name="connsiteX380" fmla="*/ 345262 w 736968"/>
              <a:gd name="connsiteY380" fmla="*/ 249872 h 614713"/>
              <a:gd name="connsiteX381" fmla="*/ 348109 w 736968"/>
              <a:gd name="connsiteY381" fmla="*/ 248544 h 614713"/>
              <a:gd name="connsiteX382" fmla="*/ 350176 w 736968"/>
              <a:gd name="connsiteY382" fmla="*/ 249941 h 614713"/>
              <a:gd name="connsiteX383" fmla="*/ 348015 w 736968"/>
              <a:gd name="connsiteY383" fmla="*/ 245168 h 614713"/>
              <a:gd name="connsiteX384" fmla="*/ 345262 w 736968"/>
              <a:gd name="connsiteY384" fmla="*/ 249871 h 614713"/>
              <a:gd name="connsiteX385" fmla="*/ 352998 w 736968"/>
              <a:gd name="connsiteY385" fmla="*/ 254807 h 614713"/>
              <a:gd name="connsiteX386" fmla="*/ 347775 w 736968"/>
              <a:gd name="connsiteY386" fmla="*/ 256213 h 614713"/>
              <a:gd name="connsiteX387" fmla="*/ 345502 w 736968"/>
              <a:gd name="connsiteY387" fmla="*/ 251971 h 614713"/>
              <a:gd name="connsiteX388" fmla="*/ 342311 w 736968"/>
              <a:gd name="connsiteY388" fmla="*/ 256564 h 614713"/>
              <a:gd name="connsiteX389" fmla="*/ 343778 w 736968"/>
              <a:gd name="connsiteY389" fmla="*/ 260917 h 614713"/>
              <a:gd name="connsiteX390" fmla="*/ 356558 w 736968"/>
              <a:gd name="connsiteY390" fmla="*/ 262614 h 614713"/>
              <a:gd name="connsiteX391" fmla="*/ 352998 w 736968"/>
              <a:gd name="connsiteY391" fmla="*/ 254807 h 614713"/>
              <a:gd name="connsiteX392" fmla="*/ 311699 w 736968"/>
              <a:gd name="connsiteY392" fmla="*/ 299290 h 614713"/>
              <a:gd name="connsiteX393" fmla="*/ 312960 w 736968"/>
              <a:gd name="connsiteY393" fmla="*/ 293257 h 614713"/>
              <a:gd name="connsiteX394" fmla="*/ 308251 w 736968"/>
              <a:gd name="connsiteY394" fmla="*/ 293685 h 614713"/>
              <a:gd name="connsiteX395" fmla="*/ 311699 w 736968"/>
              <a:gd name="connsiteY395" fmla="*/ 299290 h 614713"/>
              <a:gd name="connsiteX396" fmla="*/ 257567 w 736968"/>
              <a:gd name="connsiteY396" fmla="*/ 298887 h 614713"/>
              <a:gd name="connsiteX397" fmla="*/ 256366 w 736968"/>
              <a:gd name="connsiteY397" fmla="*/ 291072 h 614713"/>
              <a:gd name="connsiteX398" fmla="*/ 254437 w 736968"/>
              <a:gd name="connsiteY398" fmla="*/ 291835 h 614713"/>
              <a:gd name="connsiteX399" fmla="*/ 252961 w 736968"/>
              <a:gd name="connsiteY399" fmla="*/ 289401 h 614713"/>
              <a:gd name="connsiteX400" fmla="*/ 254171 w 736968"/>
              <a:gd name="connsiteY400" fmla="*/ 295793 h 614713"/>
              <a:gd name="connsiteX401" fmla="*/ 257567 w 736968"/>
              <a:gd name="connsiteY401" fmla="*/ 298887 h 614713"/>
              <a:gd name="connsiteX402" fmla="*/ 256264 w 736968"/>
              <a:gd name="connsiteY402" fmla="*/ 286530 h 614713"/>
              <a:gd name="connsiteX403" fmla="*/ 258116 w 736968"/>
              <a:gd name="connsiteY403" fmla="*/ 274216 h 614713"/>
              <a:gd name="connsiteX404" fmla="*/ 255664 w 736968"/>
              <a:gd name="connsiteY404" fmla="*/ 268158 h 614713"/>
              <a:gd name="connsiteX405" fmla="*/ 256032 w 736968"/>
              <a:gd name="connsiteY405" fmla="*/ 273531 h 614713"/>
              <a:gd name="connsiteX406" fmla="*/ 253973 w 736968"/>
              <a:gd name="connsiteY406" fmla="*/ 283660 h 614713"/>
              <a:gd name="connsiteX407" fmla="*/ 256264 w 736968"/>
              <a:gd name="connsiteY407" fmla="*/ 286530 h 614713"/>
              <a:gd name="connsiteX408" fmla="*/ 111728 w 736968"/>
              <a:gd name="connsiteY408" fmla="*/ 256564 h 614713"/>
              <a:gd name="connsiteX409" fmla="*/ 186908 w 736968"/>
              <a:gd name="connsiteY409" fmla="*/ 75107 h 614713"/>
              <a:gd name="connsiteX410" fmla="*/ 368541 w 736968"/>
              <a:gd name="connsiteY410" fmla="*/ 0 h 614713"/>
              <a:gd name="connsiteX411" fmla="*/ 550172 w 736968"/>
              <a:gd name="connsiteY411" fmla="*/ 75107 h 614713"/>
              <a:gd name="connsiteX412" fmla="*/ 625352 w 736968"/>
              <a:gd name="connsiteY412" fmla="*/ 256564 h 614713"/>
              <a:gd name="connsiteX413" fmla="*/ 550172 w 736968"/>
              <a:gd name="connsiteY413" fmla="*/ 438021 h 614713"/>
              <a:gd name="connsiteX414" fmla="*/ 368541 w 736968"/>
              <a:gd name="connsiteY414" fmla="*/ 513127 h 614713"/>
              <a:gd name="connsiteX415" fmla="*/ 186908 w 736968"/>
              <a:gd name="connsiteY415" fmla="*/ 438021 h 614713"/>
              <a:gd name="connsiteX416" fmla="*/ 111728 w 736968"/>
              <a:gd name="connsiteY416" fmla="*/ 256564 h 614713"/>
              <a:gd name="connsiteX417" fmla="*/ 190836 w 736968"/>
              <a:gd name="connsiteY417" fmla="*/ 426350 h 614713"/>
              <a:gd name="connsiteX418" fmla="*/ 218738 w 736968"/>
              <a:gd name="connsiteY418" fmla="*/ 398475 h 614713"/>
              <a:gd name="connsiteX419" fmla="*/ 203299 w 736968"/>
              <a:gd name="connsiteY419" fmla="*/ 380215 h 614713"/>
              <a:gd name="connsiteX420" fmla="*/ 197432 w 736968"/>
              <a:gd name="connsiteY420" fmla="*/ 376291 h 614713"/>
              <a:gd name="connsiteX421" fmla="*/ 192663 w 736968"/>
              <a:gd name="connsiteY421" fmla="*/ 368964 h 614713"/>
              <a:gd name="connsiteX422" fmla="*/ 190030 w 736968"/>
              <a:gd name="connsiteY422" fmla="*/ 372100 h 614713"/>
              <a:gd name="connsiteX423" fmla="*/ 179788 w 736968"/>
              <a:gd name="connsiteY423" fmla="*/ 360892 h 614713"/>
              <a:gd name="connsiteX424" fmla="*/ 172043 w 736968"/>
              <a:gd name="connsiteY424" fmla="*/ 353719 h 614713"/>
              <a:gd name="connsiteX425" fmla="*/ 169110 w 736968"/>
              <a:gd name="connsiteY425" fmla="*/ 351483 h 614713"/>
              <a:gd name="connsiteX426" fmla="*/ 158963 w 736968"/>
              <a:gd name="connsiteY426" fmla="*/ 345468 h 614713"/>
              <a:gd name="connsiteX427" fmla="*/ 157788 w 736968"/>
              <a:gd name="connsiteY427" fmla="*/ 349023 h 614713"/>
              <a:gd name="connsiteX428" fmla="*/ 148318 w 736968"/>
              <a:gd name="connsiteY428" fmla="*/ 342486 h 614713"/>
              <a:gd name="connsiteX429" fmla="*/ 145822 w 736968"/>
              <a:gd name="connsiteY429" fmla="*/ 346968 h 614713"/>
              <a:gd name="connsiteX430" fmla="*/ 147743 w 736968"/>
              <a:gd name="connsiteY430" fmla="*/ 356470 h 614713"/>
              <a:gd name="connsiteX431" fmla="*/ 139938 w 736968"/>
              <a:gd name="connsiteY431" fmla="*/ 335939 h 614713"/>
              <a:gd name="connsiteX432" fmla="*/ 141868 w 736968"/>
              <a:gd name="connsiteY432" fmla="*/ 336205 h 614713"/>
              <a:gd name="connsiteX433" fmla="*/ 140548 w 736968"/>
              <a:gd name="connsiteY433" fmla="*/ 331911 h 614713"/>
              <a:gd name="connsiteX434" fmla="*/ 137828 w 736968"/>
              <a:gd name="connsiteY434" fmla="*/ 327019 h 614713"/>
              <a:gd name="connsiteX435" fmla="*/ 141243 w 736968"/>
              <a:gd name="connsiteY435" fmla="*/ 324105 h 614713"/>
              <a:gd name="connsiteX436" fmla="*/ 142545 w 736968"/>
              <a:gd name="connsiteY436" fmla="*/ 320584 h 614713"/>
              <a:gd name="connsiteX437" fmla="*/ 147126 w 736968"/>
              <a:gd name="connsiteY437" fmla="*/ 317070 h 614713"/>
              <a:gd name="connsiteX438" fmla="*/ 149494 w 736968"/>
              <a:gd name="connsiteY438" fmla="*/ 319109 h 614713"/>
              <a:gd name="connsiteX439" fmla="*/ 156896 w 736968"/>
              <a:gd name="connsiteY439" fmla="*/ 320592 h 614713"/>
              <a:gd name="connsiteX440" fmla="*/ 154185 w 736968"/>
              <a:gd name="connsiteY440" fmla="*/ 318484 h 614713"/>
              <a:gd name="connsiteX441" fmla="*/ 160395 w 736968"/>
              <a:gd name="connsiteY441" fmla="*/ 318621 h 614713"/>
              <a:gd name="connsiteX442" fmla="*/ 165979 w 736968"/>
              <a:gd name="connsiteY442" fmla="*/ 318235 h 614713"/>
              <a:gd name="connsiteX443" fmla="*/ 172198 w 736968"/>
              <a:gd name="connsiteY443" fmla="*/ 320626 h 614713"/>
              <a:gd name="connsiteX444" fmla="*/ 162068 w 736968"/>
              <a:gd name="connsiteY444" fmla="*/ 262048 h 614713"/>
              <a:gd name="connsiteX445" fmla="*/ 122766 w 736968"/>
              <a:gd name="connsiteY445" fmla="*/ 262048 h 614713"/>
              <a:gd name="connsiteX446" fmla="*/ 190836 w 736968"/>
              <a:gd name="connsiteY446" fmla="*/ 426350 h 614713"/>
              <a:gd name="connsiteX447" fmla="*/ 352955 w 736968"/>
              <a:gd name="connsiteY447" fmla="*/ 198903 h 614713"/>
              <a:gd name="connsiteX448" fmla="*/ 348924 w 736968"/>
              <a:gd name="connsiteY448" fmla="*/ 204422 h 614713"/>
              <a:gd name="connsiteX449" fmla="*/ 363051 w 736968"/>
              <a:gd name="connsiteY449" fmla="*/ 201149 h 614713"/>
              <a:gd name="connsiteX450" fmla="*/ 363051 w 736968"/>
              <a:gd name="connsiteY450" fmla="*/ 161783 h 614713"/>
              <a:gd name="connsiteX451" fmla="*/ 305369 w 736968"/>
              <a:gd name="connsiteY451" fmla="*/ 185707 h 614713"/>
              <a:gd name="connsiteX452" fmla="*/ 333185 w 736968"/>
              <a:gd name="connsiteY452" fmla="*/ 213496 h 614713"/>
              <a:gd name="connsiteX453" fmla="*/ 343598 w 736968"/>
              <a:gd name="connsiteY453" fmla="*/ 206727 h 614713"/>
              <a:gd name="connsiteX454" fmla="*/ 346531 w 736968"/>
              <a:gd name="connsiteY454" fmla="*/ 205382 h 614713"/>
              <a:gd name="connsiteX455" fmla="*/ 352955 w 736968"/>
              <a:gd name="connsiteY455" fmla="*/ 198903 h 614713"/>
              <a:gd name="connsiteX456" fmla="*/ 255835 w 736968"/>
              <a:gd name="connsiteY456" fmla="*/ 345674 h 614713"/>
              <a:gd name="connsiteX457" fmla="*/ 255646 w 736968"/>
              <a:gd name="connsiteY457" fmla="*/ 347953 h 614713"/>
              <a:gd name="connsiteX458" fmla="*/ 261968 w 736968"/>
              <a:gd name="connsiteY458" fmla="*/ 355279 h 614713"/>
              <a:gd name="connsiteX459" fmla="*/ 289835 w 736968"/>
              <a:gd name="connsiteY459" fmla="*/ 327438 h 614713"/>
              <a:gd name="connsiteX460" fmla="*/ 264095 w 736968"/>
              <a:gd name="connsiteY460" fmla="*/ 274679 h 614713"/>
              <a:gd name="connsiteX461" fmla="*/ 262053 w 736968"/>
              <a:gd name="connsiteY461" fmla="*/ 273985 h 614713"/>
              <a:gd name="connsiteX462" fmla="*/ 263512 w 736968"/>
              <a:gd name="connsiteY462" fmla="*/ 271020 h 614713"/>
              <a:gd name="connsiteX463" fmla="*/ 262663 w 736968"/>
              <a:gd name="connsiteY463" fmla="*/ 262048 h 614713"/>
              <a:gd name="connsiteX464" fmla="*/ 244110 w 736968"/>
              <a:gd name="connsiteY464" fmla="*/ 262048 h 614713"/>
              <a:gd name="connsiteX465" fmla="*/ 243535 w 736968"/>
              <a:gd name="connsiteY465" fmla="*/ 270729 h 614713"/>
              <a:gd name="connsiteX466" fmla="*/ 238208 w 736968"/>
              <a:gd name="connsiteY466" fmla="*/ 270909 h 614713"/>
              <a:gd name="connsiteX467" fmla="*/ 234777 w 736968"/>
              <a:gd name="connsiteY467" fmla="*/ 278595 h 614713"/>
              <a:gd name="connsiteX468" fmla="*/ 235910 w 736968"/>
              <a:gd name="connsiteY468" fmla="*/ 284191 h 614713"/>
              <a:gd name="connsiteX469" fmla="*/ 237659 w 736968"/>
              <a:gd name="connsiteY469" fmla="*/ 289392 h 614713"/>
              <a:gd name="connsiteX470" fmla="*/ 244822 w 736968"/>
              <a:gd name="connsiteY470" fmla="*/ 297832 h 614713"/>
              <a:gd name="connsiteX471" fmla="*/ 241280 w 736968"/>
              <a:gd name="connsiteY471" fmla="*/ 298981 h 614713"/>
              <a:gd name="connsiteX472" fmla="*/ 245259 w 736968"/>
              <a:gd name="connsiteY472" fmla="*/ 303505 h 614713"/>
              <a:gd name="connsiteX473" fmla="*/ 246666 w 736968"/>
              <a:gd name="connsiteY473" fmla="*/ 311492 h 614713"/>
              <a:gd name="connsiteX474" fmla="*/ 250182 w 736968"/>
              <a:gd name="connsiteY474" fmla="*/ 322931 h 614713"/>
              <a:gd name="connsiteX475" fmla="*/ 251049 w 736968"/>
              <a:gd name="connsiteY475" fmla="*/ 334568 h 614713"/>
              <a:gd name="connsiteX476" fmla="*/ 255835 w 736968"/>
              <a:gd name="connsiteY476" fmla="*/ 345674 h 614713"/>
              <a:gd name="connsiteX477" fmla="*/ 232668 w 736968"/>
              <a:gd name="connsiteY477" fmla="*/ 279444 h 614713"/>
              <a:gd name="connsiteX478" fmla="*/ 234752 w 736968"/>
              <a:gd name="connsiteY478" fmla="*/ 267901 h 614713"/>
              <a:gd name="connsiteX479" fmla="*/ 239855 w 736968"/>
              <a:gd name="connsiteY479" fmla="*/ 262048 h 614713"/>
              <a:gd name="connsiteX480" fmla="*/ 223344 w 736968"/>
              <a:gd name="connsiteY480" fmla="*/ 262048 h 614713"/>
              <a:gd name="connsiteX481" fmla="*/ 226534 w 736968"/>
              <a:gd name="connsiteY481" fmla="*/ 287455 h 614713"/>
              <a:gd name="connsiteX482" fmla="*/ 232668 w 736968"/>
              <a:gd name="connsiteY482" fmla="*/ 279444 h 614713"/>
              <a:gd name="connsiteX483" fmla="*/ 222306 w 736968"/>
              <a:gd name="connsiteY483" fmla="*/ 385519 h 614713"/>
              <a:gd name="connsiteX484" fmla="*/ 221912 w 736968"/>
              <a:gd name="connsiteY484" fmla="*/ 385691 h 614713"/>
              <a:gd name="connsiteX485" fmla="*/ 226501 w 736968"/>
              <a:gd name="connsiteY485" fmla="*/ 390720 h 614713"/>
              <a:gd name="connsiteX486" fmla="*/ 229649 w 736968"/>
              <a:gd name="connsiteY486" fmla="*/ 387576 h 614713"/>
              <a:gd name="connsiteX487" fmla="*/ 222306 w 736968"/>
              <a:gd name="connsiteY487" fmla="*/ 385519 h 614713"/>
              <a:gd name="connsiteX488" fmla="*/ 289835 w 736968"/>
              <a:gd name="connsiteY488" fmla="*/ 185690 h 614713"/>
              <a:gd name="connsiteX489" fmla="*/ 262045 w 736968"/>
              <a:gd name="connsiteY489" fmla="*/ 157926 h 614713"/>
              <a:gd name="connsiteX490" fmla="*/ 223352 w 736968"/>
              <a:gd name="connsiteY490" fmla="*/ 251080 h 614713"/>
              <a:gd name="connsiteX491" fmla="*/ 242823 w 736968"/>
              <a:gd name="connsiteY491" fmla="*/ 251080 h 614713"/>
              <a:gd name="connsiteX492" fmla="*/ 246066 w 736968"/>
              <a:gd name="connsiteY492" fmla="*/ 238792 h 614713"/>
              <a:gd name="connsiteX493" fmla="*/ 250440 w 736968"/>
              <a:gd name="connsiteY493" fmla="*/ 230609 h 614713"/>
              <a:gd name="connsiteX494" fmla="*/ 256504 w 736968"/>
              <a:gd name="connsiteY494" fmla="*/ 225690 h 614713"/>
              <a:gd name="connsiteX495" fmla="*/ 268452 w 736968"/>
              <a:gd name="connsiteY495" fmla="*/ 220498 h 614713"/>
              <a:gd name="connsiteX496" fmla="*/ 278788 w 736968"/>
              <a:gd name="connsiteY496" fmla="*/ 215467 h 614713"/>
              <a:gd name="connsiteX497" fmla="*/ 263623 w 736968"/>
              <a:gd name="connsiteY497" fmla="*/ 218518 h 614713"/>
              <a:gd name="connsiteX498" fmla="*/ 270262 w 736968"/>
              <a:gd name="connsiteY498" fmla="*/ 214884 h 614713"/>
              <a:gd name="connsiteX499" fmla="*/ 271488 w 736968"/>
              <a:gd name="connsiteY499" fmla="*/ 214054 h 614713"/>
              <a:gd name="connsiteX500" fmla="*/ 289835 w 736968"/>
              <a:gd name="connsiteY500" fmla="*/ 185690 h 614713"/>
              <a:gd name="connsiteX501" fmla="*/ 284826 w 736968"/>
              <a:gd name="connsiteY501" fmla="*/ 211672 h 614713"/>
              <a:gd name="connsiteX502" fmla="*/ 285975 w 736968"/>
              <a:gd name="connsiteY502" fmla="*/ 211106 h 614713"/>
              <a:gd name="connsiteX503" fmla="*/ 299682 w 736968"/>
              <a:gd name="connsiteY503" fmla="*/ 210060 h 614713"/>
              <a:gd name="connsiteX504" fmla="*/ 309520 w 736968"/>
              <a:gd name="connsiteY504" fmla="*/ 216907 h 614713"/>
              <a:gd name="connsiteX505" fmla="*/ 314847 w 736968"/>
              <a:gd name="connsiteY505" fmla="*/ 215733 h 614713"/>
              <a:gd name="connsiteX506" fmla="*/ 319333 w 736968"/>
              <a:gd name="connsiteY506" fmla="*/ 217524 h 614713"/>
              <a:gd name="connsiteX507" fmla="*/ 321829 w 736968"/>
              <a:gd name="connsiteY507" fmla="*/ 217652 h 614713"/>
              <a:gd name="connsiteX508" fmla="*/ 297606 w 736968"/>
              <a:gd name="connsiteY508" fmla="*/ 193462 h 614713"/>
              <a:gd name="connsiteX509" fmla="*/ 284826 w 736968"/>
              <a:gd name="connsiteY509" fmla="*/ 211672 h 614713"/>
              <a:gd name="connsiteX510" fmla="*/ 257550 w 736968"/>
              <a:gd name="connsiteY510" fmla="*/ 241568 h 614713"/>
              <a:gd name="connsiteX511" fmla="*/ 249694 w 736968"/>
              <a:gd name="connsiteY511" fmla="*/ 245202 h 614713"/>
              <a:gd name="connsiteX512" fmla="*/ 248604 w 736968"/>
              <a:gd name="connsiteY512" fmla="*/ 251080 h 614713"/>
              <a:gd name="connsiteX513" fmla="*/ 262663 w 736968"/>
              <a:gd name="connsiteY513" fmla="*/ 251080 h 614713"/>
              <a:gd name="connsiteX514" fmla="*/ 263366 w 736968"/>
              <a:gd name="connsiteY514" fmla="*/ 243196 h 614713"/>
              <a:gd name="connsiteX515" fmla="*/ 257550 w 736968"/>
              <a:gd name="connsiteY515" fmla="*/ 241568 h 614713"/>
              <a:gd name="connsiteX516" fmla="*/ 297615 w 736968"/>
              <a:gd name="connsiteY516" fmla="*/ 319675 h 614713"/>
              <a:gd name="connsiteX517" fmla="*/ 325448 w 736968"/>
              <a:gd name="connsiteY517" fmla="*/ 291860 h 614713"/>
              <a:gd name="connsiteX518" fmla="*/ 319469 w 736968"/>
              <a:gd name="connsiteY518" fmla="*/ 282948 h 614713"/>
              <a:gd name="connsiteX519" fmla="*/ 319461 w 736968"/>
              <a:gd name="connsiteY519" fmla="*/ 282965 h 614713"/>
              <a:gd name="connsiteX520" fmla="*/ 318432 w 736968"/>
              <a:gd name="connsiteY520" fmla="*/ 284474 h 614713"/>
              <a:gd name="connsiteX521" fmla="*/ 316880 w 736968"/>
              <a:gd name="connsiteY521" fmla="*/ 291629 h 614713"/>
              <a:gd name="connsiteX522" fmla="*/ 306801 w 736968"/>
              <a:gd name="connsiteY522" fmla="*/ 285965 h 614713"/>
              <a:gd name="connsiteX523" fmla="*/ 303147 w 736968"/>
              <a:gd name="connsiteY523" fmla="*/ 288792 h 614713"/>
              <a:gd name="connsiteX524" fmla="*/ 302135 w 736968"/>
              <a:gd name="connsiteY524" fmla="*/ 291946 h 614713"/>
              <a:gd name="connsiteX525" fmla="*/ 298627 w 736968"/>
              <a:gd name="connsiteY525" fmla="*/ 288158 h 614713"/>
              <a:gd name="connsiteX526" fmla="*/ 296946 w 736968"/>
              <a:gd name="connsiteY526" fmla="*/ 284336 h 614713"/>
              <a:gd name="connsiteX527" fmla="*/ 291010 w 736968"/>
              <a:gd name="connsiteY527" fmla="*/ 282400 h 614713"/>
              <a:gd name="connsiteX528" fmla="*/ 286104 w 736968"/>
              <a:gd name="connsiteY528" fmla="*/ 278758 h 614713"/>
              <a:gd name="connsiteX529" fmla="*/ 281018 w 736968"/>
              <a:gd name="connsiteY529" fmla="*/ 278381 h 614713"/>
              <a:gd name="connsiteX530" fmla="*/ 277038 w 736968"/>
              <a:gd name="connsiteY530" fmla="*/ 276573 h 614713"/>
              <a:gd name="connsiteX531" fmla="*/ 275254 w 736968"/>
              <a:gd name="connsiteY531" fmla="*/ 274705 h 614713"/>
              <a:gd name="connsiteX532" fmla="*/ 297615 w 736968"/>
              <a:gd name="connsiteY532" fmla="*/ 319675 h 614713"/>
              <a:gd name="connsiteX533" fmla="*/ 325474 w 736968"/>
              <a:gd name="connsiteY533" fmla="*/ 271646 h 614713"/>
              <a:gd name="connsiteX534" fmla="*/ 325526 w 736968"/>
              <a:gd name="connsiteY534" fmla="*/ 270909 h 614713"/>
              <a:gd name="connsiteX535" fmla="*/ 325543 w 736968"/>
              <a:gd name="connsiteY535" fmla="*/ 270712 h 614713"/>
              <a:gd name="connsiteX536" fmla="*/ 325602 w 736968"/>
              <a:gd name="connsiteY536" fmla="*/ 270146 h 614713"/>
              <a:gd name="connsiteX537" fmla="*/ 325637 w 736968"/>
              <a:gd name="connsiteY537" fmla="*/ 269906 h 614713"/>
              <a:gd name="connsiteX538" fmla="*/ 325688 w 736968"/>
              <a:gd name="connsiteY538" fmla="*/ 269546 h 614713"/>
              <a:gd name="connsiteX539" fmla="*/ 325723 w 736968"/>
              <a:gd name="connsiteY539" fmla="*/ 269349 h 614713"/>
              <a:gd name="connsiteX540" fmla="*/ 325757 w 736968"/>
              <a:gd name="connsiteY540" fmla="*/ 269135 h 614713"/>
              <a:gd name="connsiteX541" fmla="*/ 325911 w 736968"/>
              <a:gd name="connsiteY541" fmla="*/ 268389 h 614713"/>
              <a:gd name="connsiteX542" fmla="*/ 325911 w 736968"/>
              <a:gd name="connsiteY542" fmla="*/ 268372 h 614713"/>
              <a:gd name="connsiteX543" fmla="*/ 326092 w 736968"/>
              <a:gd name="connsiteY543" fmla="*/ 267695 h 614713"/>
              <a:gd name="connsiteX544" fmla="*/ 326152 w 736968"/>
              <a:gd name="connsiteY544" fmla="*/ 267490 h 614713"/>
              <a:gd name="connsiteX545" fmla="*/ 326306 w 736968"/>
              <a:gd name="connsiteY545" fmla="*/ 267044 h 614713"/>
              <a:gd name="connsiteX546" fmla="*/ 326383 w 736968"/>
              <a:gd name="connsiteY546" fmla="*/ 266838 h 614713"/>
              <a:gd name="connsiteX547" fmla="*/ 326563 w 736968"/>
              <a:gd name="connsiteY547" fmla="*/ 266453 h 614713"/>
              <a:gd name="connsiteX548" fmla="*/ 326641 w 736968"/>
              <a:gd name="connsiteY548" fmla="*/ 266290 h 614713"/>
              <a:gd name="connsiteX549" fmla="*/ 326932 w 736968"/>
              <a:gd name="connsiteY549" fmla="*/ 265845 h 614713"/>
              <a:gd name="connsiteX550" fmla="*/ 328339 w 736968"/>
              <a:gd name="connsiteY550" fmla="*/ 265382 h 614713"/>
              <a:gd name="connsiteX551" fmla="*/ 331735 w 736968"/>
              <a:gd name="connsiteY551" fmla="*/ 266213 h 614713"/>
              <a:gd name="connsiteX552" fmla="*/ 334163 w 736968"/>
              <a:gd name="connsiteY552" fmla="*/ 265064 h 614713"/>
              <a:gd name="connsiteX553" fmla="*/ 335029 w 736968"/>
              <a:gd name="connsiteY553" fmla="*/ 263668 h 614713"/>
              <a:gd name="connsiteX554" fmla="*/ 335415 w 736968"/>
              <a:gd name="connsiteY554" fmla="*/ 262331 h 614713"/>
              <a:gd name="connsiteX555" fmla="*/ 335321 w 736968"/>
              <a:gd name="connsiteY555" fmla="*/ 261825 h 614713"/>
              <a:gd name="connsiteX556" fmla="*/ 333433 w 736968"/>
              <a:gd name="connsiteY556" fmla="*/ 261654 h 614713"/>
              <a:gd name="connsiteX557" fmla="*/ 332748 w 736968"/>
              <a:gd name="connsiteY557" fmla="*/ 261869 h 614713"/>
              <a:gd name="connsiteX558" fmla="*/ 331392 w 736968"/>
              <a:gd name="connsiteY558" fmla="*/ 262100 h 614713"/>
              <a:gd name="connsiteX559" fmla="*/ 330758 w 736968"/>
              <a:gd name="connsiteY559" fmla="*/ 262065 h 614713"/>
              <a:gd name="connsiteX560" fmla="*/ 329188 w 736968"/>
              <a:gd name="connsiteY560" fmla="*/ 261148 h 614713"/>
              <a:gd name="connsiteX561" fmla="*/ 328836 w 736968"/>
              <a:gd name="connsiteY561" fmla="*/ 260488 h 614713"/>
              <a:gd name="connsiteX562" fmla="*/ 328373 w 736968"/>
              <a:gd name="connsiteY562" fmla="*/ 259631 h 614713"/>
              <a:gd name="connsiteX563" fmla="*/ 325594 w 736968"/>
              <a:gd name="connsiteY563" fmla="*/ 257481 h 614713"/>
              <a:gd name="connsiteX564" fmla="*/ 323999 w 736968"/>
              <a:gd name="connsiteY564" fmla="*/ 256376 h 614713"/>
              <a:gd name="connsiteX565" fmla="*/ 323244 w 736968"/>
              <a:gd name="connsiteY565" fmla="*/ 255622 h 614713"/>
              <a:gd name="connsiteX566" fmla="*/ 322661 w 736968"/>
              <a:gd name="connsiteY566" fmla="*/ 254979 h 614713"/>
              <a:gd name="connsiteX567" fmla="*/ 322429 w 736968"/>
              <a:gd name="connsiteY567" fmla="*/ 254765 h 614713"/>
              <a:gd name="connsiteX568" fmla="*/ 322043 w 736968"/>
              <a:gd name="connsiteY568" fmla="*/ 254396 h 614713"/>
              <a:gd name="connsiteX569" fmla="*/ 321751 w 736968"/>
              <a:gd name="connsiteY569" fmla="*/ 254148 h 614713"/>
              <a:gd name="connsiteX570" fmla="*/ 321417 w 736968"/>
              <a:gd name="connsiteY570" fmla="*/ 253882 h 614713"/>
              <a:gd name="connsiteX571" fmla="*/ 321065 w 736968"/>
              <a:gd name="connsiteY571" fmla="*/ 253625 h 614713"/>
              <a:gd name="connsiteX572" fmla="*/ 320765 w 736968"/>
              <a:gd name="connsiteY572" fmla="*/ 253436 h 614713"/>
              <a:gd name="connsiteX573" fmla="*/ 320370 w 736968"/>
              <a:gd name="connsiteY573" fmla="*/ 253205 h 614713"/>
              <a:gd name="connsiteX574" fmla="*/ 320113 w 736968"/>
              <a:gd name="connsiteY574" fmla="*/ 253077 h 614713"/>
              <a:gd name="connsiteX575" fmla="*/ 319667 w 736968"/>
              <a:gd name="connsiteY575" fmla="*/ 252880 h 614713"/>
              <a:gd name="connsiteX576" fmla="*/ 319461 w 736968"/>
              <a:gd name="connsiteY576" fmla="*/ 252811 h 614713"/>
              <a:gd name="connsiteX577" fmla="*/ 318947 w 736968"/>
              <a:gd name="connsiteY577" fmla="*/ 252665 h 614713"/>
              <a:gd name="connsiteX578" fmla="*/ 318843 w 736968"/>
              <a:gd name="connsiteY578" fmla="*/ 252648 h 614713"/>
              <a:gd name="connsiteX579" fmla="*/ 314829 w 736968"/>
              <a:gd name="connsiteY579" fmla="*/ 254028 h 614713"/>
              <a:gd name="connsiteX580" fmla="*/ 314778 w 736968"/>
              <a:gd name="connsiteY580" fmla="*/ 254071 h 614713"/>
              <a:gd name="connsiteX581" fmla="*/ 314152 w 736968"/>
              <a:gd name="connsiteY581" fmla="*/ 254765 h 614713"/>
              <a:gd name="connsiteX582" fmla="*/ 314083 w 736968"/>
              <a:gd name="connsiteY582" fmla="*/ 254842 h 614713"/>
              <a:gd name="connsiteX583" fmla="*/ 313466 w 736968"/>
              <a:gd name="connsiteY583" fmla="*/ 255699 h 614713"/>
              <a:gd name="connsiteX584" fmla="*/ 313414 w 736968"/>
              <a:gd name="connsiteY584" fmla="*/ 255776 h 614713"/>
              <a:gd name="connsiteX585" fmla="*/ 312797 w 736968"/>
              <a:gd name="connsiteY585" fmla="*/ 256830 h 614713"/>
              <a:gd name="connsiteX586" fmla="*/ 311562 w 736968"/>
              <a:gd name="connsiteY586" fmla="*/ 259546 h 614713"/>
              <a:gd name="connsiteX587" fmla="*/ 305283 w 736968"/>
              <a:gd name="connsiteY587" fmla="*/ 268313 h 614713"/>
              <a:gd name="connsiteX588" fmla="*/ 307556 w 736968"/>
              <a:gd name="connsiteY588" fmla="*/ 269006 h 614713"/>
              <a:gd name="connsiteX589" fmla="*/ 309288 w 736968"/>
              <a:gd name="connsiteY589" fmla="*/ 269075 h 614713"/>
              <a:gd name="connsiteX590" fmla="*/ 311253 w 736968"/>
              <a:gd name="connsiteY590" fmla="*/ 269015 h 614713"/>
              <a:gd name="connsiteX591" fmla="*/ 313285 w 736968"/>
              <a:gd name="connsiteY591" fmla="*/ 268835 h 614713"/>
              <a:gd name="connsiteX592" fmla="*/ 314264 w 736968"/>
              <a:gd name="connsiteY592" fmla="*/ 268690 h 614713"/>
              <a:gd name="connsiteX593" fmla="*/ 314829 w 736968"/>
              <a:gd name="connsiteY593" fmla="*/ 268595 h 614713"/>
              <a:gd name="connsiteX594" fmla="*/ 315370 w 736968"/>
              <a:gd name="connsiteY594" fmla="*/ 268484 h 614713"/>
              <a:gd name="connsiteX595" fmla="*/ 315841 w 736968"/>
              <a:gd name="connsiteY595" fmla="*/ 268381 h 614713"/>
              <a:gd name="connsiteX596" fmla="*/ 316425 w 736968"/>
              <a:gd name="connsiteY596" fmla="*/ 268218 h 614713"/>
              <a:gd name="connsiteX597" fmla="*/ 316768 w 736968"/>
              <a:gd name="connsiteY597" fmla="*/ 268115 h 614713"/>
              <a:gd name="connsiteX598" fmla="*/ 317583 w 736968"/>
              <a:gd name="connsiteY598" fmla="*/ 267806 h 614713"/>
              <a:gd name="connsiteX599" fmla="*/ 318878 w 736968"/>
              <a:gd name="connsiteY599" fmla="*/ 267292 h 614713"/>
              <a:gd name="connsiteX600" fmla="*/ 318921 w 736968"/>
              <a:gd name="connsiteY600" fmla="*/ 267284 h 614713"/>
              <a:gd name="connsiteX601" fmla="*/ 320139 w 736968"/>
              <a:gd name="connsiteY601" fmla="*/ 266976 h 614713"/>
              <a:gd name="connsiteX602" fmla="*/ 322335 w 736968"/>
              <a:gd name="connsiteY602" fmla="*/ 267044 h 614713"/>
              <a:gd name="connsiteX603" fmla="*/ 324316 w 736968"/>
              <a:gd name="connsiteY603" fmla="*/ 268509 h 614713"/>
              <a:gd name="connsiteX604" fmla="*/ 325474 w 736968"/>
              <a:gd name="connsiteY604" fmla="*/ 271646 h 614713"/>
              <a:gd name="connsiteX605" fmla="*/ 363051 w 736968"/>
              <a:gd name="connsiteY605" fmla="*/ 150797 h 614713"/>
              <a:gd name="connsiteX606" fmla="*/ 363051 w 736968"/>
              <a:gd name="connsiteY606" fmla="*/ 111517 h 614713"/>
              <a:gd name="connsiteX607" fmla="*/ 269798 w 736968"/>
              <a:gd name="connsiteY607" fmla="*/ 150172 h 614713"/>
              <a:gd name="connsiteX608" fmla="*/ 297598 w 736968"/>
              <a:gd name="connsiteY608" fmla="*/ 177935 h 614713"/>
              <a:gd name="connsiteX609" fmla="*/ 363051 w 736968"/>
              <a:gd name="connsiteY609" fmla="*/ 150797 h 614713"/>
              <a:gd name="connsiteX610" fmla="*/ 363051 w 736968"/>
              <a:gd name="connsiteY610" fmla="*/ 100540 h 614713"/>
              <a:gd name="connsiteX611" fmla="*/ 363051 w 736968"/>
              <a:gd name="connsiteY611" fmla="*/ 61260 h 614713"/>
              <a:gd name="connsiteX612" fmla="*/ 234255 w 736968"/>
              <a:gd name="connsiteY612" fmla="*/ 114662 h 614713"/>
              <a:gd name="connsiteX613" fmla="*/ 262045 w 736968"/>
              <a:gd name="connsiteY613" fmla="*/ 142416 h 614713"/>
              <a:gd name="connsiteX614" fmla="*/ 363051 w 736968"/>
              <a:gd name="connsiteY614" fmla="*/ 100540 h 614713"/>
              <a:gd name="connsiteX615" fmla="*/ 226492 w 736968"/>
              <a:gd name="connsiteY615" fmla="*/ 122408 h 614713"/>
              <a:gd name="connsiteX616" fmla="*/ 173055 w 736968"/>
              <a:gd name="connsiteY616" fmla="*/ 251080 h 614713"/>
              <a:gd name="connsiteX617" fmla="*/ 212365 w 736968"/>
              <a:gd name="connsiteY617" fmla="*/ 251080 h 614713"/>
              <a:gd name="connsiteX618" fmla="*/ 254282 w 736968"/>
              <a:gd name="connsiteY618" fmla="*/ 150172 h 614713"/>
              <a:gd name="connsiteX619" fmla="*/ 226492 w 736968"/>
              <a:gd name="connsiteY619" fmla="*/ 122408 h 614713"/>
              <a:gd name="connsiteX620" fmla="*/ 173055 w 736968"/>
              <a:gd name="connsiteY620" fmla="*/ 262048 h 614713"/>
              <a:gd name="connsiteX621" fmla="*/ 183683 w 736968"/>
              <a:gd name="connsiteY621" fmla="*/ 320369 h 614713"/>
              <a:gd name="connsiteX622" fmla="*/ 184360 w 736968"/>
              <a:gd name="connsiteY622" fmla="*/ 320335 h 614713"/>
              <a:gd name="connsiteX623" fmla="*/ 196197 w 736968"/>
              <a:gd name="connsiteY623" fmla="*/ 318338 h 614713"/>
              <a:gd name="connsiteX624" fmla="*/ 198916 w 736968"/>
              <a:gd name="connsiteY624" fmla="*/ 300241 h 614713"/>
              <a:gd name="connsiteX625" fmla="*/ 211636 w 736968"/>
              <a:gd name="connsiteY625" fmla="*/ 281603 h 614713"/>
              <a:gd name="connsiteX626" fmla="*/ 214552 w 736968"/>
              <a:gd name="connsiteY626" fmla="*/ 283248 h 614713"/>
              <a:gd name="connsiteX627" fmla="*/ 212373 w 736968"/>
              <a:gd name="connsiteY627" fmla="*/ 262048 h 614713"/>
              <a:gd name="connsiteX628" fmla="*/ 173055 w 736968"/>
              <a:gd name="connsiteY628" fmla="*/ 262048 h 614713"/>
              <a:gd name="connsiteX629" fmla="*/ 363051 w 736968"/>
              <a:gd name="connsiteY629" fmla="*/ 462837 h 614713"/>
              <a:gd name="connsiteX630" fmla="*/ 226492 w 736968"/>
              <a:gd name="connsiteY630" fmla="*/ 406230 h 614713"/>
              <a:gd name="connsiteX631" fmla="*/ 198590 w 736968"/>
              <a:gd name="connsiteY631" fmla="*/ 434105 h 614713"/>
              <a:gd name="connsiteX632" fmla="*/ 363051 w 736968"/>
              <a:gd name="connsiteY632" fmla="*/ 502101 h 614713"/>
              <a:gd name="connsiteX633" fmla="*/ 363051 w 736968"/>
              <a:gd name="connsiteY633" fmla="*/ 462837 h 614713"/>
              <a:gd name="connsiteX634" fmla="*/ 363051 w 736968"/>
              <a:gd name="connsiteY634" fmla="*/ 412597 h 614713"/>
              <a:gd name="connsiteX635" fmla="*/ 268735 w 736968"/>
              <a:gd name="connsiteY635" fmla="*/ 376718 h 614713"/>
              <a:gd name="connsiteX636" fmla="*/ 270262 w 736968"/>
              <a:gd name="connsiteY636" fmla="*/ 378827 h 614713"/>
              <a:gd name="connsiteX637" fmla="*/ 274362 w 736968"/>
              <a:gd name="connsiteY637" fmla="*/ 390823 h 614713"/>
              <a:gd name="connsiteX638" fmla="*/ 262431 w 736968"/>
              <a:gd name="connsiteY638" fmla="*/ 391457 h 614713"/>
              <a:gd name="connsiteX639" fmla="*/ 251161 w 736968"/>
              <a:gd name="connsiteY639" fmla="*/ 397002 h 614713"/>
              <a:gd name="connsiteX640" fmla="*/ 241845 w 736968"/>
              <a:gd name="connsiteY640" fmla="*/ 395947 h 614713"/>
              <a:gd name="connsiteX641" fmla="*/ 238680 w 736968"/>
              <a:gd name="connsiteY641" fmla="*/ 394054 h 614713"/>
              <a:gd name="connsiteX642" fmla="*/ 234255 w 736968"/>
              <a:gd name="connsiteY642" fmla="*/ 398475 h 614713"/>
              <a:gd name="connsiteX643" fmla="*/ 363051 w 736968"/>
              <a:gd name="connsiteY643" fmla="*/ 451869 h 614713"/>
              <a:gd name="connsiteX644" fmla="*/ 363051 w 736968"/>
              <a:gd name="connsiteY644" fmla="*/ 412597 h 614713"/>
              <a:gd name="connsiteX645" fmla="*/ 363051 w 736968"/>
              <a:gd name="connsiteY645" fmla="*/ 398792 h 614713"/>
              <a:gd name="connsiteX646" fmla="*/ 347174 w 736968"/>
              <a:gd name="connsiteY646" fmla="*/ 397704 h 614713"/>
              <a:gd name="connsiteX647" fmla="*/ 337576 w 736968"/>
              <a:gd name="connsiteY647" fmla="*/ 389838 h 614713"/>
              <a:gd name="connsiteX648" fmla="*/ 331204 w 736968"/>
              <a:gd name="connsiteY648" fmla="*/ 379289 h 614713"/>
              <a:gd name="connsiteX649" fmla="*/ 335346 w 736968"/>
              <a:gd name="connsiteY649" fmla="*/ 369718 h 614713"/>
              <a:gd name="connsiteX650" fmla="*/ 343238 w 736968"/>
              <a:gd name="connsiteY650" fmla="*/ 359409 h 614713"/>
              <a:gd name="connsiteX651" fmla="*/ 297598 w 736968"/>
              <a:gd name="connsiteY651" fmla="*/ 335193 h 614713"/>
              <a:gd name="connsiteX652" fmla="*/ 269747 w 736968"/>
              <a:gd name="connsiteY652" fmla="*/ 363017 h 614713"/>
              <a:gd name="connsiteX653" fmla="*/ 363051 w 736968"/>
              <a:gd name="connsiteY653" fmla="*/ 401603 h 614713"/>
              <a:gd name="connsiteX654" fmla="*/ 363051 w 736968"/>
              <a:gd name="connsiteY654" fmla="*/ 398792 h 614713"/>
              <a:gd name="connsiteX655" fmla="*/ 371551 w 736968"/>
              <a:gd name="connsiteY655" fmla="*/ 346307 h 614713"/>
              <a:gd name="connsiteX656" fmla="*/ 383954 w 736968"/>
              <a:gd name="connsiteY656" fmla="*/ 344020 h 614713"/>
              <a:gd name="connsiteX657" fmla="*/ 386235 w 736968"/>
              <a:gd name="connsiteY657" fmla="*/ 349726 h 614713"/>
              <a:gd name="connsiteX658" fmla="*/ 402078 w 736968"/>
              <a:gd name="connsiteY658" fmla="*/ 349341 h 614713"/>
              <a:gd name="connsiteX659" fmla="*/ 405526 w 736968"/>
              <a:gd name="connsiteY659" fmla="*/ 345528 h 614713"/>
              <a:gd name="connsiteX660" fmla="*/ 418409 w 736968"/>
              <a:gd name="connsiteY660" fmla="*/ 341466 h 614713"/>
              <a:gd name="connsiteX661" fmla="*/ 423864 w 736968"/>
              <a:gd name="connsiteY661" fmla="*/ 338227 h 614713"/>
              <a:gd name="connsiteX662" fmla="*/ 420253 w 736968"/>
              <a:gd name="connsiteY662" fmla="*/ 329855 h 614713"/>
              <a:gd name="connsiteX663" fmla="*/ 413957 w 736968"/>
              <a:gd name="connsiteY663" fmla="*/ 334123 h 614713"/>
              <a:gd name="connsiteX664" fmla="*/ 407173 w 736968"/>
              <a:gd name="connsiteY664" fmla="*/ 333505 h 614713"/>
              <a:gd name="connsiteX665" fmla="*/ 409729 w 736968"/>
              <a:gd name="connsiteY665" fmla="*/ 327550 h 614713"/>
              <a:gd name="connsiteX666" fmla="*/ 416694 w 736968"/>
              <a:gd name="connsiteY666" fmla="*/ 322460 h 614713"/>
              <a:gd name="connsiteX667" fmla="*/ 422543 w 736968"/>
              <a:gd name="connsiteY667" fmla="*/ 317421 h 614713"/>
              <a:gd name="connsiteX668" fmla="*/ 414369 w 736968"/>
              <a:gd name="connsiteY668" fmla="*/ 316419 h 614713"/>
              <a:gd name="connsiteX669" fmla="*/ 413579 w 736968"/>
              <a:gd name="connsiteY669" fmla="*/ 312948 h 614713"/>
              <a:gd name="connsiteX670" fmla="*/ 412345 w 736968"/>
              <a:gd name="connsiteY670" fmla="*/ 317396 h 614713"/>
              <a:gd name="connsiteX671" fmla="*/ 408194 w 736968"/>
              <a:gd name="connsiteY671" fmla="*/ 318955 h 614713"/>
              <a:gd name="connsiteX672" fmla="*/ 405783 w 736968"/>
              <a:gd name="connsiteY672" fmla="*/ 326462 h 614713"/>
              <a:gd name="connsiteX673" fmla="*/ 406916 w 736968"/>
              <a:gd name="connsiteY673" fmla="*/ 329923 h 614713"/>
              <a:gd name="connsiteX674" fmla="*/ 402918 w 736968"/>
              <a:gd name="connsiteY674" fmla="*/ 331783 h 614713"/>
              <a:gd name="connsiteX675" fmla="*/ 402918 w 736968"/>
              <a:gd name="connsiteY675" fmla="*/ 335956 h 614713"/>
              <a:gd name="connsiteX676" fmla="*/ 401340 w 736968"/>
              <a:gd name="connsiteY676" fmla="*/ 337858 h 614713"/>
              <a:gd name="connsiteX677" fmla="*/ 395920 w 736968"/>
              <a:gd name="connsiteY677" fmla="*/ 334191 h 614713"/>
              <a:gd name="connsiteX678" fmla="*/ 387496 w 736968"/>
              <a:gd name="connsiteY678" fmla="*/ 329949 h 614713"/>
              <a:gd name="connsiteX679" fmla="*/ 390095 w 736968"/>
              <a:gd name="connsiteY679" fmla="*/ 334328 h 614713"/>
              <a:gd name="connsiteX680" fmla="*/ 393106 w 736968"/>
              <a:gd name="connsiteY680" fmla="*/ 338749 h 614713"/>
              <a:gd name="connsiteX681" fmla="*/ 386844 w 736968"/>
              <a:gd name="connsiteY681" fmla="*/ 335528 h 614713"/>
              <a:gd name="connsiteX682" fmla="*/ 380471 w 736968"/>
              <a:gd name="connsiteY682" fmla="*/ 332794 h 614713"/>
              <a:gd name="connsiteX683" fmla="*/ 375685 w 736968"/>
              <a:gd name="connsiteY683" fmla="*/ 334756 h 614713"/>
              <a:gd name="connsiteX684" fmla="*/ 371088 w 736968"/>
              <a:gd name="connsiteY684" fmla="*/ 338081 h 614713"/>
              <a:gd name="connsiteX685" fmla="*/ 366216 w 736968"/>
              <a:gd name="connsiteY685" fmla="*/ 344885 h 614713"/>
              <a:gd name="connsiteX686" fmla="*/ 355083 w 736968"/>
              <a:gd name="connsiteY686" fmla="*/ 341612 h 614713"/>
              <a:gd name="connsiteX687" fmla="*/ 357768 w 736968"/>
              <a:gd name="connsiteY687" fmla="*/ 333788 h 614713"/>
              <a:gd name="connsiteX688" fmla="*/ 365453 w 736968"/>
              <a:gd name="connsiteY688" fmla="*/ 334808 h 614713"/>
              <a:gd name="connsiteX689" fmla="*/ 365847 w 736968"/>
              <a:gd name="connsiteY689" fmla="*/ 328758 h 614713"/>
              <a:gd name="connsiteX690" fmla="*/ 363368 w 736968"/>
              <a:gd name="connsiteY690" fmla="*/ 326479 h 614713"/>
              <a:gd name="connsiteX691" fmla="*/ 369338 w 736968"/>
              <a:gd name="connsiteY691" fmla="*/ 323994 h 614713"/>
              <a:gd name="connsiteX692" fmla="*/ 374502 w 736968"/>
              <a:gd name="connsiteY692" fmla="*/ 318295 h 614713"/>
              <a:gd name="connsiteX693" fmla="*/ 377924 w 736968"/>
              <a:gd name="connsiteY693" fmla="*/ 316444 h 614713"/>
              <a:gd name="connsiteX694" fmla="*/ 376586 w 736968"/>
              <a:gd name="connsiteY694" fmla="*/ 312391 h 614713"/>
              <a:gd name="connsiteX695" fmla="*/ 378139 w 736968"/>
              <a:gd name="connsiteY695" fmla="*/ 310292 h 614713"/>
              <a:gd name="connsiteX696" fmla="*/ 379614 w 736968"/>
              <a:gd name="connsiteY696" fmla="*/ 313771 h 614713"/>
              <a:gd name="connsiteX697" fmla="*/ 381407 w 736968"/>
              <a:gd name="connsiteY697" fmla="*/ 315245 h 614713"/>
              <a:gd name="connsiteX698" fmla="*/ 388680 w 736968"/>
              <a:gd name="connsiteY698" fmla="*/ 312554 h 614713"/>
              <a:gd name="connsiteX699" fmla="*/ 388818 w 736968"/>
              <a:gd name="connsiteY699" fmla="*/ 307198 h 614713"/>
              <a:gd name="connsiteX700" fmla="*/ 390619 w 736968"/>
              <a:gd name="connsiteY700" fmla="*/ 306718 h 614713"/>
              <a:gd name="connsiteX701" fmla="*/ 389521 w 736968"/>
              <a:gd name="connsiteY701" fmla="*/ 303822 h 614713"/>
              <a:gd name="connsiteX702" fmla="*/ 393278 w 736968"/>
              <a:gd name="connsiteY702" fmla="*/ 300523 h 614713"/>
              <a:gd name="connsiteX703" fmla="*/ 389092 w 736968"/>
              <a:gd name="connsiteY703" fmla="*/ 302631 h 614713"/>
              <a:gd name="connsiteX704" fmla="*/ 385583 w 736968"/>
              <a:gd name="connsiteY704" fmla="*/ 299066 h 614713"/>
              <a:gd name="connsiteX705" fmla="*/ 385789 w 736968"/>
              <a:gd name="connsiteY705" fmla="*/ 294002 h 614713"/>
              <a:gd name="connsiteX706" fmla="*/ 383680 w 736968"/>
              <a:gd name="connsiteY706" fmla="*/ 297961 h 614713"/>
              <a:gd name="connsiteX707" fmla="*/ 384031 w 736968"/>
              <a:gd name="connsiteY707" fmla="*/ 303985 h 614713"/>
              <a:gd name="connsiteX708" fmla="*/ 382642 w 736968"/>
              <a:gd name="connsiteY708" fmla="*/ 312425 h 614713"/>
              <a:gd name="connsiteX709" fmla="*/ 378877 w 736968"/>
              <a:gd name="connsiteY709" fmla="*/ 307824 h 614713"/>
              <a:gd name="connsiteX710" fmla="*/ 378388 w 736968"/>
              <a:gd name="connsiteY710" fmla="*/ 307267 h 614713"/>
              <a:gd name="connsiteX711" fmla="*/ 378336 w 736968"/>
              <a:gd name="connsiteY711" fmla="*/ 307241 h 614713"/>
              <a:gd name="connsiteX712" fmla="*/ 378096 w 736968"/>
              <a:gd name="connsiteY712" fmla="*/ 307198 h 614713"/>
              <a:gd name="connsiteX713" fmla="*/ 378087 w 736968"/>
              <a:gd name="connsiteY713" fmla="*/ 307198 h 614713"/>
              <a:gd name="connsiteX714" fmla="*/ 377830 w 736968"/>
              <a:gd name="connsiteY714" fmla="*/ 307327 h 614713"/>
              <a:gd name="connsiteX715" fmla="*/ 377761 w 736968"/>
              <a:gd name="connsiteY715" fmla="*/ 307387 h 614713"/>
              <a:gd name="connsiteX716" fmla="*/ 377478 w 736968"/>
              <a:gd name="connsiteY716" fmla="*/ 307729 h 614713"/>
              <a:gd name="connsiteX717" fmla="*/ 376870 w 736968"/>
              <a:gd name="connsiteY717" fmla="*/ 308749 h 614713"/>
              <a:gd name="connsiteX718" fmla="*/ 376063 w 736968"/>
              <a:gd name="connsiteY718" fmla="*/ 310669 h 614713"/>
              <a:gd name="connsiteX719" fmla="*/ 374665 w 736968"/>
              <a:gd name="connsiteY719" fmla="*/ 311903 h 614713"/>
              <a:gd name="connsiteX720" fmla="*/ 368541 w 736968"/>
              <a:gd name="connsiteY720" fmla="*/ 312262 h 614713"/>
              <a:gd name="connsiteX721" fmla="*/ 366156 w 736968"/>
              <a:gd name="connsiteY721" fmla="*/ 312211 h 614713"/>
              <a:gd name="connsiteX722" fmla="*/ 367297 w 736968"/>
              <a:gd name="connsiteY722" fmla="*/ 315648 h 614713"/>
              <a:gd name="connsiteX723" fmla="*/ 370119 w 736968"/>
              <a:gd name="connsiteY723" fmla="*/ 320883 h 614713"/>
              <a:gd name="connsiteX724" fmla="*/ 362879 w 736968"/>
              <a:gd name="connsiteY724" fmla="*/ 322674 h 614713"/>
              <a:gd name="connsiteX725" fmla="*/ 364303 w 736968"/>
              <a:gd name="connsiteY725" fmla="*/ 317241 h 614713"/>
              <a:gd name="connsiteX726" fmla="*/ 362965 w 736968"/>
              <a:gd name="connsiteY726" fmla="*/ 311980 h 614713"/>
              <a:gd name="connsiteX727" fmla="*/ 333211 w 736968"/>
              <a:gd name="connsiteY727" fmla="*/ 299615 h 614713"/>
              <a:gd name="connsiteX728" fmla="*/ 305369 w 736968"/>
              <a:gd name="connsiteY728" fmla="*/ 327430 h 614713"/>
              <a:gd name="connsiteX729" fmla="*/ 355452 w 736968"/>
              <a:gd name="connsiteY729" fmla="*/ 350609 h 614713"/>
              <a:gd name="connsiteX730" fmla="*/ 361379 w 736968"/>
              <a:gd name="connsiteY730" fmla="*/ 347618 h 614713"/>
              <a:gd name="connsiteX731" fmla="*/ 371552 w 736968"/>
              <a:gd name="connsiteY731" fmla="*/ 346307 h 614713"/>
              <a:gd name="connsiteX732" fmla="*/ 374030 w 736968"/>
              <a:gd name="connsiteY732" fmla="*/ 412589 h 614713"/>
              <a:gd name="connsiteX733" fmla="*/ 374030 w 736968"/>
              <a:gd name="connsiteY733" fmla="*/ 451869 h 614713"/>
              <a:gd name="connsiteX734" fmla="*/ 420176 w 736968"/>
              <a:gd name="connsiteY734" fmla="*/ 445022 h 614713"/>
              <a:gd name="connsiteX735" fmla="*/ 411908 w 736968"/>
              <a:gd name="connsiteY735" fmla="*/ 436890 h 614713"/>
              <a:gd name="connsiteX736" fmla="*/ 407147 w 736968"/>
              <a:gd name="connsiteY736" fmla="*/ 424799 h 614713"/>
              <a:gd name="connsiteX737" fmla="*/ 406066 w 736968"/>
              <a:gd name="connsiteY737" fmla="*/ 417061 h 614713"/>
              <a:gd name="connsiteX738" fmla="*/ 397257 w 736968"/>
              <a:gd name="connsiteY738" fmla="*/ 410009 h 614713"/>
              <a:gd name="connsiteX739" fmla="*/ 374030 w 736968"/>
              <a:gd name="connsiteY739" fmla="*/ 412589 h 614713"/>
              <a:gd name="connsiteX740" fmla="*/ 392901 w 736968"/>
              <a:gd name="connsiteY740" fmla="*/ 399667 h 614713"/>
              <a:gd name="connsiteX741" fmla="*/ 387162 w 736968"/>
              <a:gd name="connsiteY741" fmla="*/ 398672 h 614713"/>
              <a:gd name="connsiteX742" fmla="*/ 374030 w 736968"/>
              <a:gd name="connsiteY742" fmla="*/ 396624 h 614713"/>
              <a:gd name="connsiteX743" fmla="*/ 374030 w 736968"/>
              <a:gd name="connsiteY743" fmla="*/ 401620 h 614713"/>
              <a:gd name="connsiteX744" fmla="*/ 392901 w 736968"/>
              <a:gd name="connsiteY744" fmla="*/ 399667 h 614713"/>
              <a:gd name="connsiteX745" fmla="*/ 538481 w 736968"/>
              <a:gd name="connsiteY745" fmla="*/ 434105 h 614713"/>
              <a:gd name="connsiteX746" fmla="*/ 510579 w 736968"/>
              <a:gd name="connsiteY746" fmla="*/ 406230 h 614713"/>
              <a:gd name="connsiteX747" fmla="*/ 462016 w 736968"/>
              <a:gd name="connsiteY747" fmla="*/ 440532 h 614713"/>
              <a:gd name="connsiteX748" fmla="*/ 443532 w 736968"/>
              <a:gd name="connsiteY748" fmla="*/ 450643 h 614713"/>
              <a:gd name="connsiteX749" fmla="*/ 436215 w 736968"/>
              <a:gd name="connsiteY749" fmla="*/ 453017 h 614713"/>
              <a:gd name="connsiteX750" fmla="*/ 433943 w 736968"/>
              <a:gd name="connsiteY750" fmla="*/ 452298 h 614713"/>
              <a:gd name="connsiteX751" fmla="*/ 374030 w 736968"/>
              <a:gd name="connsiteY751" fmla="*/ 462837 h 614713"/>
              <a:gd name="connsiteX752" fmla="*/ 374030 w 736968"/>
              <a:gd name="connsiteY752" fmla="*/ 502101 h 614713"/>
              <a:gd name="connsiteX753" fmla="*/ 538481 w 736968"/>
              <a:gd name="connsiteY753" fmla="*/ 434105 h 614713"/>
              <a:gd name="connsiteX754" fmla="*/ 483477 w 736968"/>
              <a:gd name="connsiteY754" fmla="*/ 150112 h 614713"/>
              <a:gd name="connsiteX755" fmla="*/ 483159 w 736968"/>
              <a:gd name="connsiteY755" fmla="*/ 150566 h 614713"/>
              <a:gd name="connsiteX756" fmla="*/ 500590 w 736968"/>
              <a:gd name="connsiteY756" fmla="*/ 173205 h 614713"/>
              <a:gd name="connsiteX757" fmla="*/ 502491 w 736968"/>
              <a:gd name="connsiteY757" fmla="*/ 172717 h 614713"/>
              <a:gd name="connsiteX758" fmla="*/ 505158 w 736968"/>
              <a:gd name="connsiteY758" fmla="*/ 176427 h 614713"/>
              <a:gd name="connsiteX759" fmla="*/ 505124 w 736968"/>
              <a:gd name="connsiteY759" fmla="*/ 180840 h 614713"/>
              <a:gd name="connsiteX760" fmla="*/ 508780 w 736968"/>
              <a:gd name="connsiteY760" fmla="*/ 187789 h 614713"/>
              <a:gd name="connsiteX761" fmla="*/ 511549 w 736968"/>
              <a:gd name="connsiteY761" fmla="*/ 190172 h 614713"/>
              <a:gd name="connsiteX762" fmla="*/ 513779 w 736968"/>
              <a:gd name="connsiteY762" fmla="*/ 199041 h 614713"/>
              <a:gd name="connsiteX763" fmla="*/ 518944 w 736968"/>
              <a:gd name="connsiteY763" fmla="*/ 214225 h 614713"/>
              <a:gd name="connsiteX764" fmla="*/ 523487 w 736968"/>
              <a:gd name="connsiteY764" fmla="*/ 216324 h 614713"/>
              <a:gd name="connsiteX765" fmla="*/ 521552 w 736968"/>
              <a:gd name="connsiteY765" fmla="*/ 224928 h 614713"/>
              <a:gd name="connsiteX766" fmla="*/ 524714 w 736968"/>
              <a:gd name="connsiteY766" fmla="*/ 251080 h 614713"/>
              <a:gd name="connsiteX767" fmla="*/ 564026 w 736968"/>
              <a:gd name="connsiteY767" fmla="*/ 251080 h 614713"/>
              <a:gd name="connsiteX768" fmla="*/ 547393 w 736968"/>
              <a:gd name="connsiteY768" fmla="*/ 177396 h 614713"/>
              <a:gd name="connsiteX769" fmla="*/ 544246 w 736968"/>
              <a:gd name="connsiteY769" fmla="*/ 179744 h 614713"/>
              <a:gd name="connsiteX770" fmla="*/ 537273 w 736968"/>
              <a:gd name="connsiteY770" fmla="*/ 176924 h 614713"/>
              <a:gd name="connsiteX771" fmla="*/ 522736 w 736968"/>
              <a:gd name="connsiteY771" fmla="*/ 160866 h 614713"/>
              <a:gd name="connsiteX772" fmla="*/ 514570 w 736968"/>
              <a:gd name="connsiteY772" fmla="*/ 155973 h 614713"/>
              <a:gd name="connsiteX773" fmla="*/ 507185 w 736968"/>
              <a:gd name="connsiteY773" fmla="*/ 150386 h 614713"/>
              <a:gd name="connsiteX774" fmla="*/ 502045 w 736968"/>
              <a:gd name="connsiteY774" fmla="*/ 145176 h 614713"/>
              <a:gd name="connsiteX775" fmla="*/ 492797 w 736968"/>
              <a:gd name="connsiteY775" fmla="*/ 140180 h 614713"/>
              <a:gd name="connsiteX776" fmla="*/ 483391 w 736968"/>
              <a:gd name="connsiteY776" fmla="*/ 149581 h 614713"/>
              <a:gd name="connsiteX777" fmla="*/ 483477 w 736968"/>
              <a:gd name="connsiteY777" fmla="*/ 150112 h 614713"/>
              <a:gd name="connsiteX778" fmla="*/ 508426 w 736968"/>
              <a:gd name="connsiteY778" fmla="*/ 388570 h 614713"/>
              <a:gd name="connsiteX779" fmla="*/ 510579 w 736968"/>
              <a:gd name="connsiteY779" fmla="*/ 390720 h 614713"/>
              <a:gd name="connsiteX780" fmla="*/ 564026 w 736968"/>
              <a:gd name="connsiteY780" fmla="*/ 262048 h 614713"/>
              <a:gd name="connsiteX781" fmla="*/ 524714 w 736968"/>
              <a:gd name="connsiteY781" fmla="*/ 262048 h 614713"/>
              <a:gd name="connsiteX782" fmla="*/ 482799 w 736968"/>
              <a:gd name="connsiteY782" fmla="*/ 362966 h 614713"/>
              <a:gd name="connsiteX783" fmla="*/ 496987 w 736968"/>
              <a:gd name="connsiteY783" fmla="*/ 377138 h 614713"/>
              <a:gd name="connsiteX784" fmla="*/ 497278 w 736968"/>
              <a:gd name="connsiteY784" fmla="*/ 376547 h 614713"/>
              <a:gd name="connsiteX785" fmla="*/ 498141 w 736968"/>
              <a:gd name="connsiteY785" fmla="*/ 368535 h 614713"/>
              <a:gd name="connsiteX786" fmla="*/ 504062 w 736968"/>
              <a:gd name="connsiteY786" fmla="*/ 369863 h 614713"/>
              <a:gd name="connsiteX787" fmla="*/ 507340 w 736968"/>
              <a:gd name="connsiteY787" fmla="*/ 378613 h 614713"/>
              <a:gd name="connsiteX788" fmla="*/ 508426 w 736968"/>
              <a:gd name="connsiteY788" fmla="*/ 388570 h 614713"/>
              <a:gd name="connsiteX789" fmla="*/ 478578 w 736968"/>
              <a:gd name="connsiteY789" fmla="*/ 413077 h 614713"/>
              <a:gd name="connsiteX790" fmla="*/ 473193 w 736968"/>
              <a:gd name="connsiteY790" fmla="*/ 421535 h 614713"/>
              <a:gd name="connsiteX791" fmla="*/ 502825 w 736968"/>
              <a:gd name="connsiteY791" fmla="*/ 398475 h 614713"/>
              <a:gd name="connsiteX792" fmla="*/ 475036 w 736968"/>
              <a:gd name="connsiteY792" fmla="*/ 370720 h 614713"/>
              <a:gd name="connsiteX793" fmla="*/ 469067 w 736968"/>
              <a:gd name="connsiteY793" fmla="*/ 375982 h 614713"/>
              <a:gd name="connsiteX794" fmla="*/ 472935 w 736968"/>
              <a:gd name="connsiteY794" fmla="*/ 382863 h 614713"/>
              <a:gd name="connsiteX795" fmla="*/ 482713 w 736968"/>
              <a:gd name="connsiteY795" fmla="*/ 392606 h 614713"/>
              <a:gd name="connsiteX796" fmla="*/ 474942 w 736968"/>
              <a:gd name="connsiteY796" fmla="*/ 405587 h 614713"/>
              <a:gd name="connsiteX797" fmla="*/ 478578 w 736968"/>
              <a:gd name="connsiteY797" fmla="*/ 413077 h 614713"/>
              <a:gd name="connsiteX798" fmla="*/ 485063 w 736968"/>
              <a:gd name="connsiteY798" fmla="*/ 250583 h 614713"/>
              <a:gd name="connsiteX799" fmla="*/ 484780 w 736968"/>
              <a:gd name="connsiteY799" fmla="*/ 251080 h 614713"/>
              <a:gd name="connsiteX800" fmla="*/ 513726 w 736968"/>
              <a:gd name="connsiteY800" fmla="*/ 251080 h 614713"/>
              <a:gd name="connsiteX801" fmla="*/ 512727 w 736968"/>
              <a:gd name="connsiteY801" fmla="*/ 238689 h 614713"/>
              <a:gd name="connsiteX802" fmla="*/ 512048 w 736968"/>
              <a:gd name="connsiteY802" fmla="*/ 239966 h 614713"/>
              <a:gd name="connsiteX803" fmla="*/ 509716 w 736968"/>
              <a:gd name="connsiteY803" fmla="*/ 239795 h 614713"/>
              <a:gd name="connsiteX804" fmla="*/ 511801 w 736968"/>
              <a:gd name="connsiteY804" fmla="*/ 232417 h 614713"/>
              <a:gd name="connsiteX805" fmla="*/ 511069 w 736968"/>
              <a:gd name="connsiteY805" fmla="*/ 228441 h 614713"/>
              <a:gd name="connsiteX806" fmla="*/ 506986 w 736968"/>
              <a:gd name="connsiteY806" fmla="*/ 231526 h 614713"/>
              <a:gd name="connsiteX807" fmla="*/ 504028 w 736968"/>
              <a:gd name="connsiteY807" fmla="*/ 236333 h 614713"/>
              <a:gd name="connsiteX808" fmla="*/ 497671 w 736968"/>
              <a:gd name="connsiteY808" fmla="*/ 237267 h 614713"/>
              <a:gd name="connsiteX809" fmla="*/ 491735 w 736968"/>
              <a:gd name="connsiteY809" fmla="*/ 244559 h 614713"/>
              <a:gd name="connsiteX810" fmla="*/ 485063 w 736968"/>
              <a:gd name="connsiteY810" fmla="*/ 250583 h 614713"/>
              <a:gd name="connsiteX811" fmla="*/ 475036 w 736968"/>
              <a:gd name="connsiteY811" fmla="*/ 157926 h 614713"/>
              <a:gd name="connsiteX812" fmla="*/ 447246 w 736968"/>
              <a:gd name="connsiteY812" fmla="*/ 185690 h 614713"/>
              <a:gd name="connsiteX813" fmla="*/ 459914 w 736968"/>
              <a:gd name="connsiteY813" fmla="*/ 202948 h 614713"/>
              <a:gd name="connsiteX814" fmla="*/ 470516 w 736968"/>
              <a:gd name="connsiteY814" fmla="*/ 208458 h 614713"/>
              <a:gd name="connsiteX815" fmla="*/ 477515 w 736968"/>
              <a:gd name="connsiteY815" fmla="*/ 218672 h 614713"/>
              <a:gd name="connsiteX816" fmla="*/ 479531 w 736968"/>
              <a:gd name="connsiteY816" fmla="*/ 222836 h 614713"/>
              <a:gd name="connsiteX817" fmla="*/ 484154 w 736968"/>
              <a:gd name="connsiteY817" fmla="*/ 222803 h 614713"/>
              <a:gd name="connsiteX818" fmla="*/ 489214 w 736968"/>
              <a:gd name="connsiteY818" fmla="*/ 214430 h 614713"/>
              <a:gd name="connsiteX819" fmla="*/ 499353 w 736968"/>
              <a:gd name="connsiteY819" fmla="*/ 221054 h 614713"/>
              <a:gd name="connsiteX820" fmla="*/ 497079 w 736968"/>
              <a:gd name="connsiteY820" fmla="*/ 225416 h 614713"/>
              <a:gd name="connsiteX821" fmla="*/ 496808 w 736968"/>
              <a:gd name="connsiteY821" fmla="*/ 234293 h 614713"/>
              <a:gd name="connsiteX822" fmla="*/ 504843 w 736968"/>
              <a:gd name="connsiteY822" fmla="*/ 230523 h 614713"/>
              <a:gd name="connsiteX823" fmla="*/ 506899 w 736968"/>
              <a:gd name="connsiteY823" fmla="*/ 224687 h 614713"/>
              <a:gd name="connsiteX824" fmla="*/ 509784 w 736968"/>
              <a:gd name="connsiteY824" fmla="*/ 222579 h 614713"/>
              <a:gd name="connsiteX825" fmla="*/ 502336 w 736968"/>
              <a:gd name="connsiteY825" fmla="*/ 199992 h 614713"/>
              <a:gd name="connsiteX826" fmla="*/ 499669 w 736968"/>
              <a:gd name="connsiteY826" fmla="*/ 198329 h 614713"/>
              <a:gd name="connsiteX827" fmla="*/ 496541 w 736968"/>
              <a:gd name="connsiteY827" fmla="*/ 195399 h 614713"/>
              <a:gd name="connsiteX828" fmla="*/ 492550 w 736968"/>
              <a:gd name="connsiteY828" fmla="*/ 189057 h 614713"/>
              <a:gd name="connsiteX829" fmla="*/ 496619 w 736968"/>
              <a:gd name="connsiteY829" fmla="*/ 189649 h 614713"/>
              <a:gd name="connsiteX830" fmla="*/ 497123 w 736968"/>
              <a:gd name="connsiteY830" fmla="*/ 189024 h 614713"/>
              <a:gd name="connsiteX831" fmla="*/ 475036 w 736968"/>
              <a:gd name="connsiteY831" fmla="*/ 157926 h 614713"/>
              <a:gd name="connsiteX832" fmla="*/ 441319 w 736968"/>
              <a:gd name="connsiteY832" fmla="*/ 195622 h 614713"/>
              <a:gd name="connsiteX833" fmla="*/ 437949 w 736968"/>
              <a:gd name="connsiteY833" fmla="*/ 194979 h 614713"/>
              <a:gd name="connsiteX834" fmla="*/ 428762 w 736968"/>
              <a:gd name="connsiteY834" fmla="*/ 204148 h 614713"/>
              <a:gd name="connsiteX835" fmla="*/ 434663 w 736968"/>
              <a:gd name="connsiteY835" fmla="*/ 204945 h 614713"/>
              <a:gd name="connsiteX836" fmla="*/ 439654 w 736968"/>
              <a:gd name="connsiteY836" fmla="*/ 198844 h 614713"/>
              <a:gd name="connsiteX837" fmla="*/ 441293 w 736968"/>
              <a:gd name="connsiteY837" fmla="*/ 203214 h 614713"/>
              <a:gd name="connsiteX838" fmla="*/ 438857 w 736968"/>
              <a:gd name="connsiteY838" fmla="*/ 207181 h 614713"/>
              <a:gd name="connsiteX839" fmla="*/ 441079 w 736968"/>
              <a:gd name="connsiteY839" fmla="*/ 211689 h 614713"/>
              <a:gd name="connsiteX840" fmla="*/ 442914 w 736968"/>
              <a:gd name="connsiteY840" fmla="*/ 215510 h 614713"/>
              <a:gd name="connsiteX841" fmla="*/ 443789 w 736968"/>
              <a:gd name="connsiteY841" fmla="*/ 209863 h 614713"/>
              <a:gd name="connsiteX842" fmla="*/ 448678 w 736968"/>
              <a:gd name="connsiteY842" fmla="*/ 210352 h 614713"/>
              <a:gd name="connsiteX843" fmla="*/ 450231 w 736968"/>
              <a:gd name="connsiteY843" fmla="*/ 208158 h 614713"/>
              <a:gd name="connsiteX844" fmla="*/ 441319 w 736968"/>
              <a:gd name="connsiteY844" fmla="*/ 195622 h 614713"/>
              <a:gd name="connsiteX845" fmla="*/ 426995 w 736968"/>
              <a:gd name="connsiteY845" fmla="*/ 341397 h 614713"/>
              <a:gd name="connsiteX846" fmla="*/ 424524 w 736968"/>
              <a:gd name="connsiteY846" fmla="*/ 342442 h 614713"/>
              <a:gd name="connsiteX847" fmla="*/ 442503 w 736968"/>
              <a:gd name="connsiteY847" fmla="*/ 351020 h 614713"/>
              <a:gd name="connsiteX848" fmla="*/ 453319 w 736968"/>
              <a:gd name="connsiteY848" fmla="*/ 351380 h 614713"/>
              <a:gd name="connsiteX849" fmla="*/ 460112 w 736968"/>
              <a:gd name="connsiteY849" fmla="*/ 352331 h 614713"/>
              <a:gd name="connsiteX850" fmla="*/ 465884 w 736968"/>
              <a:gd name="connsiteY850" fmla="*/ 346590 h 614713"/>
              <a:gd name="connsiteX851" fmla="*/ 470164 w 736968"/>
              <a:gd name="connsiteY851" fmla="*/ 339272 h 614713"/>
              <a:gd name="connsiteX852" fmla="*/ 474925 w 736968"/>
              <a:gd name="connsiteY852" fmla="*/ 352323 h 614713"/>
              <a:gd name="connsiteX853" fmla="*/ 474616 w 736968"/>
              <a:gd name="connsiteY853" fmla="*/ 354791 h 614713"/>
              <a:gd name="connsiteX854" fmla="*/ 475036 w 736968"/>
              <a:gd name="connsiteY854" fmla="*/ 355211 h 614713"/>
              <a:gd name="connsiteX855" fmla="*/ 513726 w 736968"/>
              <a:gd name="connsiteY855" fmla="*/ 262048 h 614713"/>
              <a:gd name="connsiteX856" fmla="*/ 483845 w 736968"/>
              <a:gd name="connsiteY856" fmla="*/ 262048 h 614713"/>
              <a:gd name="connsiteX857" fmla="*/ 488535 w 736968"/>
              <a:gd name="connsiteY857" fmla="*/ 269811 h 614713"/>
              <a:gd name="connsiteX858" fmla="*/ 493476 w 736968"/>
              <a:gd name="connsiteY858" fmla="*/ 278081 h 614713"/>
              <a:gd name="connsiteX859" fmla="*/ 501899 w 736968"/>
              <a:gd name="connsiteY859" fmla="*/ 284696 h 614713"/>
              <a:gd name="connsiteX860" fmla="*/ 481246 w 736968"/>
              <a:gd name="connsiteY860" fmla="*/ 291320 h 614713"/>
              <a:gd name="connsiteX861" fmla="*/ 477713 w 736968"/>
              <a:gd name="connsiteY861" fmla="*/ 293736 h 614713"/>
              <a:gd name="connsiteX862" fmla="*/ 468474 w 736968"/>
              <a:gd name="connsiteY862" fmla="*/ 299555 h 614713"/>
              <a:gd name="connsiteX863" fmla="*/ 463346 w 736968"/>
              <a:gd name="connsiteY863" fmla="*/ 309537 h 614713"/>
              <a:gd name="connsiteX864" fmla="*/ 453507 w 736968"/>
              <a:gd name="connsiteY864" fmla="*/ 319135 h 614713"/>
              <a:gd name="connsiteX865" fmla="*/ 444527 w 736968"/>
              <a:gd name="connsiteY865" fmla="*/ 324439 h 614713"/>
              <a:gd name="connsiteX866" fmla="*/ 452666 w 736968"/>
              <a:gd name="connsiteY866" fmla="*/ 324971 h 614713"/>
              <a:gd name="connsiteX867" fmla="*/ 454185 w 736968"/>
              <a:gd name="connsiteY867" fmla="*/ 324516 h 614713"/>
              <a:gd name="connsiteX868" fmla="*/ 457839 w 736968"/>
              <a:gd name="connsiteY868" fmla="*/ 321663 h 614713"/>
              <a:gd name="connsiteX869" fmla="*/ 459031 w 736968"/>
              <a:gd name="connsiteY869" fmla="*/ 316907 h 614713"/>
              <a:gd name="connsiteX870" fmla="*/ 465807 w 736968"/>
              <a:gd name="connsiteY870" fmla="*/ 314062 h 614713"/>
              <a:gd name="connsiteX871" fmla="*/ 467814 w 736968"/>
              <a:gd name="connsiteY871" fmla="*/ 327858 h 614713"/>
              <a:gd name="connsiteX872" fmla="*/ 459511 w 736968"/>
              <a:gd name="connsiteY872" fmla="*/ 348278 h 614713"/>
              <a:gd name="connsiteX873" fmla="*/ 452521 w 736968"/>
              <a:gd name="connsiteY873" fmla="*/ 347644 h 614713"/>
              <a:gd name="connsiteX874" fmla="*/ 439818 w 736968"/>
              <a:gd name="connsiteY874" fmla="*/ 344662 h 614713"/>
              <a:gd name="connsiteX875" fmla="*/ 426995 w 736968"/>
              <a:gd name="connsiteY875" fmla="*/ 341397 h 614713"/>
              <a:gd name="connsiteX876" fmla="*/ 614306 w 736968"/>
              <a:gd name="connsiteY876" fmla="*/ 262048 h 614713"/>
              <a:gd name="connsiteX877" fmla="*/ 575014 w 736968"/>
              <a:gd name="connsiteY877" fmla="*/ 262048 h 614713"/>
              <a:gd name="connsiteX878" fmla="*/ 518342 w 736968"/>
              <a:gd name="connsiteY878" fmla="*/ 398475 h 614713"/>
              <a:gd name="connsiteX879" fmla="*/ 546244 w 736968"/>
              <a:gd name="connsiteY879" fmla="*/ 426350 h 614713"/>
              <a:gd name="connsiteX880" fmla="*/ 614306 w 736968"/>
              <a:gd name="connsiteY880" fmla="*/ 262048 h 614713"/>
              <a:gd name="connsiteX881" fmla="*/ 546244 w 736968"/>
              <a:gd name="connsiteY881" fmla="*/ 86787 h 614713"/>
              <a:gd name="connsiteX882" fmla="*/ 517135 w 736968"/>
              <a:gd name="connsiteY882" fmla="*/ 115870 h 614713"/>
              <a:gd name="connsiteX883" fmla="*/ 531876 w 736968"/>
              <a:gd name="connsiteY883" fmla="*/ 133556 h 614713"/>
              <a:gd name="connsiteX884" fmla="*/ 540440 w 736968"/>
              <a:gd name="connsiteY884" fmla="*/ 142022 h 614713"/>
              <a:gd name="connsiteX885" fmla="*/ 555724 w 736968"/>
              <a:gd name="connsiteY885" fmla="*/ 167112 h 614713"/>
              <a:gd name="connsiteX886" fmla="*/ 555021 w 736968"/>
              <a:gd name="connsiteY886" fmla="*/ 167721 h 614713"/>
              <a:gd name="connsiteX887" fmla="*/ 575004 w 736968"/>
              <a:gd name="connsiteY887" fmla="*/ 251080 h 614713"/>
              <a:gd name="connsiteX888" fmla="*/ 614306 w 736968"/>
              <a:gd name="connsiteY888" fmla="*/ 251080 h 614713"/>
              <a:gd name="connsiteX889" fmla="*/ 546244 w 736968"/>
              <a:gd name="connsiteY889" fmla="*/ 86787 h 614713"/>
              <a:gd name="connsiteX890" fmla="*/ 374030 w 736968"/>
              <a:gd name="connsiteY890" fmla="*/ 50292 h 614713"/>
              <a:gd name="connsiteX891" fmla="*/ 466605 w 736968"/>
              <a:gd name="connsiteY891" fmla="*/ 74824 h 614713"/>
              <a:gd name="connsiteX892" fmla="*/ 473578 w 736968"/>
              <a:gd name="connsiteY892" fmla="*/ 73274 h 614713"/>
              <a:gd name="connsiteX893" fmla="*/ 487274 w 736968"/>
              <a:gd name="connsiteY893" fmla="*/ 77275 h 614713"/>
              <a:gd name="connsiteX894" fmla="*/ 495983 w 736968"/>
              <a:gd name="connsiteY894" fmla="*/ 83479 h 614713"/>
              <a:gd name="connsiteX895" fmla="*/ 506060 w 736968"/>
              <a:gd name="connsiteY895" fmla="*/ 96401 h 614713"/>
              <a:gd name="connsiteX896" fmla="*/ 509027 w 736968"/>
              <a:gd name="connsiteY896" fmla="*/ 103788 h 614713"/>
              <a:gd name="connsiteX897" fmla="*/ 511166 w 736968"/>
              <a:gd name="connsiteY897" fmla="*/ 106324 h 614713"/>
              <a:gd name="connsiteX898" fmla="*/ 538490 w 736968"/>
              <a:gd name="connsiteY898" fmla="*/ 79032 h 614713"/>
              <a:gd name="connsiteX899" fmla="*/ 374030 w 736968"/>
              <a:gd name="connsiteY899" fmla="*/ 11037 h 614713"/>
              <a:gd name="connsiteX900" fmla="*/ 374030 w 736968"/>
              <a:gd name="connsiteY900" fmla="*/ 50292 h 614713"/>
              <a:gd name="connsiteX901" fmla="*/ 374030 w 736968"/>
              <a:gd name="connsiteY901" fmla="*/ 100540 h 614713"/>
              <a:gd name="connsiteX902" fmla="*/ 462994 w 736968"/>
              <a:gd name="connsiteY902" fmla="*/ 132306 h 614713"/>
              <a:gd name="connsiteX903" fmla="*/ 456011 w 736968"/>
              <a:gd name="connsiteY903" fmla="*/ 123325 h 614713"/>
              <a:gd name="connsiteX904" fmla="*/ 445488 w 736968"/>
              <a:gd name="connsiteY904" fmla="*/ 116144 h 614713"/>
              <a:gd name="connsiteX905" fmla="*/ 455823 w 736968"/>
              <a:gd name="connsiteY905" fmla="*/ 119948 h 614713"/>
              <a:gd name="connsiteX906" fmla="*/ 452221 w 736968"/>
              <a:gd name="connsiteY906" fmla="*/ 110960 h 614713"/>
              <a:gd name="connsiteX907" fmla="*/ 462916 w 736968"/>
              <a:gd name="connsiteY907" fmla="*/ 122974 h 614713"/>
              <a:gd name="connsiteX908" fmla="*/ 470868 w 736968"/>
              <a:gd name="connsiteY908" fmla="*/ 125990 h 614713"/>
              <a:gd name="connsiteX909" fmla="*/ 475697 w 736968"/>
              <a:gd name="connsiteY909" fmla="*/ 132425 h 614713"/>
              <a:gd name="connsiteX910" fmla="*/ 477927 w 736968"/>
              <a:gd name="connsiteY910" fmla="*/ 135022 h 614713"/>
              <a:gd name="connsiteX911" fmla="*/ 475148 w 736968"/>
              <a:gd name="connsiteY911" fmla="*/ 134148 h 614713"/>
              <a:gd name="connsiteX912" fmla="*/ 477026 w 736968"/>
              <a:gd name="connsiteY912" fmla="*/ 140437 h 614713"/>
              <a:gd name="connsiteX913" fmla="*/ 490082 w 736968"/>
              <a:gd name="connsiteY913" fmla="*/ 127387 h 614713"/>
              <a:gd name="connsiteX914" fmla="*/ 481838 w 736968"/>
              <a:gd name="connsiteY914" fmla="*/ 117841 h 614713"/>
              <a:gd name="connsiteX915" fmla="*/ 475637 w 736968"/>
              <a:gd name="connsiteY915" fmla="*/ 120977 h 614713"/>
              <a:gd name="connsiteX916" fmla="*/ 471177 w 736968"/>
              <a:gd name="connsiteY916" fmla="*/ 121997 h 614713"/>
              <a:gd name="connsiteX917" fmla="*/ 471417 w 736968"/>
              <a:gd name="connsiteY917" fmla="*/ 116778 h 614713"/>
              <a:gd name="connsiteX918" fmla="*/ 469658 w 736968"/>
              <a:gd name="connsiteY918" fmla="*/ 112648 h 614713"/>
              <a:gd name="connsiteX919" fmla="*/ 468037 w 736968"/>
              <a:gd name="connsiteY919" fmla="*/ 103170 h 614713"/>
              <a:gd name="connsiteX920" fmla="*/ 462445 w 736968"/>
              <a:gd name="connsiteY920" fmla="*/ 94071 h 614713"/>
              <a:gd name="connsiteX921" fmla="*/ 456783 w 736968"/>
              <a:gd name="connsiteY921" fmla="*/ 82074 h 614713"/>
              <a:gd name="connsiteX922" fmla="*/ 374030 w 736968"/>
              <a:gd name="connsiteY922" fmla="*/ 61260 h 614713"/>
              <a:gd name="connsiteX923" fmla="*/ 374030 w 736968"/>
              <a:gd name="connsiteY923" fmla="*/ 100540 h 614713"/>
              <a:gd name="connsiteX924" fmla="*/ 374030 w 736968"/>
              <a:gd name="connsiteY924" fmla="*/ 150797 h 614713"/>
              <a:gd name="connsiteX925" fmla="*/ 439483 w 736968"/>
              <a:gd name="connsiteY925" fmla="*/ 177935 h 614713"/>
              <a:gd name="connsiteX926" fmla="*/ 467283 w 736968"/>
              <a:gd name="connsiteY926" fmla="*/ 150172 h 614713"/>
              <a:gd name="connsiteX927" fmla="*/ 374030 w 736968"/>
              <a:gd name="connsiteY927" fmla="*/ 111517 h 614713"/>
              <a:gd name="connsiteX928" fmla="*/ 374030 w 736968"/>
              <a:gd name="connsiteY928" fmla="*/ 150797 h 614713"/>
              <a:gd name="connsiteX929" fmla="*/ 374030 w 736968"/>
              <a:gd name="connsiteY929" fmla="*/ 201140 h 614713"/>
              <a:gd name="connsiteX930" fmla="*/ 385034 w 736968"/>
              <a:gd name="connsiteY930" fmla="*/ 203368 h 614713"/>
              <a:gd name="connsiteX931" fmla="*/ 390232 w 736968"/>
              <a:gd name="connsiteY931" fmla="*/ 198638 h 614713"/>
              <a:gd name="connsiteX932" fmla="*/ 393826 w 736968"/>
              <a:gd name="connsiteY932" fmla="*/ 199546 h 614713"/>
              <a:gd name="connsiteX933" fmla="*/ 390773 w 736968"/>
              <a:gd name="connsiteY933" fmla="*/ 205476 h 614713"/>
              <a:gd name="connsiteX934" fmla="*/ 401692 w 736968"/>
              <a:gd name="connsiteY934" fmla="*/ 211766 h 614713"/>
              <a:gd name="connsiteX935" fmla="*/ 403888 w 736968"/>
              <a:gd name="connsiteY935" fmla="*/ 213496 h 614713"/>
              <a:gd name="connsiteX936" fmla="*/ 407662 w 736968"/>
              <a:gd name="connsiteY936" fmla="*/ 209726 h 614713"/>
              <a:gd name="connsiteX937" fmla="*/ 407593 w 736968"/>
              <a:gd name="connsiteY937" fmla="*/ 209306 h 614713"/>
              <a:gd name="connsiteX938" fmla="*/ 414352 w 736968"/>
              <a:gd name="connsiteY938" fmla="*/ 203042 h 614713"/>
              <a:gd name="connsiteX939" fmla="*/ 426608 w 736968"/>
              <a:gd name="connsiteY939" fmla="*/ 190798 h 614713"/>
              <a:gd name="connsiteX940" fmla="*/ 425682 w 736968"/>
              <a:gd name="connsiteY940" fmla="*/ 190643 h 614713"/>
              <a:gd name="connsiteX941" fmla="*/ 420090 w 736968"/>
              <a:gd name="connsiteY941" fmla="*/ 192905 h 614713"/>
              <a:gd name="connsiteX942" fmla="*/ 428728 w 736968"/>
              <a:gd name="connsiteY942" fmla="*/ 186719 h 614713"/>
              <a:gd name="connsiteX943" fmla="*/ 430142 w 736968"/>
              <a:gd name="connsiteY943" fmla="*/ 187267 h 614713"/>
              <a:gd name="connsiteX944" fmla="*/ 431703 w 736968"/>
              <a:gd name="connsiteY944" fmla="*/ 185707 h 614713"/>
              <a:gd name="connsiteX945" fmla="*/ 374030 w 736968"/>
              <a:gd name="connsiteY945" fmla="*/ 161783 h 614713"/>
              <a:gd name="connsiteX946" fmla="*/ 374030 w 736968"/>
              <a:gd name="connsiteY946" fmla="*/ 201140 h 614713"/>
              <a:gd name="connsiteX947" fmla="*/ 368541 w 736968"/>
              <a:gd name="connsiteY947" fmla="*/ 211834 h 614713"/>
              <a:gd name="connsiteX948" fmla="*/ 355177 w 736968"/>
              <a:gd name="connsiteY948" fmla="*/ 213856 h 614713"/>
              <a:gd name="connsiteX949" fmla="*/ 354508 w 736968"/>
              <a:gd name="connsiteY949" fmla="*/ 215450 h 614713"/>
              <a:gd name="connsiteX950" fmla="*/ 359320 w 736968"/>
              <a:gd name="connsiteY950" fmla="*/ 216762 h 614713"/>
              <a:gd name="connsiteX951" fmla="*/ 356035 w 736968"/>
              <a:gd name="connsiteY951" fmla="*/ 218972 h 614713"/>
              <a:gd name="connsiteX952" fmla="*/ 359148 w 736968"/>
              <a:gd name="connsiteY952" fmla="*/ 221526 h 614713"/>
              <a:gd name="connsiteX953" fmla="*/ 356155 w 736968"/>
              <a:gd name="connsiteY953" fmla="*/ 227250 h 614713"/>
              <a:gd name="connsiteX954" fmla="*/ 344069 w 736968"/>
              <a:gd name="connsiteY954" fmla="*/ 231808 h 614713"/>
              <a:gd name="connsiteX955" fmla="*/ 340981 w 736968"/>
              <a:gd name="connsiteY955" fmla="*/ 237010 h 614713"/>
              <a:gd name="connsiteX956" fmla="*/ 331804 w 736968"/>
              <a:gd name="connsiteY956" fmla="*/ 244345 h 614713"/>
              <a:gd name="connsiteX957" fmla="*/ 336452 w 736968"/>
              <a:gd name="connsiteY957" fmla="*/ 242511 h 614713"/>
              <a:gd name="connsiteX958" fmla="*/ 342732 w 736968"/>
              <a:gd name="connsiteY958" fmla="*/ 239418 h 614713"/>
              <a:gd name="connsiteX959" fmla="*/ 343778 w 736968"/>
              <a:gd name="connsiteY959" fmla="*/ 244413 h 614713"/>
              <a:gd name="connsiteX960" fmla="*/ 336144 w 736968"/>
              <a:gd name="connsiteY960" fmla="*/ 249640 h 614713"/>
              <a:gd name="connsiteX961" fmla="*/ 332224 w 736968"/>
              <a:gd name="connsiteY961" fmla="*/ 249384 h 614713"/>
              <a:gd name="connsiteX962" fmla="*/ 339258 w 736968"/>
              <a:gd name="connsiteY962" fmla="*/ 252546 h 614713"/>
              <a:gd name="connsiteX963" fmla="*/ 334445 w 736968"/>
              <a:gd name="connsiteY963" fmla="*/ 256213 h 614713"/>
              <a:gd name="connsiteX964" fmla="*/ 335552 w 736968"/>
              <a:gd name="connsiteY964" fmla="*/ 258090 h 614713"/>
              <a:gd name="connsiteX965" fmla="*/ 340612 w 736968"/>
              <a:gd name="connsiteY965" fmla="*/ 258493 h 614713"/>
              <a:gd name="connsiteX966" fmla="*/ 331907 w 736968"/>
              <a:gd name="connsiteY966" fmla="*/ 275116 h 614713"/>
              <a:gd name="connsiteX967" fmla="*/ 328210 w 736968"/>
              <a:gd name="connsiteY967" fmla="*/ 275956 h 614713"/>
              <a:gd name="connsiteX968" fmla="*/ 333991 w 736968"/>
              <a:gd name="connsiteY968" fmla="*/ 284936 h 614713"/>
              <a:gd name="connsiteX969" fmla="*/ 339000 w 736968"/>
              <a:gd name="connsiteY969" fmla="*/ 278767 h 614713"/>
              <a:gd name="connsiteX970" fmla="*/ 340518 w 736968"/>
              <a:gd name="connsiteY970" fmla="*/ 276547 h 614713"/>
              <a:gd name="connsiteX971" fmla="*/ 343049 w 736968"/>
              <a:gd name="connsiteY971" fmla="*/ 274911 h 614713"/>
              <a:gd name="connsiteX972" fmla="*/ 347989 w 736968"/>
              <a:gd name="connsiteY972" fmla="*/ 268313 h 614713"/>
              <a:gd name="connsiteX973" fmla="*/ 347311 w 736968"/>
              <a:gd name="connsiteY973" fmla="*/ 264542 h 614713"/>
              <a:gd name="connsiteX974" fmla="*/ 349568 w 736968"/>
              <a:gd name="connsiteY974" fmla="*/ 262700 h 614713"/>
              <a:gd name="connsiteX975" fmla="*/ 353110 w 736968"/>
              <a:gd name="connsiteY975" fmla="*/ 263557 h 614713"/>
              <a:gd name="connsiteX976" fmla="*/ 359122 w 736968"/>
              <a:gd name="connsiteY976" fmla="*/ 264825 h 614713"/>
              <a:gd name="connsiteX977" fmla="*/ 363523 w 736968"/>
              <a:gd name="connsiteY977" fmla="*/ 266521 h 614713"/>
              <a:gd name="connsiteX978" fmla="*/ 363754 w 736968"/>
              <a:gd name="connsiteY978" fmla="*/ 269761 h 614713"/>
              <a:gd name="connsiteX979" fmla="*/ 365289 w 736968"/>
              <a:gd name="connsiteY979" fmla="*/ 269906 h 614713"/>
              <a:gd name="connsiteX980" fmla="*/ 361344 w 736968"/>
              <a:gd name="connsiteY980" fmla="*/ 275896 h 614713"/>
              <a:gd name="connsiteX981" fmla="*/ 355160 w 736968"/>
              <a:gd name="connsiteY981" fmla="*/ 287790 h 614713"/>
              <a:gd name="connsiteX982" fmla="*/ 348504 w 736968"/>
              <a:gd name="connsiteY982" fmla="*/ 287953 h 614713"/>
              <a:gd name="connsiteX983" fmla="*/ 344635 w 736968"/>
              <a:gd name="connsiteY983" fmla="*/ 289033 h 614713"/>
              <a:gd name="connsiteX984" fmla="*/ 339077 w 736968"/>
              <a:gd name="connsiteY984" fmla="*/ 290189 h 614713"/>
              <a:gd name="connsiteX985" fmla="*/ 368540 w 736968"/>
              <a:gd name="connsiteY985" fmla="*/ 301303 h 614713"/>
              <a:gd name="connsiteX986" fmla="*/ 375660 w 736968"/>
              <a:gd name="connsiteY986" fmla="*/ 300703 h 614713"/>
              <a:gd name="connsiteX987" fmla="*/ 378018 w 736968"/>
              <a:gd name="connsiteY987" fmla="*/ 294217 h 614713"/>
              <a:gd name="connsiteX988" fmla="*/ 378645 w 736968"/>
              <a:gd name="connsiteY988" fmla="*/ 290172 h 614713"/>
              <a:gd name="connsiteX989" fmla="*/ 384331 w 736968"/>
              <a:gd name="connsiteY989" fmla="*/ 284782 h 614713"/>
              <a:gd name="connsiteX990" fmla="*/ 388328 w 736968"/>
              <a:gd name="connsiteY990" fmla="*/ 285382 h 614713"/>
              <a:gd name="connsiteX991" fmla="*/ 394152 w 736968"/>
              <a:gd name="connsiteY991" fmla="*/ 286753 h 614713"/>
              <a:gd name="connsiteX992" fmla="*/ 389838 w 736968"/>
              <a:gd name="connsiteY992" fmla="*/ 289495 h 614713"/>
              <a:gd name="connsiteX993" fmla="*/ 394341 w 736968"/>
              <a:gd name="connsiteY993" fmla="*/ 290386 h 614713"/>
              <a:gd name="connsiteX994" fmla="*/ 395542 w 736968"/>
              <a:gd name="connsiteY994" fmla="*/ 284465 h 614713"/>
              <a:gd name="connsiteX995" fmla="*/ 396254 w 736968"/>
              <a:gd name="connsiteY995" fmla="*/ 282614 h 614713"/>
              <a:gd name="connsiteX996" fmla="*/ 398724 w 736968"/>
              <a:gd name="connsiteY996" fmla="*/ 276128 h 614713"/>
              <a:gd name="connsiteX997" fmla="*/ 393723 w 736968"/>
              <a:gd name="connsiteY997" fmla="*/ 275630 h 614713"/>
              <a:gd name="connsiteX998" fmla="*/ 390310 w 736968"/>
              <a:gd name="connsiteY998" fmla="*/ 270574 h 614713"/>
              <a:gd name="connsiteX999" fmla="*/ 395593 w 736968"/>
              <a:gd name="connsiteY999" fmla="*/ 274182 h 614713"/>
              <a:gd name="connsiteX1000" fmla="*/ 400019 w 736968"/>
              <a:gd name="connsiteY1000" fmla="*/ 270232 h 614713"/>
              <a:gd name="connsiteX1001" fmla="*/ 395585 w 736968"/>
              <a:gd name="connsiteY1001" fmla="*/ 266204 h 614713"/>
              <a:gd name="connsiteX1002" fmla="*/ 398475 w 736968"/>
              <a:gd name="connsiteY1002" fmla="*/ 265073 h 614713"/>
              <a:gd name="connsiteX1003" fmla="*/ 396631 w 736968"/>
              <a:gd name="connsiteY1003" fmla="*/ 260772 h 614713"/>
              <a:gd name="connsiteX1004" fmla="*/ 390686 w 736968"/>
              <a:gd name="connsiteY1004" fmla="*/ 252357 h 614713"/>
              <a:gd name="connsiteX1005" fmla="*/ 386887 w 736968"/>
              <a:gd name="connsiteY1005" fmla="*/ 254807 h 614713"/>
              <a:gd name="connsiteX1006" fmla="*/ 385223 w 736968"/>
              <a:gd name="connsiteY1006" fmla="*/ 253522 h 614713"/>
              <a:gd name="connsiteX1007" fmla="*/ 389495 w 736968"/>
              <a:gd name="connsiteY1007" fmla="*/ 248467 h 614713"/>
              <a:gd name="connsiteX1008" fmla="*/ 393543 w 736968"/>
              <a:gd name="connsiteY1008" fmla="*/ 244482 h 614713"/>
              <a:gd name="connsiteX1009" fmla="*/ 390764 w 736968"/>
              <a:gd name="connsiteY1009" fmla="*/ 238707 h 614713"/>
              <a:gd name="connsiteX1010" fmla="*/ 387531 w 736968"/>
              <a:gd name="connsiteY1010" fmla="*/ 233651 h 614713"/>
              <a:gd name="connsiteX1011" fmla="*/ 383851 w 736968"/>
              <a:gd name="connsiteY1011" fmla="*/ 228801 h 614713"/>
              <a:gd name="connsiteX1012" fmla="*/ 380094 w 736968"/>
              <a:gd name="connsiteY1012" fmla="*/ 226290 h 614713"/>
              <a:gd name="connsiteX1013" fmla="*/ 373498 w 736968"/>
              <a:gd name="connsiteY1013" fmla="*/ 223334 h 614713"/>
              <a:gd name="connsiteX1014" fmla="*/ 365255 w 736968"/>
              <a:gd name="connsiteY1014" fmla="*/ 218509 h 614713"/>
              <a:gd name="connsiteX1015" fmla="*/ 362262 w 736968"/>
              <a:gd name="connsiteY1015" fmla="*/ 215545 h 614713"/>
              <a:gd name="connsiteX1016" fmla="*/ 368540 w 736968"/>
              <a:gd name="connsiteY1016" fmla="*/ 215142 h 614713"/>
              <a:gd name="connsiteX1017" fmla="*/ 369398 w 736968"/>
              <a:gd name="connsiteY1017" fmla="*/ 211868 h 614713"/>
              <a:gd name="connsiteX1018" fmla="*/ 368540 w 736968"/>
              <a:gd name="connsiteY1018" fmla="*/ 211834 h 614713"/>
              <a:gd name="connsiteX1019" fmla="*/ 198590 w 736968"/>
              <a:gd name="connsiteY1019" fmla="*/ 79032 h 614713"/>
              <a:gd name="connsiteX1020" fmla="*/ 226492 w 736968"/>
              <a:gd name="connsiteY1020" fmla="*/ 106907 h 614713"/>
              <a:gd name="connsiteX1021" fmla="*/ 363051 w 736968"/>
              <a:gd name="connsiteY1021" fmla="*/ 50292 h 614713"/>
              <a:gd name="connsiteX1022" fmla="*/ 363051 w 736968"/>
              <a:gd name="connsiteY1022" fmla="*/ 11037 h 614713"/>
              <a:gd name="connsiteX1023" fmla="*/ 198590 w 736968"/>
              <a:gd name="connsiteY1023" fmla="*/ 79032 h 614713"/>
              <a:gd name="connsiteX1024" fmla="*/ 122766 w 736968"/>
              <a:gd name="connsiteY1024" fmla="*/ 251080 h 614713"/>
              <a:gd name="connsiteX1025" fmla="*/ 162068 w 736968"/>
              <a:gd name="connsiteY1025" fmla="*/ 251080 h 614713"/>
              <a:gd name="connsiteX1026" fmla="*/ 218729 w 736968"/>
              <a:gd name="connsiteY1026" fmla="*/ 114662 h 614713"/>
              <a:gd name="connsiteX1027" fmla="*/ 190827 w 736968"/>
              <a:gd name="connsiteY1027" fmla="*/ 86787 h 614713"/>
              <a:gd name="connsiteX1028" fmla="*/ 122766 w 736968"/>
              <a:gd name="connsiteY1028" fmla="*/ 251080 h 614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</a:cxnLst>
            <a:rect l="l" t="t" r="r" b="b"/>
            <a:pathLst>
              <a:path w="736968" h="614713">
                <a:moveTo>
                  <a:pt x="586884" y="559057"/>
                </a:moveTo>
                <a:cubicBezTo>
                  <a:pt x="587228" y="558979"/>
                  <a:pt x="587699" y="559357"/>
                  <a:pt x="587869" y="559556"/>
                </a:cubicBezTo>
                <a:cubicBezTo>
                  <a:pt x="574446" y="573299"/>
                  <a:pt x="557232" y="582717"/>
                  <a:pt x="540711" y="587411"/>
                </a:cubicBezTo>
                <a:cubicBezTo>
                  <a:pt x="528458" y="590894"/>
                  <a:pt x="516112" y="591475"/>
                  <a:pt x="503480" y="590061"/>
                </a:cubicBezTo>
                <a:cubicBezTo>
                  <a:pt x="484042" y="587886"/>
                  <a:pt x="466897" y="580106"/>
                  <a:pt x="450805" y="569540"/>
                </a:cubicBezTo>
                <a:cubicBezTo>
                  <a:pt x="441173" y="563213"/>
                  <a:pt x="431644" y="556736"/>
                  <a:pt x="422114" y="550259"/>
                </a:cubicBezTo>
                <a:cubicBezTo>
                  <a:pt x="411169" y="542813"/>
                  <a:pt x="399093" y="541447"/>
                  <a:pt x="386381" y="543521"/>
                </a:cubicBezTo>
                <a:cubicBezTo>
                  <a:pt x="379494" y="544267"/>
                  <a:pt x="384717" y="547575"/>
                  <a:pt x="385772" y="548099"/>
                </a:cubicBezTo>
                <a:cubicBezTo>
                  <a:pt x="402850" y="556455"/>
                  <a:pt x="418923" y="566464"/>
                  <a:pt x="433943" y="578037"/>
                </a:cubicBezTo>
                <a:cubicBezTo>
                  <a:pt x="444150" y="585522"/>
                  <a:pt x="462359" y="603058"/>
                  <a:pt x="462359" y="603058"/>
                </a:cubicBezTo>
                <a:lnTo>
                  <a:pt x="448738" y="614714"/>
                </a:lnTo>
                <a:cubicBezTo>
                  <a:pt x="448738" y="614714"/>
                  <a:pt x="438342" y="603078"/>
                  <a:pt x="433814" y="598553"/>
                </a:cubicBezTo>
                <a:cubicBezTo>
                  <a:pt x="403930" y="567457"/>
                  <a:pt x="377469" y="553786"/>
                  <a:pt x="371602" y="550414"/>
                </a:cubicBezTo>
                <a:cubicBezTo>
                  <a:pt x="370573" y="549823"/>
                  <a:pt x="369587" y="549256"/>
                  <a:pt x="368540" y="549256"/>
                </a:cubicBezTo>
                <a:cubicBezTo>
                  <a:pt x="367494" y="549256"/>
                  <a:pt x="366508" y="549823"/>
                  <a:pt x="365479" y="550414"/>
                </a:cubicBezTo>
                <a:cubicBezTo>
                  <a:pt x="359612" y="553786"/>
                  <a:pt x="333151" y="567457"/>
                  <a:pt x="303259" y="598553"/>
                </a:cubicBezTo>
                <a:cubicBezTo>
                  <a:pt x="298738" y="603078"/>
                  <a:pt x="288343" y="614714"/>
                  <a:pt x="288343" y="614714"/>
                </a:cubicBezTo>
                <a:lnTo>
                  <a:pt x="274713" y="603058"/>
                </a:lnTo>
                <a:cubicBezTo>
                  <a:pt x="274713" y="603058"/>
                  <a:pt x="292931" y="585522"/>
                  <a:pt x="303139" y="578037"/>
                </a:cubicBezTo>
                <a:cubicBezTo>
                  <a:pt x="318157" y="566464"/>
                  <a:pt x="334231" y="556455"/>
                  <a:pt x="351309" y="548099"/>
                </a:cubicBezTo>
                <a:cubicBezTo>
                  <a:pt x="352364" y="547575"/>
                  <a:pt x="357587" y="544267"/>
                  <a:pt x="350700" y="543521"/>
                </a:cubicBezTo>
                <a:cubicBezTo>
                  <a:pt x="337988" y="541447"/>
                  <a:pt x="325911" y="542813"/>
                  <a:pt x="314967" y="550259"/>
                </a:cubicBezTo>
                <a:cubicBezTo>
                  <a:pt x="305437" y="556736"/>
                  <a:pt x="295900" y="563213"/>
                  <a:pt x="286267" y="569540"/>
                </a:cubicBezTo>
                <a:cubicBezTo>
                  <a:pt x="270184" y="580106"/>
                  <a:pt x="253039" y="587886"/>
                  <a:pt x="233594" y="590061"/>
                </a:cubicBezTo>
                <a:cubicBezTo>
                  <a:pt x="220968" y="591475"/>
                  <a:pt x="208625" y="590894"/>
                  <a:pt x="196368" y="587411"/>
                </a:cubicBezTo>
                <a:cubicBezTo>
                  <a:pt x="179848" y="582717"/>
                  <a:pt x="162591" y="573241"/>
                  <a:pt x="149168" y="559498"/>
                </a:cubicBezTo>
                <a:cubicBezTo>
                  <a:pt x="149339" y="559299"/>
                  <a:pt x="149854" y="558979"/>
                  <a:pt x="150197" y="559057"/>
                </a:cubicBezTo>
                <a:cubicBezTo>
                  <a:pt x="151338" y="559565"/>
                  <a:pt x="152040" y="559924"/>
                  <a:pt x="153148" y="560500"/>
                </a:cubicBezTo>
                <a:cubicBezTo>
                  <a:pt x="173099" y="570756"/>
                  <a:pt x="194121" y="571948"/>
                  <a:pt x="215727" y="567791"/>
                </a:cubicBezTo>
                <a:cubicBezTo>
                  <a:pt x="230480" y="564952"/>
                  <a:pt x="244187" y="559052"/>
                  <a:pt x="257919" y="553190"/>
                </a:cubicBezTo>
                <a:cubicBezTo>
                  <a:pt x="267757" y="549000"/>
                  <a:pt x="277475" y="544378"/>
                  <a:pt x="287605" y="541036"/>
                </a:cubicBezTo>
                <a:cubicBezTo>
                  <a:pt x="313860" y="532384"/>
                  <a:pt x="340467" y="532485"/>
                  <a:pt x="367185" y="539248"/>
                </a:cubicBezTo>
                <a:cubicBezTo>
                  <a:pt x="367623" y="539369"/>
                  <a:pt x="368077" y="539427"/>
                  <a:pt x="368541" y="539485"/>
                </a:cubicBezTo>
                <a:cubicBezTo>
                  <a:pt x="368995" y="539427"/>
                  <a:pt x="369459" y="539369"/>
                  <a:pt x="369896" y="539248"/>
                </a:cubicBezTo>
                <a:cubicBezTo>
                  <a:pt x="396614" y="532485"/>
                  <a:pt x="423220" y="532384"/>
                  <a:pt x="449476" y="541036"/>
                </a:cubicBezTo>
                <a:cubicBezTo>
                  <a:pt x="459606" y="544378"/>
                  <a:pt x="469324" y="549000"/>
                  <a:pt x="479162" y="553190"/>
                </a:cubicBezTo>
                <a:cubicBezTo>
                  <a:pt x="492885" y="559052"/>
                  <a:pt x="506603" y="564952"/>
                  <a:pt x="521354" y="567791"/>
                </a:cubicBezTo>
                <a:cubicBezTo>
                  <a:pt x="542961" y="571948"/>
                  <a:pt x="563982" y="570756"/>
                  <a:pt x="583936" y="560500"/>
                </a:cubicBezTo>
                <a:cubicBezTo>
                  <a:pt x="585041" y="559924"/>
                  <a:pt x="585745" y="559565"/>
                  <a:pt x="586884" y="559057"/>
                </a:cubicBezTo>
                <a:close/>
                <a:moveTo>
                  <a:pt x="649912" y="501893"/>
                </a:moveTo>
                <a:cubicBezTo>
                  <a:pt x="638483" y="510661"/>
                  <a:pt x="631127" y="513563"/>
                  <a:pt x="621647" y="516814"/>
                </a:cubicBezTo>
                <a:cubicBezTo>
                  <a:pt x="607401" y="521697"/>
                  <a:pt x="592048" y="522685"/>
                  <a:pt x="577167" y="523465"/>
                </a:cubicBezTo>
                <a:cubicBezTo>
                  <a:pt x="557499" y="524492"/>
                  <a:pt x="538519" y="525340"/>
                  <a:pt x="519133" y="528484"/>
                </a:cubicBezTo>
                <a:lnTo>
                  <a:pt x="518822" y="528537"/>
                </a:lnTo>
                <a:cubicBezTo>
                  <a:pt x="517605" y="528731"/>
                  <a:pt x="517048" y="528217"/>
                  <a:pt x="517440" y="527801"/>
                </a:cubicBezTo>
                <a:cubicBezTo>
                  <a:pt x="517513" y="527728"/>
                  <a:pt x="517639" y="527636"/>
                  <a:pt x="517731" y="527602"/>
                </a:cubicBezTo>
                <a:cubicBezTo>
                  <a:pt x="535018" y="521275"/>
                  <a:pt x="546758" y="507885"/>
                  <a:pt x="555603" y="491071"/>
                </a:cubicBezTo>
                <a:cubicBezTo>
                  <a:pt x="561727" y="479427"/>
                  <a:pt x="571755" y="456676"/>
                  <a:pt x="574543" y="452957"/>
                </a:cubicBezTo>
                <a:cubicBezTo>
                  <a:pt x="574601" y="452880"/>
                  <a:pt x="574534" y="452126"/>
                  <a:pt x="574354" y="451980"/>
                </a:cubicBezTo>
                <a:cubicBezTo>
                  <a:pt x="573040" y="452409"/>
                  <a:pt x="554017" y="468587"/>
                  <a:pt x="545381" y="476599"/>
                </a:cubicBezTo>
                <a:cubicBezTo>
                  <a:pt x="534664" y="486546"/>
                  <a:pt x="524578" y="497174"/>
                  <a:pt x="513857" y="507120"/>
                </a:cubicBezTo>
                <a:cubicBezTo>
                  <a:pt x="497103" y="523102"/>
                  <a:pt x="473020" y="530121"/>
                  <a:pt x="464298" y="532384"/>
                </a:cubicBezTo>
                <a:cubicBezTo>
                  <a:pt x="464100" y="532432"/>
                  <a:pt x="463705" y="532582"/>
                  <a:pt x="463611" y="532694"/>
                </a:cubicBezTo>
                <a:cubicBezTo>
                  <a:pt x="463354" y="533028"/>
                  <a:pt x="463225" y="533333"/>
                  <a:pt x="463174" y="533478"/>
                </a:cubicBezTo>
                <a:cubicBezTo>
                  <a:pt x="463157" y="533541"/>
                  <a:pt x="463183" y="533585"/>
                  <a:pt x="463242" y="533590"/>
                </a:cubicBezTo>
                <a:lnTo>
                  <a:pt x="463637" y="533687"/>
                </a:lnTo>
                <a:cubicBezTo>
                  <a:pt x="470404" y="535227"/>
                  <a:pt x="489951" y="539471"/>
                  <a:pt x="499979" y="542145"/>
                </a:cubicBezTo>
                <a:cubicBezTo>
                  <a:pt x="515399" y="546272"/>
                  <a:pt x="530858" y="549736"/>
                  <a:pt x="546836" y="550860"/>
                </a:cubicBezTo>
                <a:cubicBezTo>
                  <a:pt x="564147" y="552076"/>
                  <a:pt x="581376" y="550259"/>
                  <a:pt x="597470" y="544267"/>
                </a:cubicBezTo>
                <a:cubicBezTo>
                  <a:pt x="615765" y="537456"/>
                  <a:pt x="638313" y="521363"/>
                  <a:pt x="651188" y="502082"/>
                </a:cubicBezTo>
                <a:cubicBezTo>
                  <a:pt x="651222" y="502033"/>
                  <a:pt x="651256" y="501946"/>
                  <a:pt x="651222" y="501927"/>
                </a:cubicBezTo>
                <a:cubicBezTo>
                  <a:pt x="650664" y="501636"/>
                  <a:pt x="650014" y="501825"/>
                  <a:pt x="649912" y="501893"/>
                </a:cubicBezTo>
                <a:close/>
                <a:moveTo>
                  <a:pt x="708819" y="411663"/>
                </a:moveTo>
                <a:cubicBezTo>
                  <a:pt x="708286" y="412348"/>
                  <a:pt x="698655" y="424953"/>
                  <a:pt x="675040" y="441106"/>
                </a:cubicBezTo>
                <a:cubicBezTo>
                  <a:pt x="663582" y="449084"/>
                  <a:pt x="652938" y="454166"/>
                  <a:pt x="640345" y="460001"/>
                </a:cubicBezTo>
                <a:cubicBezTo>
                  <a:pt x="624634" y="467293"/>
                  <a:pt x="611096" y="473951"/>
                  <a:pt x="597736" y="485005"/>
                </a:cubicBezTo>
                <a:cubicBezTo>
                  <a:pt x="596868" y="485718"/>
                  <a:pt x="596146" y="486255"/>
                  <a:pt x="595273" y="486900"/>
                </a:cubicBezTo>
                <a:cubicBezTo>
                  <a:pt x="594803" y="487244"/>
                  <a:pt x="594337" y="486657"/>
                  <a:pt x="594851" y="486061"/>
                </a:cubicBezTo>
                <a:cubicBezTo>
                  <a:pt x="595506" y="485306"/>
                  <a:pt x="615164" y="465194"/>
                  <a:pt x="621075" y="422571"/>
                </a:cubicBezTo>
                <a:cubicBezTo>
                  <a:pt x="623131" y="407696"/>
                  <a:pt x="623422" y="391629"/>
                  <a:pt x="628252" y="377293"/>
                </a:cubicBezTo>
                <a:cubicBezTo>
                  <a:pt x="628387" y="376838"/>
                  <a:pt x="628116" y="376351"/>
                  <a:pt x="627951" y="376127"/>
                </a:cubicBezTo>
                <a:cubicBezTo>
                  <a:pt x="627927" y="376093"/>
                  <a:pt x="627796" y="376179"/>
                  <a:pt x="627772" y="376213"/>
                </a:cubicBezTo>
                <a:cubicBezTo>
                  <a:pt x="613326" y="392717"/>
                  <a:pt x="601300" y="418390"/>
                  <a:pt x="595695" y="434440"/>
                </a:cubicBezTo>
                <a:cubicBezTo>
                  <a:pt x="591724" y="445802"/>
                  <a:pt x="587932" y="457224"/>
                  <a:pt x="583824" y="468535"/>
                </a:cubicBezTo>
                <a:cubicBezTo>
                  <a:pt x="578248" y="483882"/>
                  <a:pt x="570965" y="498289"/>
                  <a:pt x="559147" y="509968"/>
                </a:cubicBezTo>
                <a:cubicBezTo>
                  <a:pt x="558973" y="510148"/>
                  <a:pt x="558081" y="511083"/>
                  <a:pt x="558081" y="511083"/>
                </a:cubicBezTo>
                <a:cubicBezTo>
                  <a:pt x="558081" y="511083"/>
                  <a:pt x="557935" y="511354"/>
                  <a:pt x="557887" y="511785"/>
                </a:cubicBezTo>
                <a:cubicBezTo>
                  <a:pt x="557887" y="511824"/>
                  <a:pt x="557945" y="511911"/>
                  <a:pt x="557979" y="511901"/>
                </a:cubicBezTo>
                <a:cubicBezTo>
                  <a:pt x="559671" y="511611"/>
                  <a:pt x="560777" y="511451"/>
                  <a:pt x="561863" y="511218"/>
                </a:cubicBezTo>
                <a:cubicBezTo>
                  <a:pt x="575023" y="508501"/>
                  <a:pt x="588101" y="505357"/>
                  <a:pt x="601334" y="503152"/>
                </a:cubicBezTo>
                <a:cubicBezTo>
                  <a:pt x="623456" y="499471"/>
                  <a:pt x="642784" y="491623"/>
                  <a:pt x="660605" y="477953"/>
                </a:cubicBezTo>
                <a:cubicBezTo>
                  <a:pt x="678483" y="464242"/>
                  <a:pt x="693612" y="448270"/>
                  <a:pt x="703485" y="427832"/>
                </a:cubicBezTo>
                <a:cubicBezTo>
                  <a:pt x="706050" y="422520"/>
                  <a:pt x="708460" y="417319"/>
                  <a:pt x="710046" y="411501"/>
                </a:cubicBezTo>
                <a:cubicBezTo>
                  <a:pt x="709711" y="411372"/>
                  <a:pt x="709178" y="411397"/>
                  <a:pt x="708819" y="411663"/>
                </a:cubicBezTo>
                <a:close/>
                <a:moveTo>
                  <a:pt x="734621" y="310240"/>
                </a:moveTo>
                <a:cubicBezTo>
                  <a:pt x="728943" y="328329"/>
                  <a:pt x="718672" y="342974"/>
                  <a:pt x="703698" y="358724"/>
                </a:cubicBezTo>
                <a:cubicBezTo>
                  <a:pt x="691954" y="370831"/>
                  <a:pt x="669357" y="393728"/>
                  <a:pt x="658917" y="409606"/>
                </a:cubicBezTo>
                <a:cubicBezTo>
                  <a:pt x="658626" y="410052"/>
                  <a:pt x="657846" y="409855"/>
                  <a:pt x="658137" y="409050"/>
                </a:cubicBezTo>
                <a:cubicBezTo>
                  <a:pt x="663160" y="395228"/>
                  <a:pt x="665308" y="370780"/>
                  <a:pt x="662297" y="351834"/>
                </a:cubicBezTo>
                <a:cubicBezTo>
                  <a:pt x="659722" y="335673"/>
                  <a:pt x="652638" y="318038"/>
                  <a:pt x="650887" y="298261"/>
                </a:cubicBezTo>
                <a:cubicBezTo>
                  <a:pt x="650873" y="298167"/>
                  <a:pt x="650897" y="298149"/>
                  <a:pt x="650863" y="298055"/>
                </a:cubicBezTo>
                <a:cubicBezTo>
                  <a:pt x="650761" y="297798"/>
                  <a:pt x="650320" y="297198"/>
                  <a:pt x="650029" y="297173"/>
                </a:cubicBezTo>
                <a:cubicBezTo>
                  <a:pt x="650024" y="297233"/>
                  <a:pt x="649835" y="297516"/>
                  <a:pt x="649360" y="299049"/>
                </a:cubicBezTo>
                <a:cubicBezTo>
                  <a:pt x="645965" y="310541"/>
                  <a:pt x="641718" y="324936"/>
                  <a:pt x="641014" y="338304"/>
                </a:cubicBezTo>
                <a:cubicBezTo>
                  <a:pt x="640156" y="354431"/>
                  <a:pt x="643201" y="375168"/>
                  <a:pt x="641873" y="391766"/>
                </a:cubicBezTo>
                <a:cubicBezTo>
                  <a:pt x="640331" y="410943"/>
                  <a:pt x="639017" y="429915"/>
                  <a:pt x="630216" y="447310"/>
                </a:cubicBezTo>
                <a:cubicBezTo>
                  <a:pt x="630172" y="447396"/>
                  <a:pt x="630148" y="447498"/>
                  <a:pt x="630114" y="447593"/>
                </a:cubicBezTo>
                <a:cubicBezTo>
                  <a:pt x="629934" y="448056"/>
                  <a:pt x="630424" y="448913"/>
                  <a:pt x="630424" y="448913"/>
                </a:cubicBezTo>
                <a:cubicBezTo>
                  <a:pt x="630424" y="448913"/>
                  <a:pt x="630502" y="448895"/>
                  <a:pt x="630536" y="448870"/>
                </a:cubicBezTo>
                <a:cubicBezTo>
                  <a:pt x="637591" y="444371"/>
                  <a:pt x="657705" y="432520"/>
                  <a:pt x="670967" y="423677"/>
                </a:cubicBezTo>
                <a:cubicBezTo>
                  <a:pt x="687522" y="412631"/>
                  <a:pt x="702161" y="399504"/>
                  <a:pt x="713615" y="382991"/>
                </a:cubicBezTo>
                <a:cubicBezTo>
                  <a:pt x="727910" y="362357"/>
                  <a:pt x="736216" y="337507"/>
                  <a:pt x="735795" y="312194"/>
                </a:cubicBezTo>
                <a:cubicBezTo>
                  <a:pt x="735775" y="311337"/>
                  <a:pt x="735717" y="309829"/>
                  <a:pt x="735625" y="309641"/>
                </a:cubicBezTo>
                <a:cubicBezTo>
                  <a:pt x="735436" y="309564"/>
                  <a:pt x="734665" y="310112"/>
                  <a:pt x="734621" y="310240"/>
                </a:cubicBezTo>
                <a:close/>
                <a:moveTo>
                  <a:pt x="691954" y="321158"/>
                </a:moveTo>
                <a:cubicBezTo>
                  <a:pt x="691896" y="321397"/>
                  <a:pt x="691692" y="321500"/>
                  <a:pt x="691619" y="321526"/>
                </a:cubicBezTo>
                <a:cubicBezTo>
                  <a:pt x="691212" y="321646"/>
                  <a:pt x="691013" y="321148"/>
                  <a:pt x="691023" y="321037"/>
                </a:cubicBezTo>
                <a:cubicBezTo>
                  <a:pt x="691663" y="315913"/>
                  <a:pt x="691707" y="309589"/>
                  <a:pt x="691358" y="304773"/>
                </a:cubicBezTo>
                <a:cubicBezTo>
                  <a:pt x="689976" y="285827"/>
                  <a:pt x="678532" y="270138"/>
                  <a:pt x="668499" y="254370"/>
                </a:cubicBezTo>
                <a:cubicBezTo>
                  <a:pt x="663267" y="246144"/>
                  <a:pt x="654199" y="231766"/>
                  <a:pt x="650329" y="222083"/>
                </a:cubicBezTo>
                <a:cubicBezTo>
                  <a:pt x="650296" y="221997"/>
                  <a:pt x="649534" y="221517"/>
                  <a:pt x="649301" y="221620"/>
                </a:cubicBezTo>
                <a:cubicBezTo>
                  <a:pt x="649200" y="223317"/>
                  <a:pt x="649549" y="228895"/>
                  <a:pt x="649927" y="232502"/>
                </a:cubicBezTo>
                <a:cubicBezTo>
                  <a:pt x="652739" y="259624"/>
                  <a:pt x="661385" y="286179"/>
                  <a:pt x="670332" y="311920"/>
                </a:cubicBezTo>
                <a:cubicBezTo>
                  <a:pt x="676321" y="329152"/>
                  <a:pt x="679312" y="343917"/>
                  <a:pt x="677470" y="362134"/>
                </a:cubicBezTo>
                <a:cubicBezTo>
                  <a:pt x="677271" y="363651"/>
                  <a:pt x="677223" y="363813"/>
                  <a:pt x="677853" y="364277"/>
                </a:cubicBezTo>
                <a:cubicBezTo>
                  <a:pt x="677882" y="364294"/>
                  <a:pt x="677916" y="364233"/>
                  <a:pt x="677930" y="364260"/>
                </a:cubicBezTo>
                <a:cubicBezTo>
                  <a:pt x="684050" y="355442"/>
                  <a:pt x="695959" y="343068"/>
                  <a:pt x="703296" y="334140"/>
                </a:cubicBezTo>
                <a:cubicBezTo>
                  <a:pt x="711248" y="324473"/>
                  <a:pt x="751292" y="278869"/>
                  <a:pt x="731566" y="215331"/>
                </a:cubicBezTo>
                <a:cubicBezTo>
                  <a:pt x="730373" y="211500"/>
                  <a:pt x="728948" y="208184"/>
                  <a:pt x="728463" y="207464"/>
                </a:cubicBezTo>
                <a:cubicBezTo>
                  <a:pt x="728152" y="207472"/>
                  <a:pt x="727619" y="208261"/>
                  <a:pt x="727561" y="208467"/>
                </a:cubicBezTo>
                <a:cubicBezTo>
                  <a:pt x="727682" y="254174"/>
                  <a:pt x="705551" y="273797"/>
                  <a:pt x="696313" y="305065"/>
                </a:cubicBezTo>
                <a:cubicBezTo>
                  <a:pt x="694553" y="311020"/>
                  <a:pt x="693166" y="316547"/>
                  <a:pt x="691954" y="321158"/>
                </a:cubicBezTo>
                <a:close/>
                <a:moveTo>
                  <a:pt x="657467" y="179092"/>
                </a:moveTo>
                <a:cubicBezTo>
                  <a:pt x="650208" y="172828"/>
                  <a:pt x="639409" y="161680"/>
                  <a:pt x="633091" y="151962"/>
                </a:cubicBezTo>
                <a:cubicBezTo>
                  <a:pt x="633047" y="151885"/>
                  <a:pt x="632994" y="151834"/>
                  <a:pt x="632946" y="151782"/>
                </a:cubicBezTo>
                <a:cubicBezTo>
                  <a:pt x="632858" y="151697"/>
                  <a:pt x="632766" y="151620"/>
                  <a:pt x="632669" y="151568"/>
                </a:cubicBezTo>
                <a:cubicBezTo>
                  <a:pt x="632276" y="151320"/>
                  <a:pt x="631767" y="151294"/>
                  <a:pt x="631631" y="151363"/>
                </a:cubicBezTo>
                <a:cubicBezTo>
                  <a:pt x="631340" y="151311"/>
                  <a:pt x="631098" y="151328"/>
                  <a:pt x="631117" y="151397"/>
                </a:cubicBezTo>
                <a:cubicBezTo>
                  <a:pt x="631510" y="153299"/>
                  <a:pt x="637809" y="173462"/>
                  <a:pt x="641873" y="182854"/>
                </a:cubicBezTo>
                <a:cubicBezTo>
                  <a:pt x="647750" y="196410"/>
                  <a:pt x="657181" y="207772"/>
                  <a:pt x="666026" y="219443"/>
                </a:cubicBezTo>
                <a:cubicBezTo>
                  <a:pt x="666661" y="220292"/>
                  <a:pt x="667306" y="221131"/>
                  <a:pt x="667941" y="221989"/>
                </a:cubicBezTo>
                <a:cubicBezTo>
                  <a:pt x="676815" y="233908"/>
                  <a:pt x="691013" y="259306"/>
                  <a:pt x="694437" y="272340"/>
                </a:cubicBezTo>
                <a:cubicBezTo>
                  <a:pt x="694529" y="272708"/>
                  <a:pt x="695319" y="273051"/>
                  <a:pt x="695353" y="272897"/>
                </a:cubicBezTo>
                <a:cubicBezTo>
                  <a:pt x="696595" y="268244"/>
                  <a:pt x="702336" y="250172"/>
                  <a:pt x="706589" y="237969"/>
                </a:cubicBezTo>
                <a:cubicBezTo>
                  <a:pt x="707481" y="235433"/>
                  <a:pt x="715011" y="210934"/>
                  <a:pt x="716529" y="200335"/>
                </a:cubicBezTo>
                <a:cubicBezTo>
                  <a:pt x="720825" y="170266"/>
                  <a:pt x="710904" y="131251"/>
                  <a:pt x="693336" y="109931"/>
                </a:cubicBezTo>
                <a:cubicBezTo>
                  <a:pt x="693045" y="110034"/>
                  <a:pt x="692798" y="110814"/>
                  <a:pt x="692846" y="110986"/>
                </a:cubicBezTo>
                <a:cubicBezTo>
                  <a:pt x="693176" y="111988"/>
                  <a:pt x="693404" y="112759"/>
                  <a:pt x="693695" y="113762"/>
                </a:cubicBezTo>
                <a:cubicBezTo>
                  <a:pt x="694083" y="115073"/>
                  <a:pt x="694451" y="116393"/>
                  <a:pt x="694762" y="117738"/>
                </a:cubicBezTo>
                <a:cubicBezTo>
                  <a:pt x="699339" y="137327"/>
                  <a:pt x="697807" y="151149"/>
                  <a:pt x="695557" y="167807"/>
                </a:cubicBezTo>
                <a:cubicBezTo>
                  <a:pt x="693768" y="181088"/>
                  <a:pt x="691193" y="194233"/>
                  <a:pt x="691876" y="207627"/>
                </a:cubicBezTo>
                <a:cubicBezTo>
                  <a:pt x="691993" y="209863"/>
                  <a:pt x="693365" y="226350"/>
                  <a:pt x="693157" y="226975"/>
                </a:cubicBezTo>
                <a:cubicBezTo>
                  <a:pt x="692924" y="227712"/>
                  <a:pt x="692255" y="227146"/>
                  <a:pt x="692177" y="226761"/>
                </a:cubicBezTo>
                <a:cubicBezTo>
                  <a:pt x="692153" y="226641"/>
                  <a:pt x="690019" y="220635"/>
                  <a:pt x="687871" y="215605"/>
                </a:cubicBezTo>
                <a:cubicBezTo>
                  <a:pt x="686984" y="213419"/>
                  <a:pt x="686082" y="211354"/>
                  <a:pt x="685325" y="209863"/>
                </a:cubicBezTo>
                <a:cubicBezTo>
                  <a:pt x="678275" y="195879"/>
                  <a:pt x="669158" y="188621"/>
                  <a:pt x="657467" y="179092"/>
                </a:cubicBezTo>
                <a:close/>
                <a:moveTo>
                  <a:pt x="638090" y="57360"/>
                </a:moveTo>
                <a:cubicBezTo>
                  <a:pt x="643725" y="62853"/>
                  <a:pt x="648109" y="68989"/>
                  <a:pt x="651173" y="76187"/>
                </a:cubicBezTo>
                <a:cubicBezTo>
                  <a:pt x="656017" y="87540"/>
                  <a:pt x="657443" y="104611"/>
                  <a:pt x="660571" y="117524"/>
                </a:cubicBezTo>
                <a:cubicBezTo>
                  <a:pt x="662486" y="125364"/>
                  <a:pt x="663660" y="130917"/>
                  <a:pt x="666414" y="139820"/>
                </a:cubicBezTo>
                <a:cubicBezTo>
                  <a:pt x="666661" y="140600"/>
                  <a:pt x="665847" y="140960"/>
                  <a:pt x="665434" y="140214"/>
                </a:cubicBezTo>
                <a:cubicBezTo>
                  <a:pt x="665366" y="140111"/>
                  <a:pt x="665299" y="140017"/>
                  <a:pt x="665221" y="139923"/>
                </a:cubicBezTo>
                <a:cubicBezTo>
                  <a:pt x="656163" y="127661"/>
                  <a:pt x="644928" y="120009"/>
                  <a:pt x="628911" y="109914"/>
                </a:cubicBezTo>
                <a:cubicBezTo>
                  <a:pt x="619402" y="103676"/>
                  <a:pt x="612153" y="98030"/>
                  <a:pt x="605267" y="88698"/>
                </a:cubicBezTo>
                <a:cubicBezTo>
                  <a:pt x="604074" y="87095"/>
                  <a:pt x="602847" y="85527"/>
                  <a:pt x="601635" y="83950"/>
                </a:cubicBezTo>
                <a:cubicBezTo>
                  <a:pt x="601533" y="83822"/>
                  <a:pt x="600806" y="83565"/>
                  <a:pt x="600583" y="83650"/>
                </a:cubicBezTo>
                <a:cubicBezTo>
                  <a:pt x="600549" y="84010"/>
                  <a:pt x="600709" y="84722"/>
                  <a:pt x="600854" y="85630"/>
                </a:cubicBezTo>
                <a:cubicBezTo>
                  <a:pt x="602905" y="95939"/>
                  <a:pt x="609820" y="115013"/>
                  <a:pt x="621657" y="126315"/>
                </a:cubicBezTo>
                <a:cubicBezTo>
                  <a:pt x="630172" y="134439"/>
                  <a:pt x="639744" y="141654"/>
                  <a:pt x="648836" y="149169"/>
                </a:cubicBezTo>
                <a:cubicBezTo>
                  <a:pt x="665051" y="162725"/>
                  <a:pt x="676878" y="177361"/>
                  <a:pt x="680685" y="182203"/>
                </a:cubicBezTo>
                <a:lnTo>
                  <a:pt x="680859" y="182391"/>
                </a:lnTo>
                <a:cubicBezTo>
                  <a:pt x="680859" y="182391"/>
                  <a:pt x="681587" y="182853"/>
                  <a:pt x="681567" y="182597"/>
                </a:cubicBezTo>
                <a:cubicBezTo>
                  <a:pt x="681562" y="182536"/>
                  <a:pt x="681562" y="182459"/>
                  <a:pt x="681553" y="182399"/>
                </a:cubicBezTo>
                <a:lnTo>
                  <a:pt x="681567" y="182382"/>
                </a:lnTo>
                <a:cubicBezTo>
                  <a:pt x="681344" y="180009"/>
                  <a:pt x="681262" y="176238"/>
                  <a:pt x="681262" y="171783"/>
                </a:cubicBezTo>
                <a:cubicBezTo>
                  <a:pt x="681267" y="161860"/>
                  <a:pt x="681713" y="148587"/>
                  <a:pt x="682154" y="139452"/>
                </a:cubicBezTo>
                <a:cubicBezTo>
                  <a:pt x="682324" y="135759"/>
                  <a:pt x="682450" y="132048"/>
                  <a:pt x="682435" y="128347"/>
                </a:cubicBezTo>
                <a:cubicBezTo>
                  <a:pt x="682411" y="117318"/>
                  <a:pt x="681175" y="106419"/>
                  <a:pt x="676534" y="95964"/>
                </a:cubicBezTo>
                <a:cubicBezTo>
                  <a:pt x="668994" y="79015"/>
                  <a:pt x="657783" y="65536"/>
                  <a:pt x="641014" y="57198"/>
                </a:cubicBezTo>
                <a:cubicBezTo>
                  <a:pt x="640030" y="56710"/>
                  <a:pt x="638726" y="56213"/>
                  <a:pt x="637887" y="56006"/>
                </a:cubicBezTo>
                <a:cubicBezTo>
                  <a:pt x="637853" y="55998"/>
                  <a:pt x="637732" y="56530"/>
                  <a:pt x="637969" y="57206"/>
                </a:cubicBezTo>
                <a:cubicBezTo>
                  <a:pt x="637989" y="57275"/>
                  <a:pt x="638037" y="57318"/>
                  <a:pt x="638090" y="57360"/>
                </a:cubicBezTo>
                <a:close/>
                <a:moveTo>
                  <a:pt x="568632" y="25321"/>
                </a:moveTo>
                <a:cubicBezTo>
                  <a:pt x="578340" y="33942"/>
                  <a:pt x="586128" y="44147"/>
                  <a:pt x="593421" y="54833"/>
                </a:cubicBezTo>
                <a:cubicBezTo>
                  <a:pt x="600408" y="65081"/>
                  <a:pt x="607323" y="75476"/>
                  <a:pt x="616827" y="83702"/>
                </a:cubicBezTo>
                <a:cubicBezTo>
                  <a:pt x="623107" y="90034"/>
                  <a:pt x="641383" y="104225"/>
                  <a:pt x="645956" y="107764"/>
                </a:cubicBezTo>
                <a:cubicBezTo>
                  <a:pt x="646023" y="107824"/>
                  <a:pt x="646091" y="107892"/>
                  <a:pt x="646154" y="107918"/>
                </a:cubicBezTo>
                <a:cubicBezTo>
                  <a:pt x="646300" y="107977"/>
                  <a:pt x="646538" y="107892"/>
                  <a:pt x="646538" y="107892"/>
                </a:cubicBezTo>
                <a:cubicBezTo>
                  <a:pt x="646538" y="107892"/>
                  <a:pt x="646513" y="107764"/>
                  <a:pt x="646504" y="107686"/>
                </a:cubicBezTo>
                <a:cubicBezTo>
                  <a:pt x="645543" y="102442"/>
                  <a:pt x="637285" y="63976"/>
                  <a:pt x="613181" y="44936"/>
                </a:cubicBezTo>
                <a:cubicBezTo>
                  <a:pt x="600229" y="33745"/>
                  <a:pt x="583024" y="26889"/>
                  <a:pt x="566314" y="22288"/>
                </a:cubicBezTo>
                <a:cubicBezTo>
                  <a:pt x="566145" y="22605"/>
                  <a:pt x="566334" y="23436"/>
                  <a:pt x="566436" y="23419"/>
                </a:cubicBezTo>
                <a:cubicBezTo>
                  <a:pt x="567240" y="24121"/>
                  <a:pt x="567827" y="24610"/>
                  <a:pt x="568632" y="25321"/>
                </a:cubicBezTo>
                <a:close/>
                <a:moveTo>
                  <a:pt x="190133" y="550860"/>
                </a:moveTo>
                <a:cubicBezTo>
                  <a:pt x="206112" y="549736"/>
                  <a:pt x="221569" y="546272"/>
                  <a:pt x="236991" y="542145"/>
                </a:cubicBezTo>
                <a:cubicBezTo>
                  <a:pt x="247017" y="539471"/>
                  <a:pt x="266565" y="535227"/>
                  <a:pt x="273332" y="533687"/>
                </a:cubicBezTo>
                <a:lnTo>
                  <a:pt x="273727" y="533590"/>
                </a:lnTo>
                <a:cubicBezTo>
                  <a:pt x="273787" y="533585"/>
                  <a:pt x="273813" y="533541"/>
                  <a:pt x="273796" y="533478"/>
                </a:cubicBezTo>
                <a:cubicBezTo>
                  <a:pt x="273744" y="533333"/>
                  <a:pt x="273615" y="533028"/>
                  <a:pt x="273358" y="532694"/>
                </a:cubicBezTo>
                <a:cubicBezTo>
                  <a:pt x="273264" y="532582"/>
                  <a:pt x="272869" y="532432"/>
                  <a:pt x="272663" y="532384"/>
                </a:cubicBezTo>
                <a:cubicBezTo>
                  <a:pt x="263949" y="530131"/>
                  <a:pt x="239864" y="523102"/>
                  <a:pt x="223112" y="507120"/>
                </a:cubicBezTo>
                <a:cubicBezTo>
                  <a:pt x="212391" y="497174"/>
                  <a:pt x="202304" y="486546"/>
                  <a:pt x="191591" y="476599"/>
                </a:cubicBezTo>
                <a:cubicBezTo>
                  <a:pt x="182953" y="468587"/>
                  <a:pt x="163929" y="452408"/>
                  <a:pt x="162617" y="451972"/>
                </a:cubicBezTo>
                <a:cubicBezTo>
                  <a:pt x="162436" y="452126"/>
                  <a:pt x="162368" y="452880"/>
                  <a:pt x="162428" y="452957"/>
                </a:cubicBezTo>
                <a:cubicBezTo>
                  <a:pt x="165215" y="456676"/>
                  <a:pt x="175243" y="479427"/>
                  <a:pt x="181367" y="491071"/>
                </a:cubicBezTo>
                <a:cubicBezTo>
                  <a:pt x="190210" y="507885"/>
                  <a:pt x="201952" y="521275"/>
                  <a:pt x="219235" y="527602"/>
                </a:cubicBezTo>
                <a:cubicBezTo>
                  <a:pt x="219330" y="527636"/>
                  <a:pt x="219459" y="527728"/>
                  <a:pt x="219527" y="527801"/>
                </a:cubicBezTo>
                <a:cubicBezTo>
                  <a:pt x="219922" y="528217"/>
                  <a:pt x="219364" y="528731"/>
                  <a:pt x="218146" y="528537"/>
                </a:cubicBezTo>
                <a:lnTo>
                  <a:pt x="217837" y="528484"/>
                </a:lnTo>
                <a:cubicBezTo>
                  <a:pt x="198452" y="525340"/>
                  <a:pt x="179471" y="524492"/>
                  <a:pt x="159803" y="523465"/>
                </a:cubicBezTo>
                <a:cubicBezTo>
                  <a:pt x="144922" y="522685"/>
                  <a:pt x="129569" y="521697"/>
                  <a:pt x="115321" y="516814"/>
                </a:cubicBezTo>
                <a:cubicBezTo>
                  <a:pt x="105844" y="513563"/>
                  <a:pt x="98484" y="510661"/>
                  <a:pt x="87059" y="501893"/>
                </a:cubicBezTo>
                <a:cubicBezTo>
                  <a:pt x="86948" y="501825"/>
                  <a:pt x="86304" y="501636"/>
                  <a:pt x="85747" y="501927"/>
                </a:cubicBezTo>
                <a:cubicBezTo>
                  <a:pt x="85712" y="501946"/>
                  <a:pt x="85747" y="502033"/>
                  <a:pt x="85782" y="502082"/>
                </a:cubicBezTo>
                <a:cubicBezTo>
                  <a:pt x="98656" y="521363"/>
                  <a:pt x="121206" y="537456"/>
                  <a:pt x="139501" y="544267"/>
                </a:cubicBezTo>
                <a:cubicBezTo>
                  <a:pt x="155591" y="550259"/>
                  <a:pt x="172824" y="552076"/>
                  <a:pt x="190133" y="550860"/>
                </a:cubicBezTo>
                <a:close/>
                <a:moveTo>
                  <a:pt x="175105" y="511218"/>
                </a:moveTo>
                <a:cubicBezTo>
                  <a:pt x="176194" y="511451"/>
                  <a:pt x="177301" y="511611"/>
                  <a:pt x="178991" y="511901"/>
                </a:cubicBezTo>
                <a:cubicBezTo>
                  <a:pt x="179025" y="511911"/>
                  <a:pt x="179085" y="511824"/>
                  <a:pt x="179085" y="511775"/>
                </a:cubicBezTo>
                <a:cubicBezTo>
                  <a:pt x="179033" y="511354"/>
                  <a:pt x="178887" y="511078"/>
                  <a:pt x="178887" y="511078"/>
                </a:cubicBezTo>
                <a:cubicBezTo>
                  <a:pt x="178887" y="511078"/>
                  <a:pt x="177996" y="510148"/>
                  <a:pt x="177816" y="509968"/>
                </a:cubicBezTo>
                <a:cubicBezTo>
                  <a:pt x="166004" y="498279"/>
                  <a:pt x="158731" y="483882"/>
                  <a:pt x="153148" y="468535"/>
                </a:cubicBezTo>
                <a:cubicBezTo>
                  <a:pt x="149039" y="457224"/>
                  <a:pt x="145239" y="445802"/>
                  <a:pt x="141276" y="434439"/>
                </a:cubicBezTo>
                <a:cubicBezTo>
                  <a:pt x="135667" y="418390"/>
                  <a:pt x="123642" y="392726"/>
                  <a:pt x="109197" y="376213"/>
                </a:cubicBezTo>
                <a:cubicBezTo>
                  <a:pt x="109171" y="376179"/>
                  <a:pt x="109043" y="376093"/>
                  <a:pt x="109017" y="376127"/>
                </a:cubicBezTo>
                <a:cubicBezTo>
                  <a:pt x="108855" y="376351"/>
                  <a:pt x="108580" y="376838"/>
                  <a:pt x="108717" y="377284"/>
                </a:cubicBezTo>
                <a:cubicBezTo>
                  <a:pt x="113546" y="391629"/>
                  <a:pt x="113837" y="407696"/>
                  <a:pt x="115896" y="422571"/>
                </a:cubicBezTo>
                <a:cubicBezTo>
                  <a:pt x="121806" y="465194"/>
                  <a:pt x="141465" y="485306"/>
                  <a:pt x="142117" y="486061"/>
                </a:cubicBezTo>
                <a:cubicBezTo>
                  <a:pt x="142632" y="486657"/>
                  <a:pt x="142159" y="487244"/>
                  <a:pt x="141697" y="486900"/>
                </a:cubicBezTo>
                <a:cubicBezTo>
                  <a:pt x="140830" y="486255"/>
                  <a:pt x="140102" y="485722"/>
                  <a:pt x="139235" y="485005"/>
                </a:cubicBezTo>
                <a:cubicBezTo>
                  <a:pt x="125872" y="473951"/>
                  <a:pt x="112336" y="467293"/>
                  <a:pt x="96623" y="460001"/>
                </a:cubicBezTo>
                <a:cubicBezTo>
                  <a:pt x="84032" y="454165"/>
                  <a:pt x="73387" y="449084"/>
                  <a:pt x="61928" y="441106"/>
                </a:cubicBezTo>
                <a:cubicBezTo>
                  <a:pt x="38315" y="424953"/>
                  <a:pt x="28682" y="412348"/>
                  <a:pt x="28142" y="411663"/>
                </a:cubicBezTo>
                <a:cubicBezTo>
                  <a:pt x="27790" y="411397"/>
                  <a:pt x="27258" y="411372"/>
                  <a:pt x="26924" y="411500"/>
                </a:cubicBezTo>
                <a:cubicBezTo>
                  <a:pt x="28519" y="417318"/>
                  <a:pt x="30921" y="422520"/>
                  <a:pt x="33486" y="427832"/>
                </a:cubicBezTo>
                <a:cubicBezTo>
                  <a:pt x="43358" y="448269"/>
                  <a:pt x="58488" y="464234"/>
                  <a:pt x="76363" y="477953"/>
                </a:cubicBezTo>
                <a:cubicBezTo>
                  <a:pt x="94187" y="491618"/>
                  <a:pt x="113512" y="499471"/>
                  <a:pt x="135633" y="503152"/>
                </a:cubicBezTo>
                <a:cubicBezTo>
                  <a:pt x="148867" y="505357"/>
                  <a:pt x="161948" y="508510"/>
                  <a:pt x="175105" y="511218"/>
                </a:cubicBezTo>
                <a:close/>
                <a:moveTo>
                  <a:pt x="66002" y="423677"/>
                </a:moveTo>
                <a:cubicBezTo>
                  <a:pt x="79263" y="432520"/>
                  <a:pt x="99377" y="444371"/>
                  <a:pt x="106435" y="448870"/>
                </a:cubicBezTo>
                <a:cubicBezTo>
                  <a:pt x="106470" y="448895"/>
                  <a:pt x="106547" y="448912"/>
                  <a:pt x="106547" y="448912"/>
                </a:cubicBezTo>
                <a:cubicBezTo>
                  <a:pt x="106547" y="448912"/>
                  <a:pt x="107036" y="448056"/>
                  <a:pt x="106856" y="447593"/>
                </a:cubicBezTo>
                <a:cubicBezTo>
                  <a:pt x="106821" y="447498"/>
                  <a:pt x="106796" y="447396"/>
                  <a:pt x="106752" y="447310"/>
                </a:cubicBezTo>
                <a:cubicBezTo>
                  <a:pt x="97952" y="429915"/>
                  <a:pt x="96640" y="410943"/>
                  <a:pt x="95096" y="391766"/>
                </a:cubicBezTo>
                <a:cubicBezTo>
                  <a:pt x="93767" y="375168"/>
                  <a:pt x="96812" y="354431"/>
                  <a:pt x="95954" y="338304"/>
                </a:cubicBezTo>
                <a:cubicBezTo>
                  <a:pt x="95242" y="324936"/>
                  <a:pt x="90996" y="310541"/>
                  <a:pt x="87608" y="299049"/>
                </a:cubicBezTo>
                <a:cubicBezTo>
                  <a:pt x="87137" y="297516"/>
                  <a:pt x="86948" y="297233"/>
                  <a:pt x="86939" y="297173"/>
                </a:cubicBezTo>
                <a:cubicBezTo>
                  <a:pt x="86648" y="297198"/>
                  <a:pt x="86210" y="297798"/>
                  <a:pt x="86107" y="298055"/>
                </a:cubicBezTo>
                <a:cubicBezTo>
                  <a:pt x="86073" y="298149"/>
                  <a:pt x="86099" y="298167"/>
                  <a:pt x="86081" y="298261"/>
                </a:cubicBezTo>
                <a:cubicBezTo>
                  <a:pt x="84332" y="318038"/>
                  <a:pt x="77238" y="335673"/>
                  <a:pt x="74674" y="351834"/>
                </a:cubicBezTo>
                <a:cubicBezTo>
                  <a:pt x="71663" y="370780"/>
                  <a:pt x="73807" y="395228"/>
                  <a:pt x="78834" y="409050"/>
                </a:cubicBezTo>
                <a:cubicBezTo>
                  <a:pt x="79125" y="409855"/>
                  <a:pt x="78336" y="410052"/>
                  <a:pt x="78053" y="409606"/>
                </a:cubicBezTo>
                <a:cubicBezTo>
                  <a:pt x="67614" y="393728"/>
                  <a:pt x="45014" y="370831"/>
                  <a:pt x="33271" y="358724"/>
                </a:cubicBezTo>
                <a:cubicBezTo>
                  <a:pt x="18295" y="342974"/>
                  <a:pt x="8028" y="328329"/>
                  <a:pt x="2350" y="310240"/>
                </a:cubicBezTo>
                <a:cubicBezTo>
                  <a:pt x="2307" y="310112"/>
                  <a:pt x="1535" y="309564"/>
                  <a:pt x="1355" y="309641"/>
                </a:cubicBezTo>
                <a:cubicBezTo>
                  <a:pt x="1252" y="309829"/>
                  <a:pt x="1192" y="311337"/>
                  <a:pt x="1174" y="312194"/>
                </a:cubicBezTo>
                <a:cubicBezTo>
                  <a:pt x="754" y="337507"/>
                  <a:pt x="9058" y="362357"/>
                  <a:pt x="23356" y="382991"/>
                </a:cubicBezTo>
                <a:cubicBezTo>
                  <a:pt x="34806" y="399503"/>
                  <a:pt x="49448" y="412631"/>
                  <a:pt x="66002" y="423677"/>
                </a:cubicBezTo>
                <a:close/>
                <a:moveTo>
                  <a:pt x="59037" y="364260"/>
                </a:moveTo>
                <a:cubicBezTo>
                  <a:pt x="59055" y="364233"/>
                  <a:pt x="59088" y="364294"/>
                  <a:pt x="59115" y="364285"/>
                </a:cubicBezTo>
                <a:cubicBezTo>
                  <a:pt x="59749" y="363813"/>
                  <a:pt x="59698" y="363651"/>
                  <a:pt x="59501" y="362134"/>
                </a:cubicBezTo>
                <a:cubicBezTo>
                  <a:pt x="57657" y="343925"/>
                  <a:pt x="60650" y="329152"/>
                  <a:pt x="66637" y="311920"/>
                </a:cubicBezTo>
                <a:cubicBezTo>
                  <a:pt x="75583" y="286178"/>
                  <a:pt x="84229" y="259623"/>
                  <a:pt x="87042" y="232511"/>
                </a:cubicBezTo>
                <a:cubicBezTo>
                  <a:pt x="87420" y="228895"/>
                  <a:pt x="87771" y="223317"/>
                  <a:pt x="87668" y="221620"/>
                </a:cubicBezTo>
                <a:cubicBezTo>
                  <a:pt x="87437" y="221517"/>
                  <a:pt x="86673" y="221997"/>
                  <a:pt x="86639" y="222091"/>
                </a:cubicBezTo>
                <a:cubicBezTo>
                  <a:pt x="82770" y="231766"/>
                  <a:pt x="73705" y="246153"/>
                  <a:pt x="68472" y="254370"/>
                </a:cubicBezTo>
                <a:cubicBezTo>
                  <a:pt x="58437" y="270138"/>
                  <a:pt x="46986" y="285827"/>
                  <a:pt x="45614" y="304773"/>
                </a:cubicBezTo>
                <a:cubicBezTo>
                  <a:pt x="45262" y="309589"/>
                  <a:pt x="45305" y="315913"/>
                  <a:pt x="45948" y="321037"/>
                </a:cubicBezTo>
                <a:cubicBezTo>
                  <a:pt x="45957" y="321148"/>
                  <a:pt x="45760" y="321646"/>
                  <a:pt x="45348" y="321526"/>
                </a:cubicBezTo>
                <a:cubicBezTo>
                  <a:pt x="45279" y="321500"/>
                  <a:pt x="45073" y="321397"/>
                  <a:pt x="45014" y="321158"/>
                </a:cubicBezTo>
                <a:cubicBezTo>
                  <a:pt x="43804" y="316547"/>
                  <a:pt x="42415" y="311020"/>
                  <a:pt x="40648" y="305065"/>
                </a:cubicBezTo>
                <a:cubicBezTo>
                  <a:pt x="31419" y="273797"/>
                  <a:pt x="9289" y="254174"/>
                  <a:pt x="9409" y="208467"/>
                </a:cubicBezTo>
                <a:cubicBezTo>
                  <a:pt x="9349" y="208261"/>
                  <a:pt x="8817" y="207472"/>
                  <a:pt x="8509" y="207464"/>
                </a:cubicBezTo>
                <a:cubicBezTo>
                  <a:pt x="8019" y="208184"/>
                  <a:pt x="6596" y="211500"/>
                  <a:pt x="5403" y="215331"/>
                </a:cubicBezTo>
                <a:cubicBezTo>
                  <a:pt x="-14325" y="278869"/>
                  <a:pt x="25723" y="324473"/>
                  <a:pt x="33666" y="334140"/>
                </a:cubicBezTo>
                <a:cubicBezTo>
                  <a:pt x="41008" y="343068"/>
                  <a:pt x="52921" y="355442"/>
                  <a:pt x="59037" y="364260"/>
                </a:cubicBezTo>
                <a:close/>
                <a:moveTo>
                  <a:pt x="30372" y="237961"/>
                </a:moveTo>
                <a:cubicBezTo>
                  <a:pt x="34643" y="250172"/>
                  <a:pt x="40373" y="268243"/>
                  <a:pt x="41617" y="272905"/>
                </a:cubicBezTo>
                <a:cubicBezTo>
                  <a:pt x="41651" y="273051"/>
                  <a:pt x="42440" y="272708"/>
                  <a:pt x="42535" y="272340"/>
                </a:cubicBezTo>
                <a:cubicBezTo>
                  <a:pt x="45957" y="259306"/>
                  <a:pt x="60152" y="233908"/>
                  <a:pt x="69030" y="221988"/>
                </a:cubicBezTo>
                <a:cubicBezTo>
                  <a:pt x="69664" y="221131"/>
                  <a:pt x="70308" y="220292"/>
                  <a:pt x="70943" y="219443"/>
                </a:cubicBezTo>
                <a:cubicBezTo>
                  <a:pt x="79786" y="207772"/>
                  <a:pt x="89221" y="196410"/>
                  <a:pt x="95096" y="182853"/>
                </a:cubicBezTo>
                <a:cubicBezTo>
                  <a:pt x="99162" y="173462"/>
                  <a:pt x="105458" y="153299"/>
                  <a:pt x="105861" y="151397"/>
                </a:cubicBezTo>
                <a:cubicBezTo>
                  <a:pt x="105869" y="151328"/>
                  <a:pt x="105629" y="151311"/>
                  <a:pt x="105338" y="151354"/>
                </a:cubicBezTo>
                <a:cubicBezTo>
                  <a:pt x="105200" y="151294"/>
                  <a:pt x="104694" y="151320"/>
                  <a:pt x="104300" y="151568"/>
                </a:cubicBezTo>
                <a:cubicBezTo>
                  <a:pt x="104205" y="151620"/>
                  <a:pt x="104111" y="151697"/>
                  <a:pt x="104025" y="151782"/>
                </a:cubicBezTo>
                <a:cubicBezTo>
                  <a:pt x="103973" y="151825"/>
                  <a:pt x="103922" y="151885"/>
                  <a:pt x="103879" y="151962"/>
                </a:cubicBezTo>
                <a:cubicBezTo>
                  <a:pt x="97558" y="161680"/>
                  <a:pt x="86759" y="172828"/>
                  <a:pt x="79503" y="179092"/>
                </a:cubicBezTo>
                <a:cubicBezTo>
                  <a:pt x="67812" y="188621"/>
                  <a:pt x="58694" y="195879"/>
                  <a:pt x="51644" y="209863"/>
                </a:cubicBezTo>
                <a:cubicBezTo>
                  <a:pt x="50889" y="211354"/>
                  <a:pt x="49988" y="213419"/>
                  <a:pt x="49096" y="215596"/>
                </a:cubicBezTo>
                <a:cubicBezTo>
                  <a:pt x="46952" y="220635"/>
                  <a:pt x="44816" y="226641"/>
                  <a:pt x="44790" y="226761"/>
                </a:cubicBezTo>
                <a:cubicBezTo>
                  <a:pt x="44713" y="227146"/>
                  <a:pt x="44044" y="227712"/>
                  <a:pt x="43804" y="226975"/>
                </a:cubicBezTo>
                <a:cubicBezTo>
                  <a:pt x="43606" y="226350"/>
                  <a:pt x="44979" y="209863"/>
                  <a:pt x="45099" y="207627"/>
                </a:cubicBezTo>
                <a:cubicBezTo>
                  <a:pt x="45768" y="194233"/>
                  <a:pt x="43203" y="181088"/>
                  <a:pt x="41411" y="167807"/>
                </a:cubicBezTo>
                <a:cubicBezTo>
                  <a:pt x="39164" y="151149"/>
                  <a:pt x="37628" y="137327"/>
                  <a:pt x="42200" y="117729"/>
                </a:cubicBezTo>
                <a:cubicBezTo>
                  <a:pt x="42508" y="116401"/>
                  <a:pt x="42886" y="115073"/>
                  <a:pt x="43272" y="113762"/>
                </a:cubicBezTo>
                <a:cubicBezTo>
                  <a:pt x="43564" y="112759"/>
                  <a:pt x="43795" y="111988"/>
                  <a:pt x="44121" y="110986"/>
                </a:cubicBezTo>
                <a:cubicBezTo>
                  <a:pt x="44172" y="110814"/>
                  <a:pt x="43924" y="110034"/>
                  <a:pt x="43632" y="109931"/>
                </a:cubicBezTo>
                <a:cubicBezTo>
                  <a:pt x="26066" y="131251"/>
                  <a:pt x="16142" y="170266"/>
                  <a:pt x="20440" y="200335"/>
                </a:cubicBezTo>
                <a:cubicBezTo>
                  <a:pt x="21958" y="210934"/>
                  <a:pt x="29488" y="235433"/>
                  <a:pt x="30372" y="237961"/>
                </a:cubicBezTo>
                <a:close/>
                <a:moveTo>
                  <a:pt x="55709" y="171783"/>
                </a:moveTo>
                <a:cubicBezTo>
                  <a:pt x="55709" y="176238"/>
                  <a:pt x="55624" y="180009"/>
                  <a:pt x="55401" y="182382"/>
                </a:cubicBezTo>
                <a:lnTo>
                  <a:pt x="55418" y="182399"/>
                </a:lnTo>
                <a:cubicBezTo>
                  <a:pt x="55409" y="182459"/>
                  <a:pt x="55409" y="182537"/>
                  <a:pt x="55401" y="182597"/>
                </a:cubicBezTo>
                <a:cubicBezTo>
                  <a:pt x="55375" y="182853"/>
                  <a:pt x="56113" y="182391"/>
                  <a:pt x="56113" y="182391"/>
                </a:cubicBezTo>
                <a:lnTo>
                  <a:pt x="56284" y="182203"/>
                </a:lnTo>
                <a:cubicBezTo>
                  <a:pt x="60092" y="177361"/>
                  <a:pt x="71912" y="162725"/>
                  <a:pt x="88132" y="149169"/>
                </a:cubicBezTo>
                <a:cubicBezTo>
                  <a:pt x="97224" y="141654"/>
                  <a:pt x="106796" y="134439"/>
                  <a:pt x="115313" y="126315"/>
                </a:cubicBezTo>
                <a:cubicBezTo>
                  <a:pt x="127150" y="115013"/>
                  <a:pt x="134063" y="95939"/>
                  <a:pt x="136113" y="85630"/>
                </a:cubicBezTo>
                <a:cubicBezTo>
                  <a:pt x="136259" y="84722"/>
                  <a:pt x="136422" y="84010"/>
                  <a:pt x="136387" y="83650"/>
                </a:cubicBezTo>
                <a:cubicBezTo>
                  <a:pt x="136165" y="83565"/>
                  <a:pt x="135435" y="83822"/>
                  <a:pt x="135332" y="83950"/>
                </a:cubicBezTo>
                <a:cubicBezTo>
                  <a:pt x="134123" y="85527"/>
                  <a:pt x="132896" y="87095"/>
                  <a:pt x="131713" y="88698"/>
                </a:cubicBezTo>
                <a:cubicBezTo>
                  <a:pt x="124816" y="98030"/>
                  <a:pt x="117568" y="103676"/>
                  <a:pt x="108056" y="109914"/>
                </a:cubicBezTo>
                <a:cubicBezTo>
                  <a:pt x="92042" y="120009"/>
                  <a:pt x="80806" y="127661"/>
                  <a:pt x="71748" y="139923"/>
                </a:cubicBezTo>
                <a:cubicBezTo>
                  <a:pt x="71680" y="140017"/>
                  <a:pt x="71602" y="140111"/>
                  <a:pt x="71534" y="140214"/>
                </a:cubicBezTo>
                <a:cubicBezTo>
                  <a:pt x="71122" y="140960"/>
                  <a:pt x="70308" y="140600"/>
                  <a:pt x="70557" y="139820"/>
                </a:cubicBezTo>
                <a:cubicBezTo>
                  <a:pt x="73310" y="130917"/>
                  <a:pt x="74485" y="125364"/>
                  <a:pt x="76397" y="117524"/>
                </a:cubicBezTo>
                <a:cubicBezTo>
                  <a:pt x="79528" y="104611"/>
                  <a:pt x="80952" y="87540"/>
                  <a:pt x="85799" y="76187"/>
                </a:cubicBezTo>
                <a:cubicBezTo>
                  <a:pt x="88860" y="68989"/>
                  <a:pt x="93243" y="62853"/>
                  <a:pt x="98870" y="57360"/>
                </a:cubicBezTo>
                <a:cubicBezTo>
                  <a:pt x="98930" y="57318"/>
                  <a:pt x="98982" y="57275"/>
                  <a:pt x="99008" y="57207"/>
                </a:cubicBezTo>
                <a:cubicBezTo>
                  <a:pt x="99239" y="56530"/>
                  <a:pt x="99119" y="55998"/>
                  <a:pt x="99085" y="56016"/>
                </a:cubicBezTo>
                <a:cubicBezTo>
                  <a:pt x="98244" y="56213"/>
                  <a:pt x="96932" y="56710"/>
                  <a:pt x="95954" y="57198"/>
                </a:cubicBezTo>
                <a:cubicBezTo>
                  <a:pt x="79185" y="65536"/>
                  <a:pt x="67975" y="79015"/>
                  <a:pt x="60436" y="95964"/>
                </a:cubicBezTo>
                <a:cubicBezTo>
                  <a:pt x="55795" y="106419"/>
                  <a:pt x="54560" y="117318"/>
                  <a:pt x="54534" y="128347"/>
                </a:cubicBezTo>
                <a:cubicBezTo>
                  <a:pt x="54526" y="132048"/>
                  <a:pt x="54646" y="135759"/>
                  <a:pt x="54817" y="139452"/>
                </a:cubicBezTo>
                <a:cubicBezTo>
                  <a:pt x="55255" y="148595"/>
                  <a:pt x="55700" y="161860"/>
                  <a:pt x="55709" y="171783"/>
                </a:cubicBezTo>
                <a:close/>
                <a:moveTo>
                  <a:pt x="90430" y="107892"/>
                </a:moveTo>
                <a:cubicBezTo>
                  <a:pt x="90430" y="107892"/>
                  <a:pt x="90670" y="107977"/>
                  <a:pt x="90816" y="107918"/>
                </a:cubicBezTo>
                <a:cubicBezTo>
                  <a:pt x="90876" y="107892"/>
                  <a:pt x="90944" y="107815"/>
                  <a:pt x="91014" y="107764"/>
                </a:cubicBezTo>
                <a:cubicBezTo>
                  <a:pt x="95585" y="104225"/>
                  <a:pt x="113854" y="90034"/>
                  <a:pt x="120142" y="83702"/>
                </a:cubicBezTo>
                <a:cubicBezTo>
                  <a:pt x="129645" y="75467"/>
                  <a:pt x="136559" y="65081"/>
                  <a:pt x="143550" y="54833"/>
                </a:cubicBezTo>
                <a:cubicBezTo>
                  <a:pt x="150832" y="44147"/>
                  <a:pt x="158628" y="33942"/>
                  <a:pt x="168338" y="25321"/>
                </a:cubicBezTo>
                <a:cubicBezTo>
                  <a:pt x="169135" y="24610"/>
                  <a:pt x="169727" y="24130"/>
                  <a:pt x="170533" y="23410"/>
                </a:cubicBezTo>
                <a:cubicBezTo>
                  <a:pt x="170628" y="23436"/>
                  <a:pt x="170825" y="22605"/>
                  <a:pt x="170654" y="22288"/>
                </a:cubicBezTo>
                <a:cubicBezTo>
                  <a:pt x="153945" y="26889"/>
                  <a:pt x="136739" y="33745"/>
                  <a:pt x="123788" y="44936"/>
                </a:cubicBezTo>
                <a:cubicBezTo>
                  <a:pt x="99685" y="63976"/>
                  <a:pt x="91425" y="102442"/>
                  <a:pt x="90465" y="107686"/>
                </a:cubicBezTo>
                <a:cubicBezTo>
                  <a:pt x="90456" y="107764"/>
                  <a:pt x="90430" y="107892"/>
                  <a:pt x="90430" y="107892"/>
                </a:cubicBezTo>
                <a:close/>
                <a:moveTo>
                  <a:pt x="361962" y="317499"/>
                </a:moveTo>
                <a:cubicBezTo>
                  <a:pt x="363849" y="314662"/>
                  <a:pt x="359140" y="312871"/>
                  <a:pt x="357913" y="317798"/>
                </a:cubicBezTo>
                <a:cubicBezTo>
                  <a:pt x="356764" y="322383"/>
                  <a:pt x="360066" y="320326"/>
                  <a:pt x="361962" y="317499"/>
                </a:cubicBezTo>
                <a:close/>
                <a:moveTo>
                  <a:pt x="413348" y="198801"/>
                </a:moveTo>
                <a:cubicBezTo>
                  <a:pt x="411522" y="197850"/>
                  <a:pt x="404007" y="207001"/>
                  <a:pt x="405209" y="208483"/>
                </a:cubicBezTo>
                <a:cubicBezTo>
                  <a:pt x="405749" y="209075"/>
                  <a:pt x="414009" y="199238"/>
                  <a:pt x="413348" y="198801"/>
                </a:cubicBezTo>
                <a:close/>
                <a:moveTo>
                  <a:pt x="414961" y="197181"/>
                </a:moveTo>
                <a:cubicBezTo>
                  <a:pt x="416093" y="197772"/>
                  <a:pt x="421077" y="195065"/>
                  <a:pt x="420150" y="194336"/>
                </a:cubicBezTo>
                <a:cubicBezTo>
                  <a:pt x="419232" y="193599"/>
                  <a:pt x="413374" y="190892"/>
                  <a:pt x="413254" y="192545"/>
                </a:cubicBezTo>
                <a:cubicBezTo>
                  <a:pt x="413083" y="195236"/>
                  <a:pt x="413820" y="196590"/>
                  <a:pt x="414961" y="197181"/>
                </a:cubicBezTo>
                <a:close/>
                <a:moveTo>
                  <a:pt x="505468" y="276444"/>
                </a:moveTo>
                <a:cubicBezTo>
                  <a:pt x="503111" y="276547"/>
                  <a:pt x="500556" y="279958"/>
                  <a:pt x="501274" y="280001"/>
                </a:cubicBezTo>
                <a:cubicBezTo>
                  <a:pt x="502971" y="280086"/>
                  <a:pt x="504265" y="281303"/>
                  <a:pt x="505633" y="281003"/>
                </a:cubicBezTo>
                <a:cubicBezTo>
                  <a:pt x="508135" y="280446"/>
                  <a:pt x="507830" y="276350"/>
                  <a:pt x="505468" y="276444"/>
                </a:cubicBezTo>
                <a:close/>
                <a:moveTo>
                  <a:pt x="472669" y="191097"/>
                </a:moveTo>
                <a:cubicBezTo>
                  <a:pt x="470636" y="191149"/>
                  <a:pt x="470121" y="193359"/>
                  <a:pt x="472077" y="194362"/>
                </a:cubicBezTo>
                <a:cubicBezTo>
                  <a:pt x="472952" y="194816"/>
                  <a:pt x="475739" y="194405"/>
                  <a:pt x="477018" y="193599"/>
                </a:cubicBezTo>
                <a:cubicBezTo>
                  <a:pt x="478364" y="192751"/>
                  <a:pt x="479934" y="191697"/>
                  <a:pt x="479642" y="189640"/>
                </a:cubicBezTo>
                <a:cubicBezTo>
                  <a:pt x="479470" y="188389"/>
                  <a:pt x="476554" y="184859"/>
                  <a:pt x="478081" y="183505"/>
                </a:cubicBezTo>
                <a:cubicBezTo>
                  <a:pt x="479728" y="182031"/>
                  <a:pt x="481392" y="184319"/>
                  <a:pt x="483004" y="183693"/>
                </a:cubicBezTo>
                <a:cubicBezTo>
                  <a:pt x="484971" y="182931"/>
                  <a:pt x="484789" y="181808"/>
                  <a:pt x="484849" y="180138"/>
                </a:cubicBezTo>
                <a:cubicBezTo>
                  <a:pt x="484927" y="177824"/>
                  <a:pt x="484000" y="174782"/>
                  <a:pt x="481315" y="174782"/>
                </a:cubicBezTo>
                <a:cubicBezTo>
                  <a:pt x="479316" y="174782"/>
                  <a:pt x="475843" y="180129"/>
                  <a:pt x="475688" y="180454"/>
                </a:cubicBezTo>
                <a:cubicBezTo>
                  <a:pt x="475422" y="181037"/>
                  <a:pt x="474865" y="182991"/>
                  <a:pt x="475722" y="184979"/>
                </a:cubicBezTo>
                <a:cubicBezTo>
                  <a:pt x="476915" y="187747"/>
                  <a:pt x="476451" y="190994"/>
                  <a:pt x="472669" y="191097"/>
                </a:cubicBezTo>
                <a:close/>
                <a:moveTo>
                  <a:pt x="517125" y="191466"/>
                </a:moveTo>
                <a:cubicBezTo>
                  <a:pt x="517067" y="192700"/>
                  <a:pt x="520631" y="201286"/>
                  <a:pt x="520995" y="203625"/>
                </a:cubicBezTo>
                <a:cubicBezTo>
                  <a:pt x="521354" y="205964"/>
                  <a:pt x="522091" y="212974"/>
                  <a:pt x="523977" y="212254"/>
                </a:cubicBezTo>
                <a:cubicBezTo>
                  <a:pt x="525170" y="211791"/>
                  <a:pt x="525058" y="207498"/>
                  <a:pt x="524801" y="205836"/>
                </a:cubicBezTo>
                <a:cubicBezTo>
                  <a:pt x="524040" y="200960"/>
                  <a:pt x="523051" y="196745"/>
                  <a:pt x="521252" y="191268"/>
                </a:cubicBezTo>
                <a:cubicBezTo>
                  <a:pt x="520297" y="188355"/>
                  <a:pt x="516165" y="178844"/>
                  <a:pt x="514793" y="179177"/>
                </a:cubicBezTo>
                <a:cubicBezTo>
                  <a:pt x="513576" y="179469"/>
                  <a:pt x="516844" y="186101"/>
                  <a:pt x="517324" y="188261"/>
                </a:cubicBezTo>
                <a:cubicBezTo>
                  <a:pt x="517639" y="189666"/>
                  <a:pt x="517193" y="190223"/>
                  <a:pt x="517125" y="191466"/>
                </a:cubicBezTo>
                <a:close/>
                <a:moveTo>
                  <a:pt x="493631" y="76958"/>
                </a:moveTo>
                <a:cubicBezTo>
                  <a:pt x="495828" y="77789"/>
                  <a:pt x="495818" y="73693"/>
                  <a:pt x="492089" y="70668"/>
                </a:cubicBezTo>
                <a:cubicBezTo>
                  <a:pt x="488380" y="67652"/>
                  <a:pt x="483442" y="69118"/>
                  <a:pt x="484780" y="70609"/>
                </a:cubicBezTo>
                <a:cubicBezTo>
                  <a:pt x="485989" y="71945"/>
                  <a:pt x="491687" y="76213"/>
                  <a:pt x="493631" y="76958"/>
                </a:cubicBezTo>
                <a:close/>
                <a:moveTo>
                  <a:pt x="392480" y="47935"/>
                </a:moveTo>
                <a:cubicBezTo>
                  <a:pt x="388071" y="45090"/>
                  <a:pt x="391759" y="41166"/>
                  <a:pt x="388234" y="38527"/>
                </a:cubicBezTo>
                <a:cubicBezTo>
                  <a:pt x="385764" y="36675"/>
                  <a:pt x="378842" y="38509"/>
                  <a:pt x="377126" y="40703"/>
                </a:cubicBezTo>
                <a:cubicBezTo>
                  <a:pt x="374150" y="44550"/>
                  <a:pt x="380969" y="43273"/>
                  <a:pt x="383440" y="44370"/>
                </a:cubicBezTo>
                <a:cubicBezTo>
                  <a:pt x="386202" y="45587"/>
                  <a:pt x="392129" y="50677"/>
                  <a:pt x="393183" y="49649"/>
                </a:cubicBezTo>
                <a:cubicBezTo>
                  <a:pt x="394230" y="48612"/>
                  <a:pt x="392968" y="48389"/>
                  <a:pt x="392480" y="47935"/>
                </a:cubicBezTo>
                <a:close/>
                <a:moveTo>
                  <a:pt x="419275" y="34465"/>
                </a:moveTo>
                <a:cubicBezTo>
                  <a:pt x="413339" y="31757"/>
                  <a:pt x="390987" y="31876"/>
                  <a:pt x="391570" y="37686"/>
                </a:cubicBezTo>
                <a:cubicBezTo>
                  <a:pt x="392051" y="42648"/>
                  <a:pt x="404480" y="37986"/>
                  <a:pt x="407696" y="37712"/>
                </a:cubicBezTo>
                <a:cubicBezTo>
                  <a:pt x="410921" y="37430"/>
                  <a:pt x="424516" y="37155"/>
                  <a:pt x="419275" y="34465"/>
                </a:cubicBezTo>
                <a:close/>
                <a:moveTo>
                  <a:pt x="353873" y="294294"/>
                </a:moveTo>
                <a:cubicBezTo>
                  <a:pt x="353581" y="293188"/>
                  <a:pt x="351643" y="293368"/>
                  <a:pt x="352124" y="294388"/>
                </a:cubicBezTo>
                <a:cubicBezTo>
                  <a:pt x="352604" y="295407"/>
                  <a:pt x="351540" y="296444"/>
                  <a:pt x="352535" y="297721"/>
                </a:cubicBezTo>
                <a:cubicBezTo>
                  <a:pt x="353839" y="299118"/>
                  <a:pt x="356652" y="298947"/>
                  <a:pt x="358068" y="297790"/>
                </a:cubicBezTo>
                <a:cubicBezTo>
                  <a:pt x="358883" y="296907"/>
                  <a:pt x="358368" y="295236"/>
                  <a:pt x="357750" y="294911"/>
                </a:cubicBezTo>
                <a:cubicBezTo>
                  <a:pt x="356678" y="294379"/>
                  <a:pt x="354165" y="295399"/>
                  <a:pt x="353873" y="294294"/>
                </a:cubicBezTo>
                <a:close/>
                <a:moveTo>
                  <a:pt x="345262" y="249872"/>
                </a:moveTo>
                <a:cubicBezTo>
                  <a:pt x="347106" y="249872"/>
                  <a:pt x="347038" y="248492"/>
                  <a:pt x="348109" y="248544"/>
                </a:cubicBezTo>
                <a:cubicBezTo>
                  <a:pt x="349190" y="248587"/>
                  <a:pt x="348307" y="249941"/>
                  <a:pt x="350176" y="249941"/>
                </a:cubicBezTo>
                <a:cubicBezTo>
                  <a:pt x="352029" y="249941"/>
                  <a:pt x="353977" y="245168"/>
                  <a:pt x="348015" y="245168"/>
                </a:cubicBezTo>
                <a:cubicBezTo>
                  <a:pt x="343160" y="245168"/>
                  <a:pt x="343804" y="249804"/>
                  <a:pt x="345262" y="249871"/>
                </a:cubicBezTo>
                <a:close/>
                <a:moveTo>
                  <a:pt x="352998" y="254807"/>
                </a:moveTo>
                <a:cubicBezTo>
                  <a:pt x="349293" y="253856"/>
                  <a:pt x="350048" y="255965"/>
                  <a:pt x="347775" y="256213"/>
                </a:cubicBezTo>
                <a:cubicBezTo>
                  <a:pt x="344009" y="256625"/>
                  <a:pt x="347355" y="253436"/>
                  <a:pt x="345502" y="251971"/>
                </a:cubicBezTo>
                <a:cubicBezTo>
                  <a:pt x="344687" y="251329"/>
                  <a:pt x="342474" y="254550"/>
                  <a:pt x="342311" y="256564"/>
                </a:cubicBezTo>
                <a:cubicBezTo>
                  <a:pt x="342208" y="257532"/>
                  <a:pt x="342183" y="260814"/>
                  <a:pt x="343778" y="260917"/>
                </a:cubicBezTo>
                <a:cubicBezTo>
                  <a:pt x="345373" y="261020"/>
                  <a:pt x="353762" y="261980"/>
                  <a:pt x="356558" y="262614"/>
                </a:cubicBezTo>
                <a:cubicBezTo>
                  <a:pt x="359758" y="263351"/>
                  <a:pt x="356430" y="255691"/>
                  <a:pt x="352998" y="254807"/>
                </a:cubicBezTo>
                <a:close/>
                <a:moveTo>
                  <a:pt x="311699" y="299290"/>
                </a:moveTo>
                <a:cubicBezTo>
                  <a:pt x="312840" y="299290"/>
                  <a:pt x="313663" y="295245"/>
                  <a:pt x="312960" y="293257"/>
                </a:cubicBezTo>
                <a:cubicBezTo>
                  <a:pt x="312248" y="291269"/>
                  <a:pt x="308577" y="292760"/>
                  <a:pt x="308251" y="293685"/>
                </a:cubicBezTo>
                <a:cubicBezTo>
                  <a:pt x="307934" y="294619"/>
                  <a:pt x="310550" y="299290"/>
                  <a:pt x="311699" y="299290"/>
                </a:cubicBezTo>
                <a:close/>
                <a:moveTo>
                  <a:pt x="257567" y="298887"/>
                </a:moveTo>
                <a:cubicBezTo>
                  <a:pt x="257731" y="297147"/>
                  <a:pt x="257585" y="292057"/>
                  <a:pt x="256366" y="291072"/>
                </a:cubicBezTo>
                <a:cubicBezTo>
                  <a:pt x="255149" y="290095"/>
                  <a:pt x="255312" y="291937"/>
                  <a:pt x="254437" y="291835"/>
                </a:cubicBezTo>
                <a:cubicBezTo>
                  <a:pt x="253760" y="291757"/>
                  <a:pt x="253819" y="289392"/>
                  <a:pt x="252961" y="289401"/>
                </a:cubicBezTo>
                <a:cubicBezTo>
                  <a:pt x="252104" y="289401"/>
                  <a:pt x="253253" y="293445"/>
                  <a:pt x="254171" y="295793"/>
                </a:cubicBezTo>
                <a:cubicBezTo>
                  <a:pt x="255089" y="298149"/>
                  <a:pt x="257353" y="301997"/>
                  <a:pt x="257567" y="298887"/>
                </a:cubicBezTo>
                <a:close/>
                <a:moveTo>
                  <a:pt x="256264" y="286530"/>
                </a:moveTo>
                <a:cubicBezTo>
                  <a:pt x="256547" y="285930"/>
                  <a:pt x="258399" y="277455"/>
                  <a:pt x="258116" y="274216"/>
                </a:cubicBezTo>
                <a:cubicBezTo>
                  <a:pt x="257825" y="270986"/>
                  <a:pt x="256101" y="267935"/>
                  <a:pt x="255664" y="268158"/>
                </a:cubicBezTo>
                <a:cubicBezTo>
                  <a:pt x="255080" y="268458"/>
                  <a:pt x="255929" y="270395"/>
                  <a:pt x="256032" y="273531"/>
                </a:cubicBezTo>
                <a:cubicBezTo>
                  <a:pt x="256187" y="278218"/>
                  <a:pt x="253973" y="282117"/>
                  <a:pt x="253973" y="283660"/>
                </a:cubicBezTo>
                <a:cubicBezTo>
                  <a:pt x="253965" y="285116"/>
                  <a:pt x="255363" y="288415"/>
                  <a:pt x="256264" y="286530"/>
                </a:cubicBezTo>
                <a:close/>
                <a:moveTo>
                  <a:pt x="111728" y="256564"/>
                </a:moveTo>
                <a:cubicBezTo>
                  <a:pt x="111728" y="187978"/>
                  <a:pt x="138429" y="123539"/>
                  <a:pt x="186908" y="75107"/>
                </a:cubicBezTo>
                <a:cubicBezTo>
                  <a:pt x="235378" y="26675"/>
                  <a:pt x="299888" y="0"/>
                  <a:pt x="368541" y="0"/>
                </a:cubicBezTo>
                <a:cubicBezTo>
                  <a:pt x="437193" y="0"/>
                  <a:pt x="501695" y="26675"/>
                  <a:pt x="550172" y="75107"/>
                </a:cubicBezTo>
                <a:cubicBezTo>
                  <a:pt x="598653" y="123539"/>
                  <a:pt x="625352" y="187978"/>
                  <a:pt x="625352" y="256564"/>
                </a:cubicBezTo>
                <a:cubicBezTo>
                  <a:pt x="625352" y="325150"/>
                  <a:pt x="598653" y="389598"/>
                  <a:pt x="550172" y="438021"/>
                </a:cubicBezTo>
                <a:cubicBezTo>
                  <a:pt x="501695" y="486454"/>
                  <a:pt x="437193" y="513127"/>
                  <a:pt x="368541" y="513127"/>
                </a:cubicBezTo>
                <a:cubicBezTo>
                  <a:pt x="299888" y="513127"/>
                  <a:pt x="235378" y="486454"/>
                  <a:pt x="186908" y="438021"/>
                </a:cubicBezTo>
                <a:cubicBezTo>
                  <a:pt x="138429" y="389598"/>
                  <a:pt x="111728" y="325150"/>
                  <a:pt x="111728" y="256564"/>
                </a:cubicBezTo>
                <a:close/>
                <a:moveTo>
                  <a:pt x="190836" y="426350"/>
                </a:moveTo>
                <a:lnTo>
                  <a:pt x="218738" y="398475"/>
                </a:lnTo>
                <a:cubicBezTo>
                  <a:pt x="213248" y="392691"/>
                  <a:pt x="208093" y="386590"/>
                  <a:pt x="203299" y="380215"/>
                </a:cubicBezTo>
                <a:cubicBezTo>
                  <a:pt x="201137" y="379358"/>
                  <a:pt x="198941" y="378159"/>
                  <a:pt x="197432" y="376291"/>
                </a:cubicBezTo>
                <a:cubicBezTo>
                  <a:pt x="195047" y="373317"/>
                  <a:pt x="193795" y="368964"/>
                  <a:pt x="192663" y="368964"/>
                </a:cubicBezTo>
                <a:cubicBezTo>
                  <a:pt x="191522" y="368973"/>
                  <a:pt x="192569" y="371732"/>
                  <a:pt x="190030" y="372100"/>
                </a:cubicBezTo>
                <a:cubicBezTo>
                  <a:pt x="186573" y="372605"/>
                  <a:pt x="181693" y="364020"/>
                  <a:pt x="179788" y="360892"/>
                </a:cubicBezTo>
                <a:cubicBezTo>
                  <a:pt x="177541" y="357207"/>
                  <a:pt x="173853" y="357173"/>
                  <a:pt x="172043" y="353719"/>
                </a:cubicBezTo>
                <a:cubicBezTo>
                  <a:pt x="171520" y="352726"/>
                  <a:pt x="170267" y="349675"/>
                  <a:pt x="169110" y="351483"/>
                </a:cubicBezTo>
                <a:cubicBezTo>
                  <a:pt x="167197" y="354551"/>
                  <a:pt x="160635" y="344799"/>
                  <a:pt x="158963" y="345468"/>
                </a:cubicBezTo>
                <a:cubicBezTo>
                  <a:pt x="157239" y="346136"/>
                  <a:pt x="158757" y="348167"/>
                  <a:pt x="157788" y="349023"/>
                </a:cubicBezTo>
                <a:cubicBezTo>
                  <a:pt x="155910" y="350695"/>
                  <a:pt x="150385" y="341552"/>
                  <a:pt x="148318" y="342486"/>
                </a:cubicBezTo>
                <a:cubicBezTo>
                  <a:pt x="146380" y="343368"/>
                  <a:pt x="145934" y="344542"/>
                  <a:pt x="145822" y="346968"/>
                </a:cubicBezTo>
                <a:cubicBezTo>
                  <a:pt x="145719" y="349487"/>
                  <a:pt x="148842" y="355965"/>
                  <a:pt x="147743" y="356470"/>
                </a:cubicBezTo>
                <a:cubicBezTo>
                  <a:pt x="146183" y="357181"/>
                  <a:pt x="138197" y="336865"/>
                  <a:pt x="139938" y="335939"/>
                </a:cubicBezTo>
                <a:cubicBezTo>
                  <a:pt x="140916" y="335417"/>
                  <a:pt x="140762" y="336865"/>
                  <a:pt x="141868" y="336205"/>
                </a:cubicBezTo>
                <a:cubicBezTo>
                  <a:pt x="143009" y="335519"/>
                  <a:pt x="141070" y="334114"/>
                  <a:pt x="140548" y="331911"/>
                </a:cubicBezTo>
                <a:cubicBezTo>
                  <a:pt x="139999" y="329607"/>
                  <a:pt x="138000" y="329555"/>
                  <a:pt x="137828" y="327019"/>
                </a:cubicBezTo>
                <a:cubicBezTo>
                  <a:pt x="137674" y="324491"/>
                  <a:pt x="141285" y="325339"/>
                  <a:pt x="141243" y="324105"/>
                </a:cubicBezTo>
                <a:cubicBezTo>
                  <a:pt x="141199" y="322872"/>
                  <a:pt x="141525" y="321466"/>
                  <a:pt x="142545" y="320584"/>
                </a:cubicBezTo>
                <a:cubicBezTo>
                  <a:pt x="143738" y="319555"/>
                  <a:pt x="146526" y="320634"/>
                  <a:pt x="147126" y="317070"/>
                </a:cubicBezTo>
                <a:cubicBezTo>
                  <a:pt x="147641" y="314028"/>
                  <a:pt x="149176" y="316848"/>
                  <a:pt x="149494" y="319109"/>
                </a:cubicBezTo>
                <a:cubicBezTo>
                  <a:pt x="149863" y="321731"/>
                  <a:pt x="156570" y="322391"/>
                  <a:pt x="156896" y="320592"/>
                </a:cubicBezTo>
                <a:cubicBezTo>
                  <a:pt x="157093" y="319452"/>
                  <a:pt x="154185" y="319495"/>
                  <a:pt x="154185" y="318484"/>
                </a:cubicBezTo>
                <a:cubicBezTo>
                  <a:pt x="154176" y="316547"/>
                  <a:pt x="157873" y="318398"/>
                  <a:pt x="160395" y="318621"/>
                </a:cubicBezTo>
                <a:cubicBezTo>
                  <a:pt x="161493" y="318715"/>
                  <a:pt x="163475" y="316942"/>
                  <a:pt x="165979" y="318235"/>
                </a:cubicBezTo>
                <a:cubicBezTo>
                  <a:pt x="168707" y="319649"/>
                  <a:pt x="170388" y="320335"/>
                  <a:pt x="172198" y="320626"/>
                </a:cubicBezTo>
                <a:cubicBezTo>
                  <a:pt x="166125" y="302109"/>
                  <a:pt x="162599" y="282443"/>
                  <a:pt x="162068" y="262048"/>
                </a:cubicBezTo>
                <a:lnTo>
                  <a:pt x="122766" y="262048"/>
                </a:lnTo>
                <a:cubicBezTo>
                  <a:pt x="124113" y="323823"/>
                  <a:pt x="148121" y="381774"/>
                  <a:pt x="190836" y="426350"/>
                </a:cubicBezTo>
                <a:close/>
                <a:moveTo>
                  <a:pt x="352955" y="198903"/>
                </a:moveTo>
                <a:cubicBezTo>
                  <a:pt x="353230" y="199323"/>
                  <a:pt x="350382" y="201911"/>
                  <a:pt x="348924" y="204422"/>
                </a:cubicBezTo>
                <a:cubicBezTo>
                  <a:pt x="353470" y="202717"/>
                  <a:pt x="358196" y="201620"/>
                  <a:pt x="363051" y="201149"/>
                </a:cubicBezTo>
                <a:lnTo>
                  <a:pt x="363051" y="161783"/>
                </a:lnTo>
                <a:cubicBezTo>
                  <a:pt x="340973" y="163051"/>
                  <a:pt x="320894" y="171877"/>
                  <a:pt x="305369" y="185707"/>
                </a:cubicBezTo>
                <a:lnTo>
                  <a:pt x="333185" y="213496"/>
                </a:lnTo>
                <a:cubicBezTo>
                  <a:pt x="336385" y="210875"/>
                  <a:pt x="339858" y="208604"/>
                  <a:pt x="343598" y="206727"/>
                </a:cubicBezTo>
                <a:cubicBezTo>
                  <a:pt x="344567" y="206247"/>
                  <a:pt x="345544" y="205802"/>
                  <a:pt x="346531" y="205382"/>
                </a:cubicBezTo>
                <a:cubicBezTo>
                  <a:pt x="348435" y="202057"/>
                  <a:pt x="352595" y="198355"/>
                  <a:pt x="352955" y="198903"/>
                </a:cubicBezTo>
                <a:close/>
                <a:moveTo>
                  <a:pt x="255835" y="345674"/>
                </a:moveTo>
                <a:cubicBezTo>
                  <a:pt x="255843" y="346453"/>
                  <a:pt x="255809" y="347224"/>
                  <a:pt x="255646" y="347953"/>
                </a:cubicBezTo>
                <a:cubicBezTo>
                  <a:pt x="257687" y="350455"/>
                  <a:pt x="259772" y="352914"/>
                  <a:pt x="261968" y="355279"/>
                </a:cubicBezTo>
                <a:lnTo>
                  <a:pt x="289835" y="327438"/>
                </a:lnTo>
                <a:cubicBezTo>
                  <a:pt x="276720" y="312914"/>
                  <a:pt x="267577" y="294756"/>
                  <a:pt x="264095" y="274679"/>
                </a:cubicBezTo>
                <a:cubicBezTo>
                  <a:pt x="263263" y="274902"/>
                  <a:pt x="262517" y="274791"/>
                  <a:pt x="262053" y="273985"/>
                </a:cubicBezTo>
                <a:cubicBezTo>
                  <a:pt x="261488" y="273008"/>
                  <a:pt x="262311" y="272014"/>
                  <a:pt x="263512" y="271020"/>
                </a:cubicBezTo>
                <a:cubicBezTo>
                  <a:pt x="263109" y="268064"/>
                  <a:pt x="262817" y="265073"/>
                  <a:pt x="262663" y="262048"/>
                </a:cubicBezTo>
                <a:lnTo>
                  <a:pt x="244110" y="262048"/>
                </a:lnTo>
                <a:cubicBezTo>
                  <a:pt x="244299" y="264996"/>
                  <a:pt x="245482" y="269246"/>
                  <a:pt x="243535" y="270729"/>
                </a:cubicBezTo>
                <a:cubicBezTo>
                  <a:pt x="241931" y="271945"/>
                  <a:pt x="239658" y="270712"/>
                  <a:pt x="238208" y="270909"/>
                </a:cubicBezTo>
                <a:cubicBezTo>
                  <a:pt x="234649" y="271388"/>
                  <a:pt x="233834" y="275681"/>
                  <a:pt x="234777" y="278595"/>
                </a:cubicBezTo>
                <a:cubicBezTo>
                  <a:pt x="235395" y="280558"/>
                  <a:pt x="236252" y="282074"/>
                  <a:pt x="235910" y="284191"/>
                </a:cubicBezTo>
                <a:cubicBezTo>
                  <a:pt x="235592" y="286179"/>
                  <a:pt x="234511" y="287729"/>
                  <a:pt x="237659" y="289392"/>
                </a:cubicBezTo>
                <a:cubicBezTo>
                  <a:pt x="240541" y="290901"/>
                  <a:pt x="245208" y="296813"/>
                  <a:pt x="244822" y="297832"/>
                </a:cubicBezTo>
                <a:cubicBezTo>
                  <a:pt x="244324" y="299144"/>
                  <a:pt x="241459" y="296607"/>
                  <a:pt x="241280" y="298981"/>
                </a:cubicBezTo>
                <a:cubicBezTo>
                  <a:pt x="241168" y="300437"/>
                  <a:pt x="245508" y="298569"/>
                  <a:pt x="245259" y="303505"/>
                </a:cubicBezTo>
                <a:cubicBezTo>
                  <a:pt x="245113" y="306375"/>
                  <a:pt x="245834" y="309520"/>
                  <a:pt x="246666" y="311492"/>
                </a:cubicBezTo>
                <a:cubicBezTo>
                  <a:pt x="248381" y="315596"/>
                  <a:pt x="250354" y="318304"/>
                  <a:pt x="250182" y="322931"/>
                </a:cubicBezTo>
                <a:cubicBezTo>
                  <a:pt x="250046" y="326770"/>
                  <a:pt x="249368" y="330952"/>
                  <a:pt x="251049" y="334568"/>
                </a:cubicBezTo>
                <a:cubicBezTo>
                  <a:pt x="252782" y="338287"/>
                  <a:pt x="255818" y="341294"/>
                  <a:pt x="255835" y="345674"/>
                </a:cubicBezTo>
                <a:close/>
                <a:moveTo>
                  <a:pt x="232668" y="279444"/>
                </a:moveTo>
                <a:cubicBezTo>
                  <a:pt x="230377" y="276821"/>
                  <a:pt x="234186" y="269366"/>
                  <a:pt x="234752" y="267901"/>
                </a:cubicBezTo>
                <a:cubicBezTo>
                  <a:pt x="235361" y="266350"/>
                  <a:pt x="238818" y="264354"/>
                  <a:pt x="239855" y="262048"/>
                </a:cubicBezTo>
                <a:lnTo>
                  <a:pt x="223344" y="262048"/>
                </a:lnTo>
                <a:cubicBezTo>
                  <a:pt x="223661" y="270678"/>
                  <a:pt x="224751" y="279161"/>
                  <a:pt x="226534" y="287455"/>
                </a:cubicBezTo>
                <a:cubicBezTo>
                  <a:pt x="230498" y="288904"/>
                  <a:pt x="238115" y="285673"/>
                  <a:pt x="232668" y="279444"/>
                </a:cubicBezTo>
                <a:close/>
                <a:moveTo>
                  <a:pt x="222306" y="385519"/>
                </a:moveTo>
                <a:cubicBezTo>
                  <a:pt x="222186" y="385587"/>
                  <a:pt x="222049" y="385639"/>
                  <a:pt x="221912" y="385691"/>
                </a:cubicBezTo>
                <a:cubicBezTo>
                  <a:pt x="223413" y="387395"/>
                  <a:pt x="224940" y="389075"/>
                  <a:pt x="226501" y="390720"/>
                </a:cubicBezTo>
                <a:lnTo>
                  <a:pt x="229649" y="387576"/>
                </a:lnTo>
                <a:cubicBezTo>
                  <a:pt x="226697" y="385716"/>
                  <a:pt x="223979" y="384542"/>
                  <a:pt x="222306" y="385519"/>
                </a:cubicBezTo>
                <a:close/>
                <a:moveTo>
                  <a:pt x="289835" y="185690"/>
                </a:moveTo>
                <a:lnTo>
                  <a:pt x="262045" y="157926"/>
                </a:lnTo>
                <a:cubicBezTo>
                  <a:pt x="239135" y="182588"/>
                  <a:pt x="224691" y="215193"/>
                  <a:pt x="223352" y="251080"/>
                </a:cubicBezTo>
                <a:lnTo>
                  <a:pt x="242823" y="251080"/>
                </a:lnTo>
                <a:cubicBezTo>
                  <a:pt x="246083" y="245836"/>
                  <a:pt x="244976" y="241842"/>
                  <a:pt x="246066" y="238792"/>
                </a:cubicBezTo>
                <a:cubicBezTo>
                  <a:pt x="247112" y="235887"/>
                  <a:pt x="248827" y="233222"/>
                  <a:pt x="250440" y="230609"/>
                </a:cubicBezTo>
                <a:cubicBezTo>
                  <a:pt x="251872" y="228304"/>
                  <a:pt x="253502" y="225707"/>
                  <a:pt x="256504" y="225690"/>
                </a:cubicBezTo>
                <a:cubicBezTo>
                  <a:pt x="262851" y="225656"/>
                  <a:pt x="264429" y="222339"/>
                  <a:pt x="268452" y="220498"/>
                </a:cubicBezTo>
                <a:cubicBezTo>
                  <a:pt x="272475" y="218655"/>
                  <a:pt x="279594" y="217567"/>
                  <a:pt x="278788" y="215467"/>
                </a:cubicBezTo>
                <a:cubicBezTo>
                  <a:pt x="278239" y="214054"/>
                  <a:pt x="263932" y="219597"/>
                  <a:pt x="263623" y="218518"/>
                </a:cubicBezTo>
                <a:cubicBezTo>
                  <a:pt x="263083" y="216624"/>
                  <a:pt x="268135" y="216804"/>
                  <a:pt x="270262" y="214884"/>
                </a:cubicBezTo>
                <a:cubicBezTo>
                  <a:pt x="270682" y="214491"/>
                  <a:pt x="271094" y="214251"/>
                  <a:pt x="271488" y="214054"/>
                </a:cubicBezTo>
                <a:cubicBezTo>
                  <a:pt x="276086" y="203616"/>
                  <a:pt x="282288" y="194045"/>
                  <a:pt x="289835" y="185690"/>
                </a:cubicBezTo>
                <a:close/>
                <a:moveTo>
                  <a:pt x="284826" y="211672"/>
                </a:moveTo>
                <a:cubicBezTo>
                  <a:pt x="285203" y="211508"/>
                  <a:pt x="285581" y="211329"/>
                  <a:pt x="285975" y="211106"/>
                </a:cubicBezTo>
                <a:cubicBezTo>
                  <a:pt x="290744" y="208381"/>
                  <a:pt x="297014" y="208903"/>
                  <a:pt x="299682" y="210060"/>
                </a:cubicBezTo>
                <a:cubicBezTo>
                  <a:pt x="303121" y="211560"/>
                  <a:pt x="307521" y="215382"/>
                  <a:pt x="309520" y="216907"/>
                </a:cubicBezTo>
                <a:cubicBezTo>
                  <a:pt x="310387" y="217567"/>
                  <a:pt x="310798" y="216341"/>
                  <a:pt x="314847" y="215733"/>
                </a:cubicBezTo>
                <a:cubicBezTo>
                  <a:pt x="316536" y="215485"/>
                  <a:pt x="316923" y="217181"/>
                  <a:pt x="319333" y="217524"/>
                </a:cubicBezTo>
                <a:cubicBezTo>
                  <a:pt x="320302" y="217661"/>
                  <a:pt x="321099" y="217704"/>
                  <a:pt x="321829" y="217652"/>
                </a:cubicBezTo>
                <a:lnTo>
                  <a:pt x="297606" y="193462"/>
                </a:lnTo>
                <a:cubicBezTo>
                  <a:pt x="292674" y="198989"/>
                  <a:pt x="288377" y="205107"/>
                  <a:pt x="284826" y="211672"/>
                </a:cubicBezTo>
                <a:close/>
                <a:moveTo>
                  <a:pt x="257550" y="241568"/>
                </a:moveTo>
                <a:cubicBezTo>
                  <a:pt x="254471" y="241251"/>
                  <a:pt x="251349" y="242528"/>
                  <a:pt x="249694" y="245202"/>
                </a:cubicBezTo>
                <a:cubicBezTo>
                  <a:pt x="248536" y="247053"/>
                  <a:pt x="248210" y="249126"/>
                  <a:pt x="248604" y="251080"/>
                </a:cubicBezTo>
                <a:lnTo>
                  <a:pt x="262663" y="251080"/>
                </a:lnTo>
                <a:cubicBezTo>
                  <a:pt x="262800" y="248424"/>
                  <a:pt x="263040" y="245793"/>
                  <a:pt x="263366" y="243196"/>
                </a:cubicBezTo>
                <a:cubicBezTo>
                  <a:pt x="261555" y="242254"/>
                  <a:pt x="259403" y="241757"/>
                  <a:pt x="257550" y="241568"/>
                </a:cubicBezTo>
                <a:close/>
                <a:moveTo>
                  <a:pt x="297615" y="319675"/>
                </a:moveTo>
                <a:lnTo>
                  <a:pt x="325448" y="291860"/>
                </a:lnTo>
                <a:cubicBezTo>
                  <a:pt x="323175" y="289100"/>
                  <a:pt x="321185" y="286110"/>
                  <a:pt x="319469" y="282948"/>
                </a:cubicBezTo>
                <a:lnTo>
                  <a:pt x="319461" y="282965"/>
                </a:lnTo>
                <a:cubicBezTo>
                  <a:pt x="319024" y="283471"/>
                  <a:pt x="318655" y="283985"/>
                  <a:pt x="318432" y="284474"/>
                </a:cubicBezTo>
                <a:cubicBezTo>
                  <a:pt x="317858" y="285716"/>
                  <a:pt x="318603" y="289855"/>
                  <a:pt x="316880" y="291629"/>
                </a:cubicBezTo>
                <a:cubicBezTo>
                  <a:pt x="314658" y="293925"/>
                  <a:pt x="308689" y="286573"/>
                  <a:pt x="306801" y="285965"/>
                </a:cubicBezTo>
                <a:cubicBezTo>
                  <a:pt x="304237" y="285159"/>
                  <a:pt x="303010" y="287978"/>
                  <a:pt x="303147" y="288792"/>
                </a:cubicBezTo>
                <a:cubicBezTo>
                  <a:pt x="303490" y="290909"/>
                  <a:pt x="303062" y="291757"/>
                  <a:pt x="302135" y="291946"/>
                </a:cubicBezTo>
                <a:cubicBezTo>
                  <a:pt x="301208" y="292126"/>
                  <a:pt x="296543" y="288955"/>
                  <a:pt x="298627" y="288158"/>
                </a:cubicBezTo>
                <a:cubicBezTo>
                  <a:pt x="301055" y="287242"/>
                  <a:pt x="297992" y="285150"/>
                  <a:pt x="296946" y="284336"/>
                </a:cubicBezTo>
                <a:cubicBezTo>
                  <a:pt x="295145" y="282948"/>
                  <a:pt x="292332" y="284242"/>
                  <a:pt x="291010" y="282400"/>
                </a:cubicBezTo>
                <a:cubicBezTo>
                  <a:pt x="289595" y="280420"/>
                  <a:pt x="286928" y="278998"/>
                  <a:pt x="286104" y="278758"/>
                </a:cubicBezTo>
                <a:cubicBezTo>
                  <a:pt x="285546" y="278595"/>
                  <a:pt x="282810" y="277438"/>
                  <a:pt x="281018" y="278381"/>
                </a:cubicBezTo>
                <a:cubicBezTo>
                  <a:pt x="279611" y="279135"/>
                  <a:pt x="278093" y="277601"/>
                  <a:pt x="277038" y="276573"/>
                </a:cubicBezTo>
                <a:cubicBezTo>
                  <a:pt x="276455" y="276007"/>
                  <a:pt x="275871" y="275348"/>
                  <a:pt x="275254" y="274705"/>
                </a:cubicBezTo>
                <a:cubicBezTo>
                  <a:pt x="278573" y="291757"/>
                  <a:pt x="286473" y="307190"/>
                  <a:pt x="297615" y="319675"/>
                </a:cubicBezTo>
                <a:close/>
                <a:moveTo>
                  <a:pt x="325474" y="271646"/>
                </a:moveTo>
                <a:cubicBezTo>
                  <a:pt x="325482" y="271406"/>
                  <a:pt x="325500" y="271157"/>
                  <a:pt x="325526" y="270909"/>
                </a:cubicBezTo>
                <a:cubicBezTo>
                  <a:pt x="325534" y="270840"/>
                  <a:pt x="325534" y="270772"/>
                  <a:pt x="325543" y="270712"/>
                </a:cubicBezTo>
                <a:cubicBezTo>
                  <a:pt x="325560" y="270523"/>
                  <a:pt x="325585" y="270335"/>
                  <a:pt x="325602" y="270146"/>
                </a:cubicBezTo>
                <a:cubicBezTo>
                  <a:pt x="325620" y="270069"/>
                  <a:pt x="325628" y="269983"/>
                  <a:pt x="325637" y="269906"/>
                </a:cubicBezTo>
                <a:lnTo>
                  <a:pt x="325688" y="269546"/>
                </a:lnTo>
                <a:cubicBezTo>
                  <a:pt x="325706" y="269478"/>
                  <a:pt x="325714" y="269418"/>
                  <a:pt x="325723" y="269349"/>
                </a:cubicBezTo>
                <a:cubicBezTo>
                  <a:pt x="325731" y="269281"/>
                  <a:pt x="325748" y="269204"/>
                  <a:pt x="325757" y="269135"/>
                </a:cubicBezTo>
                <a:cubicBezTo>
                  <a:pt x="325800" y="268878"/>
                  <a:pt x="325851" y="268629"/>
                  <a:pt x="325911" y="268389"/>
                </a:cubicBezTo>
                <a:lnTo>
                  <a:pt x="325911" y="268372"/>
                </a:lnTo>
                <a:cubicBezTo>
                  <a:pt x="325963" y="268141"/>
                  <a:pt x="326023" y="267910"/>
                  <a:pt x="326092" y="267695"/>
                </a:cubicBezTo>
                <a:cubicBezTo>
                  <a:pt x="326109" y="267618"/>
                  <a:pt x="326134" y="267558"/>
                  <a:pt x="326152" y="267490"/>
                </a:cubicBezTo>
                <a:cubicBezTo>
                  <a:pt x="326203" y="267336"/>
                  <a:pt x="326246" y="267190"/>
                  <a:pt x="326306" y="267044"/>
                </a:cubicBezTo>
                <a:lnTo>
                  <a:pt x="326383" y="266838"/>
                </a:lnTo>
                <a:cubicBezTo>
                  <a:pt x="326443" y="266701"/>
                  <a:pt x="326495" y="266573"/>
                  <a:pt x="326563" y="266453"/>
                </a:cubicBezTo>
                <a:lnTo>
                  <a:pt x="326641" y="266290"/>
                </a:lnTo>
                <a:cubicBezTo>
                  <a:pt x="326734" y="266127"/>
                  <a:pt x="326829" y="265973"/>
                  <a:pt x="326932" y="265845"/>
                </a:cubicBezTo>
                <a:cubicBezTo>
                  <a:pt x="327292" y="265390"/>
                  <a:pt x="327773" y="265305"/>
                  <a:pt x="328339" y="265382"/>
                </a:cubicBezTo>
                <a:cubicBezTo>
                  <a:pt x="329316" y="265519"/>
                  <a:pt x="330543" y="266153"/>
                  <a:pt x="331735" y="266213"/>
                </a:cubicBezTo>
                <a:cubicBezTo>
                  <a:pt x="332593" y="266256"/>
                  <a:pt x="333433" y="266007"/>
                  <a:pt x="334163" y="265064"/>
                </a:cubicBezTo>
                <a:cubicBezTo>
                  <a:pt x="334497" y="264636"/>
                  <a:pt x="334806" y="264148"/>
                  <a:pt x="335029" y="263668"/>
                </a:cubicBezTo>
                <a:cubicBezTo>
                  <a:pt x="335261" y="263188"/>
                  <a:pt x="335406" y="262717"/>
                  <a:pt x="335415" y="262331"/>
                </a:cubicBezTo>
                <a:cubicBezTo>
                  <a:pt x="335415" y="262143"/>
                  <a:pt x="335389" y="261971"/>
                  <a:pt x="335321" y="261825"/>
                </a:cubicBezTo>
                <a:cubicBezTo>
                  <a:pt x="335115" y="261405"/>
                  <a:pt x="334548" y="261269"/>
                  <a:pt x="333433" y="261654"/>
                </a:cubicBezTo>
                <a:cubicBezTo>
                  <a:pt x="333202" y="261732"/>
                  <a:pt x="332979" y="261809"/>
                  <a:pt x="332748" y="261869"/>
                </a:cubicBezTo>
                <a:cubicBezTo>
                  <a:pt x="332284" y="261997"/>
                  <a:pt x="331830" y="262083"/>
                  <a:pt x="331392" y="262100"/>
                </a:cubicBezTo>
                <a:cubicBezTo>
                  <a:pt x="331169" y="262108"/>
                  <a:pt x="330963" y="262100"/>
                  <a:pt x="330758" y="262065"/>
                </a:cubicBezTo>
                <a:cubicBezTo>
                  <a:pt x="330140" y="261980"/>
                  <a:pt x="329600" y="261706"/>
                  <a:pt x="329188" y="261148"/>
                </a:cubicBezTo>
                <a:cubicBezTo>
                  <a:pt x="329059" y="260960"/>
                  <a:pt x="328939" y="260746"/>
                  <a:pt x="328836" y="260488"/>
                </a:cubicBezTo>
                <a:cubicBezTo>
                  <a:pt x="328708" y="260163"/>
                  <a:pt x="328553" y="259880"/>
                  <a:pt x="328373" y="259631"/>
                </a:cubicBezTo>
                <a:cubicBezTo>
                  <a:pt x="327679" y="258621"/>
                  <a:pt x="326658" y="258115"/>
                  <a:pt x="325594" y="257481"/>
                </a:cubicBezTo>
                <a:cubicBezTo>
                  <a:pt x="325062" y="257164"/>
                  <a:pt x="324522" y="256830"/>
                  <a:pt x="323999" y="256376"/>
                </a:cubicBezTo>
                <a:cubicBezTo>
                  <a:pt x="323742" y="256153"/>
                  <a:pt x="323484" y="255904"/>
                  <a:pt x="323244" y="255622"/>
                </a:cubicBezTo>
                <a:cubicBezTo>
                  <a:pt x="323047" y="255399"/>
                  <a:pt x="322858" y="255185"/>
                  <a:pt x="322661" y="254979"/>
                </a:cubicBezTo>
                <a:cubicBezTo>
                  <a:pt x="322583" y="254902"/>
                  <a:pt x="322506" y="254834"/>
                  <a:pt x="322429" y="254765"/>
                </a:cubicBezTo>
                <a:cubicBezTo>
                  <a:pt x="322300" y="254636"/>
                  <a:pt x="322180" y="254516"/>
                  <a:pt x="322043" y="254396"/>
                </a:cubicBezTo>
                <a:cubicBezTo>
                  <a:pt x="321949" y="254310"/>
                  <a:pt x="321846" y="254225"/>
                  <a:pt x="321751" y="254148"/>
                </a:cubicBezTo>
                <a:cubicBezTo>
                  <a:pt x="321640" y="254054"/>
                  <a:pt x="321528" y="253967"/>
                  <a:pt x="321417" y="253882"/>
                </a:cubicBezTo>
                <a:cubicBezTo>
                  <a:pt x="321297" y="253788"/>
                  <a:pt x="321185" y="253711"/>
                  <a:pt x="321065" y="253625"/>
                </a:cubicBezTo>
                <a:cubicBezTo>
                  <a:pt x="320970" y="253565"/>
                  <a:pt x="320868" y="253497"/>
                  <a:pt x="320765" y="253436"/>
                </a:cubicBezTo>
                <a:cubicBezTo>
                  <a:pt x="320636" y="253351"/>
                  <a:pt x="320508" y="253274"/>
                  <a:pt x="320370" y="253205"/>
                </a:cubicBezTo>
                <a:lnTo>
                  <a:pt x="320113" y="253077"/>
                </a:lnTo>
                <a:cubicBezTo>
                  <a:pt x="319967" y="253008"/>
                  <a:pt x="319813" y="252939"/>
                  <a:pt x="319667" y="252880"/>
                </a:cubicBezTo>
                <a:cubicBezTo>
                  <a:pt x="319598" y="252854"/>
                  <a:pt x="319530" y="252837"/>
                  <a:pt x="319461" y="252811"/>
                </a:cubicBezTo>
                <a:cubicBezTo>
                  <a:pt x="319290" y="252759"/>
                  <a:pt x="319118" y="252700"/>
                  <a:pt x="318947" y="252665"/>
                </a:cubicBezTo>
                <a:lnTo>
                  <a:pt x="318843" y="252648"/>
                </a:lnTo>
                <a:cubicBezTo>
                  <a:pt x="317531" y="252400"/>
                  <a:pt x="316159" y="252742"/>
                  <a:pt x="314829" y="254028"/>
                </a:cubicBezTo>
                <a:lnTo>
                  <a:pt x="314778" y="254071"/>
                </a:lnTo>
                <a:cubicBezTo>
                  <a:pt x="314572" y="254276"/>
                  <a:pt x="314358" y="254508"/>
                  <a:pt x="314152" y="254765"/>
                </a:cubicBezTo>
                <a:lnTo>
                  <a:pt x="314083" y="254842"/>
                </a:lnTo>
                <a:cubicBezTo>
                  <a:pt x="313878" y="255107"/>
                  <a:pt x="313671" y="255381"/>
                  <a:pt x="313466" y="255699"/>
                </a:cubicBezTo>
                <a:cubicBezTo>
                  <a:pt x="313457" y="255724"/>
                  <a:pt x="313440" y="255750"/>
                  <a:pt x="313414" y="255776"/>
                </a:cubicBezTo>
                <a:cubicBezTo>
                  <a:pt x="313208" y="256101"/>
                  <a:pt x="313002" y="256453"/>
                  <a:pt x="312797" y="256830"/>
                </a:cubicBezTo>
                <a:cubicBezTo>
                  <a:pt x="312368" y="257619"/>
                  <a:pt x="311956" y="258501"/>
                  <a:pt x="311562" y="259546"/>
                </a:cubicBezTo>
                <a:cubicBezTo>
                  <a:pt x="308371" y="267892"/>
                  <a:pt x="304674" y="265339"/>
                  <a:pt x="305283" y="268313"/>
                </a:cubicBezTo>
                <a:cubicBezTo>
                  <a:pt x="305351" y="268663"/>
                  <a:pt x="306252" y="268904"/>
                  <a:pt x="307556" y="269006"/>
                </a:cubicBezTo>
                <a:cubicBezTo>
                  <a:pt x="308079" y="269049"/>
                  <a:pt x="308671" y="269075"/>
                  <a:pt x="309288" y="269075"/>
                </a:cubicBezTo>
                <a:cubicBezTo>
                  <a:pt x="309915" y="269075"/>
                  <a:pt x="310584" y="269058"/>
                  <a:pt x="311253" y="269015"/>
                </a:cubicBezTo>
                <a:cubicBezTo>
                  <a:pt x="311931" y="268981"/>
                  <a:pt x="312616" y="268921"/>
                  <a:pt x="313285" y="268835"/>
                </a:cubicBezTo>
                <a:cubicBezTo>
                  <a:pt x="313620" y="268792"/>
                  <a:pt x="313946" y="268741"/>
                  <a:pt x="314264" y="268690"/>
                </a:cubicBezTo>
                <a:cubicBezTo>
                  <a:pt x="314460" y="268663"/>
                  <a:pt x="314640" y="268629"/>
                  <a:pt x="314829" y="268595"/>
                </a:cubicBezTo>
                <a:cubicBezTo>
                  <a:pt x="315010" y="268561"/>
                  <a:pt x="315189" y="268527"/>
                  <a:pt x="315370" y="268484"/>
                </a:cubicBezTo>
                <a:lnTo>
                  <a:pt x="315841" y="268381"/>
                </a:lnTo>
                <a:cubicBezTo>
                  <a:pt x="316048" y="268330"/>
                  <a:pt x="316236" y="268270"/>
                  <a:pt x="316425" y="268218"/>
                </a:cubicBezTo>
                <a:cubicBezTo>
                  <a:pt x="316545" y="268184"/>
                  <a:pt x="316665" y="268149"/>
                  <a:pt x="316768" y="268115"/>
                </a:cubicBezTo>
                <a:cubicBezTo>
                  <a:pt x="317068" y="268021"/>
                  <a:pt x="317343" y="267918"/>
                  <a:pt x="317583" y="267806"/>
                </a:cubicBezTo>
                <a:cubicBezTo>
                  <a:pt x="318011" y="267610"/>
                  <a:pt x="318449" y="267438"/>
                  <a:pt x="318878" y="267292"/>
                </a:cubicBezTo>
                <a:lnTo>
                  <a:pt x="318921" y="267284"/>
                </a:lnTo>
                <a:cubicBezTo>
                  <a:pt x="319332" y="267147"/>
                  <a:pt x="319744" y="267044"/>
                  <a:pt x="320139" y="266976"/>
                </a:cubicBezTo>
                <a:cubicBezTo>
                  <a:pt x="320970" y="266822"/>
                  <a:pt x="321734" y="266830"/>
                  <a:pt x="322335" y="267044"/>
                </a:cubicBezTo>
                <a:cubicBezTo>
                  <a:pt x="322772" y="267198"/>
                  <a:pt x="323673" y="267575"/>
                  <a:pt x="324316" y="268509"/>
                </a:cubicBezTo>
                <a:cubicBezTo>
                  <a:pt x="324848" y="269272"/>
                  <a:pt x="325354" y="270592"/>
                  <a:pt x="325474" y="271646"/>
                </a:cubicBezTo>
                <a:close/>
                <a:moveTo>
                  <a:pt x="363051" y="150797"/>
                </a:moveTo>
                <a:lnTo>
                  <a:pt x="363051" y="111517"/>
                </a:lnTo>
                <a:cubicBezTo>
                  <a:pt x="327120" y="112854"/>
                  <a:pt x="294484" y="127284"/>
                  <a:pt x="269798" y="150172"/>
                </a:cubicBezTo>
                <a:lnTo>
                  <a:pt x="297598" y="177935"/>
                </a:lnTo>
                <a:cubicBezTo>
                  <a:pt x="315130" y="162134"/>
                  <a:pt x="337945" y="152083"/>
                  <a:pt x="363051" y="150797"/>
                </a:cubicBezTo>
                <a:close/>
                <a:moveTo>
                  <a:pt x="363051" y="100540"/>
                </a:moveTo>
                <a:lnTo>
                  <a:pt x="363051" y="61260"/>
                </a:lnTo>
                <a:cubicBezTo>
                  <a:pt x="313268" y="62639"/>
                  <a:pt x="268075" y="82699"/>
                  <a:pt x="234255" y="114662"/>
                </a:cubicBezTo>
                <a:lnTo>
                  <a:pt x="262045" y="142416"/>
                </a:lnTo>
                <a:cubicBezTo>
                  <a:pt x="288720" y="117550"/>
                  <a:pt x="324093" y="101894"/>
                  <a:pt x="363051" y="100540"/>
                </a:cubicBezTo>
                <a:close/>
                <a:moveTo>
                  <a:pt x="226492" y="122408"/>
                </a:moveTo>
                <a:cubicBezTo>
                  <a:pt x="194507" y="156196"/>
                  <a:pt x="174428" y="201346"/>
                  <a:pt x="173055" y="251080"/>
                </a:cubicBezTo>
                <a:lnTo>
                  <a:pt x="212365" y="251080"/>
                </a:lnTo>
                <a:cubicBezTo>
                  <a:pt x="213721" y="212168"/>
                  <a:pt x="229391" y="176830"/>
                  <a:pt x="254282" y="150172"/>
                </a:cubicBezTo>
                <a:lnTo>
                  <a:pt x="226492" y="122408"/>
                </a:lnTo>
                <a:close/>
                <a:moveTo>
                  <a:pt x="173055" y="262048"/>
                </a:moveTo>
                <a:cubicBezTo>
                  <a:pt x="173613" y="282417"/>
                  <a:pt x="177318" y="302005"/>
                  <a:pt x="183683" y="320369"/>
                </a:cubicBezTo>
                <a:cubicBezTo>
                  <a:pt x="183914" y="320352"/>
                  <a:pt x="184129" y="320343"/>
                  <a:pt x="184360" y="320335"/>
                </a:cubicBezTo>
                <a:cubicBezTo>
                  <a:pt x="188349" y="320146"/>
                  <a:pt x="193684" y="320275"/>
                  <a:pt x="196197" y="318338"/>
                </a:cubicBezTo>
                <a:cubicBezTo>
                  <a:pt x="200065" y="315356"/>
                  <a:pt x="196488" y="304688"/>
                  <a:pt x="198916" y="300241"/>
                </a:cubicBezTo>
                <a:cubicBezTo>
                  <a:pt x="201909" y="294739"/>
                  <a:pt x="209389" y="281688"/>
                  <a:pt x="211636" y="281603"/>
                </a:cubicBezTo>
                <a:cubicBezTo>
                  <a:pt x="213626" y="281526"/>
                  <a:pt x="213540" y="283008"/>
                  <a:pt x="214552" y="283248"/>
                </a:cubicBezTo>
                <a:cubicBezTo>
                  <a:pt x="213360" y="276290"/>
                  <a:pt x="212614" y="269221"/>
                  <a:pt x="212373" y="262048"/>
                </a:cubicBezTo>
                <a:lnTo>
                  <a:pt x="173055" y="262048"/>
                </a:lnTo>
                <a:close/>
                <a:moveTo>
                  <a:pt x="363051" y="462837"/>
                </a:moveTo>
                <a:cubicBezTo>
                  <a:pt x="310241" y="461458"/>
                  <a:pt x="262302" y="440172"/>
                  <a:pt x="226492" y="406230"/>
                </a:cubicBezTo>
                <a:lnTo>
                  <a:pt x="198590" y="434105"/>
                </a:lnTo>
                <a:cubicBezTo>
                  <a:pt x="243209" y="476770"/>
                  <a:pt x="301218" y="500754"/>
                  <a:pt x="363051" y="502101"/>
                </a:cubicBezTo>
                <a:lnTo>
                  <a:pt x="363051" y="462837"/>
                </a:lnTo>
                <a:close/>
                <a:moveTo>
                  <a:pt x="363051" y="412597"/>
                </a:moveTo>
                <a:cubicBezTo>
                  <a:pt x="328176" y="411397"/>
                  <a:pt x="295334" y="398836"/>
                  <a:pt x="268735" y="376718"/>
                </a:cubicBezTo>
                <a:cubicBezTo>
                  <a:pt x="269335" y="377447"/>
                  <a:pt x="269859" y="378150"/>
                  <a:pt x="270262" y="378827"/>
                </a:cubicBezTo>
                <a:cubicBezTo>
                  <a:pt x="272072" y="381945"/>
                  <a:pt x="278367" y="388287"/>
                  <a:pt x="274362" y="390823"/>
                </a:cubicBezTo>
                <a:cubicBezTo>
                  <a:pt x="271034" y="392923"/>
                  <a:pt x="265519" y="391509"/>
                  <a:pt x="262431" y="391457"/>
                </a:cubicBezTo>
                <a:cubicBezTo>
                  <a:pt x="259026" y="391414"/>
                  <a:pt x="254077" y="396496"/>
                  <a:pt x="251161" y="397002"/>
                </a:cubicBezTo>
                <a:cubicBezTo>
                  <a:pt x="247447" y="397635"/>
                  <a:pt x="245319" y="397353"/>
                  <a:pt x="241845" y="395947"/>
                </a:cubicBezTo>
                <a:cubicBezTo>
                  <a:pt x="240988" y="395596"/>
                  <a:pt x="239907" y="394919"/>
                  <a:pt x="238680" y="394054"/>
                </a:cubicBezTo>
                <a:lnTo>
                  <a:pt x="234255" y="398475"/>
                </a:lnTo>
                <a:cubicBezTo>
                  <a:pt x="268075" y="430429"/>
                  <a:pt x="313268" y="450489"/>
                  <a:pt x="363051" y="451869"/>
                </a:cubicBezTo>
                <a:lnTo>
                  <a:pt x="363051" y="412597"/>
                </a:lnTo>
                <a:close/>
                <a:moveTo>
                  <a:pt x="363051" y="398792"/>
                </a:moveTo>
                <a:cubicBezTo>
                  <a:pt x="357519" y="399204"/>
                  <a:pt x="349156" y="399067"/>
                  <a:pt x="347174" y="397704"/>
                </a:cubicBezTo>
                <a:cubicBezTo>
                  <a:pt x="343049" y="394850"/>
                  <a:pt x="338134" y="392049"/>
                  <a:pt x="337576" y="389838"/>
                </a:cubicBezTo>
                <a:cubicBezTo>
                  <a:pt x="336581" y="385913"/>
                  <a:pt x="331204" y="382966"/>
                  <a:pt x="331204" y="379289"/>
                </a:cubicBezTo>
                <a:cubicBezTo>
                  <a:pt x="331204" y="375202"/>
                  <a:pt x="336856" y="373865"/>
                  <a:pt x="335346" y="369718"/>
                </a:cubicBezTo>
                <a:cubicBezTo>
                  <a:pt x="334137" y="366419"/>
                  <a:pt x="337353" y="362288"/>
                  <a:pt x="343238" y="359409"/>
                </a:cubicBezTo>
                <a:cubicBezTo>
                  <a:pt x="325989" y="355168"/>
                  <a:pt x="310387" y="346719"/>
                  <a:pt x="297598" y="335193"/>
                </a:cubicBezTo>
                <a:lnTo>
                  <a:pt x="269747" y="363017"/>
                </a:lnTo>
                <a:cubicBezTo>
                  <a:pt x="295342" y="386770"/>
                  <a:pt x="328098" y="400309"/>
                  <a:pt x="363051" y="401603"/>
                </a:cubicBezTo>
                <a:lnTo>
                  <a:pt x="363051" y="398792"/>
                </a:lnTo>
                <a:close/>
                <a:moveTo>
                  <a:pt x="371551" y="346307"/>
                </a:moveTo>
                <a:cubicBezTo>
                  <a:pt x="375737" y="345604"/>
                  <a:pt x="380180" y="344396"/>
                  <a:pt x="383954" y="344020"/>
                </a:cubicBezTo>
                <a:cubicBezTo>
                  <a:pt x="388088" y="343608"/>
                  <a:pt x="383782" y="349487"/>
                  <a:pt x="386235" y="349726"/>
                </a:cubicBezTo>
                <a:cubicBezTo>
                  <a:pt x="389169" y="350018"/>
                  <a:pt x="401228" y="352074"/>
                  <a:pt x="402078" y="349341"/>
                </a:cubicBezTo>
                <a:cubicBezTo>
                  <a:pt x="402773" y="347096"/>
                  <a:pt x="402936" y="346085"/>
                  <a:pt x="405526" y="345528"/>
                </a:cubicBezTo>
                <a:cubicBezTo>
                  <a:pt x="410406" y="344465"/>
                  <a:pt x="414274" y="344619"/>
                  <a:pt x="418409" y="341466"/>
                </a:cubicBezTo>
                <a:cubicBezTo>
                  <a:pt x="419901" y="340326"/>
                  <a:pt x="422981" y="339915"/>
                  <a:pt x="423864" y="338227"/>
                </a:cubicBezTo>
                <a:cubicBezTo>
                  <a:pt x="424747" y="336539"/>
                  <a:pt x="423229" y="328552"/>
                  <a:pt x="420253" y="329855"/>
                </a:cubicBezTo>
                <a:cubicBezTo>
                  <a:pt x="418803" y="330498"/>
                  <a:pt x="417054" y="332563"/>
                  <a:pt x="413957" y="334123"/>
                </a:cubicBezTo>
                <a:cubicBezTo>
                  <a:pt x="411153" y="335528"/>
                  <a:pt x="409162" y="336170"/>
                  <a:pt x="407173" y="333505"/>
                </a:cubicBezTo>
                <a:cubicBezTo>
                  <a:pt x="405354" y="331080"/>
                  <a:pt x="408236" y="329178"/>
                  <a:pt x="409729" y="327550"/>
                </a:cubicBezTo>
                <a:cubicBezTo>
                  <a:pt x="412036" y="325021"/>
                  <a:pt x="414128" y="322460"/>
                  <a:pt x="416694" y="322460"/>
                </a:cubicBezTo>
                <a:cubicBezTo>
                  <a:pt x="417689" y="322460"/>
                  <a:pt x="422989" y="319829"/>
                  <a:pt x="422543" y="317421"/>
                </a:cubicBezTo>
                <a:cubicBezTo>
                  <a:pt x="421960" y="314302"/>
                  <a:pt x="415801" y="317704"/>
                  <a:pt x="414369" y="316419"/>
                </a:cubicBezTo>
                <a:cubicBezTo>
                  <a:pt x="413374" y="315536"/>
                  <a:pt x="414352" y="313291"/>
                  <a:pt x="413579" y="312948"/>
                </a:cubicBezTo>
                <a:cubicBezTo>
                  <a:pt x="412859" y="312614"/>
                  <a:pt x="410587" y="315716"/>
                  <a:pt x="412345" y="317396"/>
                </a:cubicBezTo>
                <a:cubicBezTo>
                  <a:pt x="413254" y="318269"/>
                  <a:pt x="410869" y="320703"/>
                  <a:pt x="408194" y="318955"/>
                </a:cubicBezTo>
                <a:cubicBezTo>
                  <a:pt x="406135" y="317593"/>
                  <a:pt x="405603" y="325090"/>
                  <a:pt x="405783" y="326462"/>
                </a:cubicBezTo>
                <a:cubicBezTo>
                  <a:pt x="405964" y="327833"/>
                  <a:pt x="408802" y="327455"/>
                  <a:pt x="406916" y="329923"/>
                </a:cubicBezTo>
                <a:cubicBezTo>
                  <a:pt x="405020" y="332408"/>
                  <a:pt x="404317" y="330566"/>
                  <a:pt x="402918" y="331783"/>
                </a:cubicBezTo>
                <a:cubicBezTo>
                  <a:pt x="401237" y="333257"/>
                  <a:pt x="400860" y="333822"/>
                  <a:pt x="402918" y="335956"/>
                </a:cubicBezTo>
                <a:cubicBezTo>
                  <a:pt x="404565" y="337652"/>
                  <a:pt x="401949" y="340875"/>
                  <a:pt x="401340" y="337858"/>
                </a:cubicBezTo>
                <a:cubicBezTo>
                  <a:pt x="400937" y="335853"/>
                  <a:pt x="396717" y="336462"/>
                  <a:pt x="395920" y="334191"/>
                </a:cubicBezTo>
                <a:cubicBezTo>
                  <a:pt x="395096" y="331852"/>
                  <a:pt x="391665" y="332083"/>
                  <a:pt x="387496" y="329949"/>
                </a:cubicBezTo>
                <a:cubicBezTo>
                  <a:pt x="384340" y="328329"/>
                  <a:pt x="384743" y="333111"/>
                  <a:pt x="390095" y="334328"/>
                </a:cubicBezTo>
                <a:cubicBezTo>
                  <a:pt x="394641" y="335365"/>
                  <a:pt x="394410" y="335904"/>
                  <a:pt x="393106" y="338749"/>
                </a:cubicBezTo>
                <a:cubicBezTo>
                  <a:pt x="392042" y="341080"/>
                  <a:pt x="392248" y="336958"/>
                  <a:pt x="386844" y="335528"/>
                </a:cubicBezTo>
                <a:cubicBezTo>
                  <a:pt x="383370" y="334610"/>
                  <a:pt x="383208" y="332760"/>
                  <a:pt x="380471" y="332794"/>
                </a:cubicBezTo>
                <a:cubicBezTo>
                  <a:pt x="377701" y="332820"/>
                  <a:pt x="378610" y="335442"/>
                  <a:pt x="375685" y="334756"/>
                </a:cubicBezTo>
                <a:cubicBezTo>
                  <a:pt x="373472" y="334233"/>
                  <a:pt x="373129" y="337215"/>
                  <a:pt x="371088" y="338081"/>
                </a:cubicBezTo>
                <a:cubicBezTo>
                  <a:pt x="368600" y="339144"/>
                  <a:pt x="368747" y="343642"/>
                  <a:pt x="366216" y="344885"/>
                </a:cubicBezTo>
                <a:cubicBezTo>
                  <a:pt x="362451" y="346727"/>
                  <a:pt x="354731" y="345339"/>
                  <a:pt x="355083" y="341612"/>
                </a:cubicBezTo>
                <a:cubicBezTo>
                  <a:pt x="355435" y="337884"/>
                  <a:pt x="355606" y="335099"/>
                  <a:pt x="357768" y="333788"/>
                </a:cubicBezTo>
                <a:cubicBezTo>
                  <a:pt x="359671" y="332648"/>
                  <a:pt x="362811" y="335990"/>
                  <a:pt x="365453" y="334808"/>
                </a:cubicBezTo>
                <a:cubicBezTo>
                  <a:pt x="368215" y="333582"/>
                  <a:pt x="367520" y="330643"/>
                  <a:pt x="365847" y="328758"/>
                </a:cubicBezTo>
                <a:cubicBezTo>
                  <a:pt x="365350" y="328115"/>
                  <a:pt x="363326" y="327113"/>
                  <a:pt x="363368" y="326479"/>
                </a:cubicBezTo>
                <a:cubicBezTo>
                  <a:pt x="363411" y="325699"/>
                  <a:pt x="367348" y="325330"/>
                  <a:pt x="369338" y="323994"/>
                </a:cubicBezTo>
                <a:cubicBezTo>
                  <a:pt x="371337" y="322657"/>
                  <a:pt x="373481" y="319092"/>
                  <a:pt x="374502" y="318295"/>
                </a:cubicBezTo>
                <a:cubicBezTo>
                  <a:pt x="375591" y="317447"/>
                  <a:pt x="377727" y="317233"/>
                  <a:pt x="377924" y="316444"/>
                </a:cubicBezTo>
                <a:cubicBezTo>
                  <a:pt x="378199" y="315442"/>
                  <a:pt x="376414" y="313616"/>
                  <a:pt x="376586" y="312391"/>
                </a:cubicBezTo>
                <a:cubicBezTo>
                  <a:pt x="376758" y="311166"/>
                  <a:pt x="377186" y="310223"/>
                  <a:pt x="378139" y="310292"/>
                </a:cubicBezTo>
                <a:cubicBezTo>
                  <a:pt x="379091" y="310369"/>
                  <a:pt x="380223" y="313111"/>
                  <a:pt x="379614" y="313771"/>
                </a:cubicBezTo>
                <a:cubicBezTo>
                  <a:pt x="378919" y="314516"/>
                  <a:pt x="380111" y="315776"/>
                  <a:pt x="381407" y="315245"/>
                </a:cubicBezTo>
                <a:cubicBezTo>
                  <a:pt x="382710" y="314713"/>
                  <a:pt x="387333" y="312905"/>
                  <a:pt x="388680" y="312554"/>
                </a:cubicBezTo>
                <a:cubicBezTo>
                  <a:pt x="390507" y="312066"/>
                  <a:pt x="388226" y="307935"/>
                  <a:pt x="388818" y="307198"/>
                </a:cubicBezTo>
                <a:cubicBezTo>
                  <a:pt x="389375" y="306504"/>
                  <a:pt x="389915" y="307421"/>
                  <a:pt x="390619" y="306718"/>
                </a:cubicBezTo>
                <a:cubicBezTo>
                  <a:pt x="391322" y="306016"/>
                  <a:pt x="389177" y="305322"/>
                  <a:pt x="389521" y="303822"/>
                </a:cubicBezTo>
                <a:cubicBezTo>
                  <a:pt x="389769" y="302691"/>
                  <a:pt x="394607" y="301380"/>
                  <a:pt x="393278" y="300523"/>
                </a:cubicBezTo>
                <a:cubicBezTo>
                  <a:pt x="391948" y="299658"/>
                  <a:pt x="390156" y="302160"/>
                  <a:pt x="389092" y="302631"/>
                </a:cubicBezTo>
                <a:cubicBezTo>
                  <a:pt x="386681" y="303694"/>
                  <a:pt x="385507" y="301063"/>
                  <a:pt x="385583" y="299066"/>
                </a:cubicBezTo>
                <a:cubicBezTo>
                  <a:pt x="385626" y="298098"/>
                  <a:pt x="386939" y="294670"/>
                  <a:pt x="385789" y="294002"/>
                </a:cubicBezTo>
                <a:cubicBezTo>
                  <a:pt x="384194" y="293085"/>
                  <a:pt x="383928" y="297164"/>
                  <a:pt x="383680" y="297961"/>
                </a:cubicBezTo>
                <a:cubicBezTo>
                  <a:pt x="383294" y="299169"/>
                  <a:pt x="382265" y="300694"/>
                  <a:pt x="384031" y="303985"/>
                </a:cubicBezTo>
                <a:cubicBezTo>
                  <a:pt x="384983" y="305759"/>
                  <a:pt x="384495" y="311765"/>
                  <a:pt x="382642" y="312425"/>
                </a:cubicBezTo>
                <a:cubicBezTo>
                  <a:pt x="380669" y="313136"/>
                  <a:pt x="379803" y="309375"/>
                  <a:pt x="378877" y="307824"/>
                </a:cubicBezTo>
                <a:cubicBezTo>
                  <a:pt x="378722" y="307558"/>
                  <a:pt x="378559" y="307361"/>
                  <a:pt x="378388" y="307267"/>
                </a:cubicBezTo>
                <a:lnTo>
                  <a:pt x="378336" y="307241"/>
                </a:lnTo>
                <a:cubicBezTo>
                  <a:pt x="378259" y="307207"/>
                  <a:pt x="378182" y="307190"/>
                  <a:pt x="378096" y="307198"/>
                </a:cubicBezTo>
                <a:lnTo>
                  <a:pt x="378087" y="307198"/>
                </a:lnTo>
                <a:cubicBezTo>
                  <a:pt x="378001" y="307207"/>
                  <a:pt x="377915" y="307259"/>
                  <a:pt x="377830" y="307327"/>
                </a:cubicBezTo>
                <a:lnTo>
                  <a:pt x="377761" y="307387"/>
                </a:lnTo>
                <a:cubicBezTo>
                  <a:pt x="377667" y="307472"/>
                  <a:pt x="377581" y="307575"/>
                  <a:pt x="377478" y="307729"/>
                </a:cubicBezTo>
                <a:cubicBezTo>
                  <a:pt x="377324" y="307970"/>
                  <a:pt x="377075" y="308389"/>
                  <a:pt x="376870" y="308749"/>
                </a:cubicBezTo>
                <a:cubicBezTo>
                  <a:pt x="376724" y="309006"/>
                  <a:pt x="376432" y="309615"/>
                  <a:pt x="376063" y="310669"/>
                </a:cubicBezTo>
                <a:cubicBezTo>
                  <a:pt x="375831" y="311337"/>
                  <a:pt x="375411" y="311740"/>
                  <a:pt x="374665" y="311903"/>
                </a:cubicBezTo>
                <a:cubicBezTo>
                  <a:pt x="372649" y="312126"/>
                  <a:pt x="370616" y="312262"/>
                  <a:pt x="368541" y="312262"/>
                </a:cubicBezTo>
                <a:cubicBezTo>
                  <a:pt x="367743" y="312262"/>
                  <a:pt x="366945" y="312245"/>
                  <a:pt x="366156" y="312211"/>
                </a:cubicBezTo>
                <a:cubicBezTo>
                  <a:pt x="366491" y="313445"/>
                  <a:pt x="366843" y="314782"/>
                  <a:pt x="367297" y="315648"/>
                </a:cubicBezTo>
                <a:cubicBezTo>
                  <a:pt x="368387" y="317704"/>
                  <a:pt x="370470" y="319366"/>
                  <a:pt x="370119" y="320883"/>
                </a:cubicBezTo>
                <a:cubicBezTo>
                  <a:pt x="369767" y="322408"/>
                  <a:pt x="363403" y="323788"/>
                  <a:pt x="362879" y="322674"/>
                </a:cubicBezTo>
                <a:cubicBezTo>
                  <a:pt x="362228" y="321286"/>
                  <a:pt x="364483" y="318501"/>
                  <a:pt x="364303" y="317241"/>
                </a:cubicBezTo>
                <a:cubicBezTo>
                  <a:pt x="363978" y="314945"/>
                  <a:pt x="362819" y="313574"/>
                  <a:pt x="362965" y="311980"/>
                </a:cubicBezTo>
                <a:cubicBezTo>
                  <a:pt x="351738" y="310857"/>
                  <a:pt x="341479" y="306410"/>
                  <a:pt x="333211" y="299615"/>
                </a:cubicBezTo>
                <a:lnTo>
                  <a:pt x="305369" y="327430"/>
                </a:lnTo>
                <a:cubicBezTo>
                  <a:pt x="319101" y="339649"/>
                  <a:pt x="336376" y="347970"/>
                  <a:pt x="355452" y="350609"/>
                </a:cubicBezTo>
                <a:cubicBezTo>
                  <a:pt x="358145" y="348964"/>
                  <a:pt x="359251" y="346024"/>
                  <a:pt x="361379" y="347618"/>
                </a:cubicBezTo>
                <a:cubicBezTo>
                  <a:pt x="364767" y="350172"/>
                  <a:pt x="368850" y="346762"/>
                  <a:pt x="371552" y="346307"/>
                </a:cubicBezTo>
                <a:close/>
                <a:moveTo>
                  <a:pt x="374030" y="412589"/>
                </a:moveTo>
                <a:lnTo>
                  <a:pt x="374030" y="451869"/>
                </a:lnTo>
                <a:cubicBezTo>
                  <a:pt x="389949" y="451423"/>
                  <a:pt x="405406" y="449067"/>
                  <a:pt x="420176" y="445022"/>
                </a:cubicBezTo>
                <a:cubicBezTo>
                  <a:pt x="417105" y="442417"/>
                  <a:pt x="415707" y="438193"/>
                  <a:pt x="411908" y="436890"/>
                </a:cubicBezTo>
                <a:cubicBezTo>
                  <a:pt x="405371" y="434645"/>
                  <a:pt x="403613" y="430626"/>
                  <a:pt x="407147" y="424799"/>
                </a:cubicBezTo>
                <a:cubicBezTo>
                  <a:pt x="409060" y="421654"/>
                  <a:pt x="408305" y="420412"/>
                  <a:pt x="406066" y="417061"/>
                </a:cubicBezTo>
                <a:cubicBezTo>
                  <a:pt x="403339" y="412983"/>
                  <a:pt x="399813" y="411115"/>
                  <a:pt x="397257" y="410009"/>
                </a:cubicBezTo>
                <a:cubicBezTo>
                  <a:pt x="389683" y="411423"/>
                  <a:pt x="381939" y="412314"/>
                  <a:pt x="374030" y="412589"/>
                </a:cubicBezTo>
                <a:close/>
                <a:moveTo>
                  <a:pt x="392901" y="399667"/>
                </a:moveTo>
                <a:cubicBezTo>
                  <a:pt x="391614" y="398278"/>
                  <a:pt x="389006" y="398176"/>
                  <a:pt x="387162" y="398672"/>
                </a:cubicBezTo>
                <a:cubicBezTo>
                  <a:pt x="380772" y="400404"/>
                  <a:pt x="382908" y="395330"/>
                  <a:pt x="374030" y="396624"/>
                </a:cubicBezTo>
                <a:lnTo>
                  <a:pt x="374030" y="401620"/>
                </a:lnTo>
                <a:cubicBezTo>
                  <a:pt x="380437" y="401380"/>
                  <a:pt x="386733" y="400703"/>
                  <a:pt x="392901" y="399667"/>
                </a:cubicBezTo>
                <a:close/>
                <a:moveTo>
                  <a:pt x="538481" y="434105"/>
                </a:moveTo>
                <a:lnTo>
                  <a:pt x="510579" y="406230"/>
                </a:lnTo>
                <a:cubicBezTo>
                  <a:pt x="496197" y="419863"/>
                  <a:pt x="479848" y="431449"/>
                  <a:pt x="462016" y="440532"/>
                </a:cubicBezTo>
                <a:cubicBezTo>
                  <a:pt x="456140" y="444962"/>
                  <a:pt x="448961" y="448184"/>
                  <a:pt x="443532" y="450643"/>
                </a:cubicBezTo>
                <a:cubicBezTo>
                  <a:pt x="441259" y="451672"/>
                  <a:pt x="438797" y="453017"/>
                  <a:pt x="436215" y="453017"/>
                </a:cubicBezTo>
                <a:cubicBezTo>
                  <a:pt x="435383" y="453017"/>
                  <a:pt x="434663" y="452743"/>
                  <a:pt x="433943" y="452298"/>
                </a:cubicBezTo>
                <a:cubicBezTo>
                  <a:pt x="415029" y="458621"/>
                  <a:pt x="394915" y="462289"/>
                  <a:pt x="374030" y="462837"/>
                </a:cubicBezTo>
                <a:lnTo>
                  <a:pt x="374030" y="502101"/>
                </a:lnTo>
                <a:cubicBezTo>
                  <a:pt x="435864" y="500754"/>
                  <a:pt x="493874" y="476770"/>
                  <a:pt x="538481" y="434105"/>
                </a:cubicBezTo>
                <a:close/>
                <a:moveTo>
                  <a:pt x="483477" y="150112"/>
                </a:moveTo>
                <a:cubicBezTo>
                  <a:pt x="483425" y="150343"/>
                  <a:pt x="483305" y="150471"/>
                  <a:pt x="483159" y="150566"/>
                </a:cubicBezTo>
                <a:cubicBezTo>
                  <a:pt x="489636" y="157550"/>
                  <a:pt x="495460" y="165133"/>
                  <a:pt x="500590" y="173205"/>
                </a:cubicBezTo>
                <a:cubicBezTo>
                  <a:pt x="501186" y="172443"/>
                  <a:pt x="501662" y="171765"/>
                  <a:pt x="502491" y="172717"/>
                </a:cubicBezTo>
                <a:cubicBezTo>
                  <a:pt x="503882" y="174301"/>
                  <a:pt x="501041" y="177181"/>
                  <a:pt x="505158" y="176427"/>
                </a:cubicBezTo>
                <a:cubicBezTo>
                  <a:pt x="507640" y="175973"/>
                  <a:pt x="507131" y="179143"/>
                  <a:pt x="505124" y="180840"/>
                </a:cubicBezTo>
                <a:cubicBezTo>
                  <a:pt x="506394" y="183128"/>
                  <a:pt x="507621" y="185442"/>
                  <a:pt x="508780" y="187789"/>
                </a:cubicBezTo>
                <a:cubicBezTo>
                  <a:pt x="510230" y="188441"/>
                  <a:pt x="511326" y="189229"/>
                  <a:pt x="511549" y="190172"/>
                </a:cubicBezTo>
                <a:cubicBezTo>
                  <a:pt x="512203" y="192931"/>
                  <a:pt x="513469" y="195990"/>
                  <a:pt x="513779" y="199041"/>
                </a:cubicBezTo>
                <a:cubicBezTo>
                  <a:pt x="515743" y="203984"/>
                  <a:pt x="517474" y="209049"/>
                  <a:pt x="518944" y="214225"/>
                </a:cubicBezTo>
                <a:cubicBezTo>
                  <a:pt x="520966" y="212494"/>
                  <a:pt x="523250" y="213436"/>
                  <a:pt x="523487" y="216324"/>
                </a:cubicBezTo>
                <a:cubicBezTo>
                  <a:pt x="523730" y="219212"/>
                  <a:pt x="522813" y="222339"/>
                  <a:pt x="521552" y="224928"/>
                </a:cubicBezTo>
                <a:cubicBezTo>
                  <a:pt x="523308" y="233419"/>
                  <a:pt x="524409" y="242151"/>
                  <a:pt x="524714" y="251080"/>
                </a:cubicBezTo>
                <a:lnTo>
                  <a:pt x="564026" y="251080"/>
                </a:lnTo>
                <a:cubicBezTo>
                  <a:pt x="563313" y="225656"/>
                  <a:pt x="557610" y="200506"/>
                  <a:pt x="547393" y="177396"/>
                </a:cubicBezTo>
                <a:cubicBezTo>
                  <a:pt x="546613" y="178021"/>
                  <a:pt x="545565" y="178072"/>
                  <a:pt x="544246" y="179744"/>
                </a:cubicBezTo>
                <a:cubicBezTo>
                  <a:pt x="542258" y="182254"/>
                  <a:pt x="539038" y="179118"/>
                  <a:pt x="537273" y="176924"/>
                </a:cubicBezTo>
                <a:cubicBezTo>
                  <a:pt x="533981" y="172862"/>
                  <a:pt x="526227" y="161440"/>
                  <a:pt x="522736" y="160866"/>
                </a:cubicBezTo>
                <a:cubicBezTo>
                  <a:pt x="519816" y="160386"/>
                  <a:pt x="517639" y="156599"/>
                  <a:pt x="514570" y="155973"/>
                </a:cubicBezTo>
                <a:cubicBezTo>
                  <a:pt x="511505" y="155347"/>
                  <a:pt x="507679" y="153625"/>
                  <a:pt x="507185" y="150386"/>
                </a:cubicBezTo>
                <a:cubicBezTo>
                  <a:pt x="506661" y="147070"/>
                  <a:pt x="505454" y="145707"/>
                  <a:pt x="502045" y="145176"/>
                </a:cubicBezTo>
                <a:cubicBezTo>
                  <a:pt x="498194" y="144585"/>
                  <a:pt x="495508" y="143059"/>
                  <a:pt x="492797" y="140180"/>
                </a:cubicBezTo>
                <a:lnTo>
                  <a:pt x="483391" y="149581"/>
                </a:lnTo>
                <a:cubicBezTo>
                  <a:pt x="483468" y="149786"/>
                  <a:pt x="483511" y="149966"/>
                  <a:pt x="483477" y="150112"/>
                </a:cubicBezTo>
                <a:close/>
                <a:moveTo>
                  <a:pt x="508426" y="388570"/>
                </a:moveTo>
                <a:lnTo>
                  <a:pt x="510579" y="390720"/>
                </a:lnTo>
                <a:cubicBezTo>
                  <a:pt x="542573" y="356941"/>
                  <a:pt x="562653" y="311791"/>
                  <a:pt x="564026" y="262048"/>
                </a:cubicBezTo>
                <a:lnTo>
                  <a:pt x="524714" y="262048"/>
                </a:lnTo>
                <a:cubicBezTo>
                  <a:pt x="523361" y="300969"/>
                  <a:pt x="507689" y="336307"/>
                  <a:pt x="482799" y="362966"/>
                </a:cubicBezTo>
                <a:lnTo>
                  <a:pt x="496987" y="377138"/>
                </a:lnTo>
                <a:cubicBezTo>
                  <a:pt x="497089" y="376941"/>
                  <a:pt x="497181" y="376745"/>
                  <a:pt x="497278" y="376547"/>
                </a:cubicBezTo>
                <a:cubicBezTo>
                  <a:pt x="498451" y="374062"/>
                  <a:pt x="497947" y="370814"/>
                  <a:pt x="498141" y="368535"/>
                </a:cubicBezTo>
                <a:cubicBezTo>
                  <a:pt x="498262" y="367045"/>
                  <a:pt x="503674" y="367404"/>
                  <a:pt x="504062" y="369863"/>
                </a:cubicBezTo>
                <a:cubicBezTo>
                  <a:pt x="504387" y="371937"/>
                  <a:pt x="505458" y="373462"/>
                  <a:pt x="507340" y="378613"/>
                </a:cubicBezTo>
                <a:cubicBezTo>
                  <a:pt x="508693" y="382323"/>
                  <a:pt x="509338" y="385733"/>
                  <a:pt x="508426" y="388570"/>
                </a:cubicBezTo>
                <a:close/>
                <a:moveTo>
                  <a:pt x="478578" y="413077"/>
                </a:moveTo>
                <a:cubicBezTo>
                  <a:pt x="477541" y="415571"/>
                  <a:pt x="472283" y="420061"/>
                  <a:pt x="473193" y="421535"/>
                </a:cubicBezTo>
                <a:cubicBezTo>
                  <a:pt x="483802" y="414791"/>
                  <a:pt x="493724" y="407070"/>
                  <a:pt x="502825" y="398475"/>
                </a:cubicBezTo>
                <a:lnTo>
                  <a:pt x="475036" y="370720"/>
                </a:lnTo>
                <a:cubicBezTo>
                  <a:pt x="473098" y="372528"/>
                  <a:pt x="471099" y="374268"/>
                  <a:pt x="469067" y="375982"/>
                </a:cubicBezTo>
                <a:cubicBezTo>
                  <a:pt x="468586" y="379161"/>
                  <a:pt x="469023" y="381654"/>
                  <a:pt x="472935" y="382863"/>
                </a:cubicBezTo>
                <a:cubicBezTo>
                  <a:pt x="477155" y="384165"/>
                  <a:pt x="484197" y="388450"/>
                  <a:pt x="482713" y="392606"/>
                </a:cubicBezTo>
                <a:cubicBezTo>
                  <a:pt x="481049" y="396325"/>
                  <a:pt x="476932" y="401894"/>
                  <a:pt x="474942" y="405587"/>
                </a:cubicBezTo>
                <a:cubicBezTo>
                  <a:pt x="473252" y="408741"/>
                  <a:pt x="479831" y="410086"/>
                  <a:pt x="478578" y="413077"/>
                </a:cubicBezTo>
                <a:close/>
                <a:moveTo>
                  <a:pt x="485063" y="250583"/>
                </a:moveTo>
                <a:cubicBezTo>
                  <a:pt x="485005" y="250746"/>
                  <a:pt x="484901" y="250917"/>
                  <a:pt x="484780" y="251080"/>
                </a:cubicBezTo>
                <a:lnTo>
                  <a:pt x="513726" y="251080"/>
                </a:lnTo>
                <a:cubicBezTo>
                  <a:pt x="513576" y="246907"/>
                  <a:pt x="513222" y="242776"/>
                  <a:pt x="512727" y="238689"/>
                </a:cubicBezTo>
                <a:cubicBezTo>
                  <a:pt x="512494" y="239118"/>
                  <a:pt x="512242" y="239546"/>
                  <a:pt x="512048" y="239966"/>
                </a:cubicBezTo>
                <a:cubicBezTo>
                  <a:pt x="509886" y="244456"/>
                  <a:pt x="509561" y="241748"/>
                  <a:pt x="509716" y="239795"/>
                </a:cubicBezTo>
                <a:cubicBezTo>
                  <a:pt x="509920" y="237301"/>
                  <a:pt x="510870" y="234970"/>
                  <a:pt x="511801" y="232417"/>
                </a:cubicBezTo>
                <a:cubicBezTo>
                  <a:pt x="511578" y="231080"/>
                  <a:pt x="511335" y="229760"/>
                  <a:pt x="511069" y="228441"/>
                </a:cubicBezTo>
                <a:cubicBezTo>
                  <a:pt x="510201" y="229675"/>
                  <a:pt x="508950" y="230549"/>
                  <a:pt x="506986" y="231526"/>
                </a:cubicBezTo>
                <a:cubicBezTo>
                  <a:pt x="505711" y="232177"/>
                  <a:pt x="504498" y="235185"/>
                  <a:pt x="504028" y="236333"/>
                </a:cubicBezTo>
                <a:cubicBezTo>
                  <a:pt x="503470" y="237721"/>
                  <a:pt x="500289" y="236007"/>
                  <a:pt x="497671" y="237267"/>
                </a:cubicBezTo>
                <a:cubicBezTo>
                  <a:pt x="493084" y="239478"/>
                  <a:pt x="488380" y="239812"/>
                  <a:pt x="491735" y="244559"/>
                </a:cubicBezTo>
                <a:cubicBezTo>
                  <a:pt x="493879" y="247583"/>
                  <a:pt x="486600" y="246736"/>
                  <a:pt x="485063" y="250583"/>
                </a:cubicBezTo>
                <a:close/>
                <a:moveTo>
                  <a:pt x="475036" y="157926"/>
                </a:moveTo>
                <a:lnTo>
                  <a:pt x="447246" y="185690"/>
                </a:lnTo>
                <a:cubicBezTo>
                  <a:pt x="452023" y="190986"/>
                  <a:pt x="456269" y="196770"/>
                  <a:pt x="459914" y="202948"/>
                </a:cubicBezTo>
                <a:cubicBezTo>
                  <a:pt x="463183" y="203454"/>
                  <a:pt x="467643" y="204765"/>
                  <a:pt x="470516" y="208458"/>
                </a:cubicBezTo>
                <a:cubicBezTo>
                  <a:pt x="472549" y="211080"/>
                  <a:pt x="478416" y="216324"/>
                  <a:pt x="477515" y="218672"/>
                </a:cubicBezTo>
                <a:cubicBezTo>
                  <a:pt x="476966" y="220111"/>
                  <a:pt x="478192" y="221894"/>
                  <a:pt x="479531" y="222836"/>
                </a:cubicBezTo>
                <a:cubicBezTo>
                  <a:pt x="481581" y="224268"/>
                  <a:pt x="483030" y="224234"/>
                  <a:pt x="484154" y="222803"/>
                </a:cubicBezTo>
                <a:cubicBezTo>
                  <a:pt x="486203" y="220189"/>
                  <a:pt x="486494" y="216658"/>
                  <a:pt x="489214" y="214430"/>
                </a:cubicBezTo>
                <a:cubicBezTo>
                  <a:pt x="492540" y="211689"/>
                  <a:pt x="499363" y="219606"/>
                  <a:pt x="499353" y="221054"/>
                </a:cubicBezTo>
                <a:cubicBezTo>
                  <a:pt x="499344" y="222502"/>
                  <a:pt x="497583" y="222845"/>
                  <a:pt x="497079" y="225416"/>
                </a:cubicBezTo>
                <a:cubicBezTo>
                  <a:pt x="496395" y="228929"/>
                  <a:pt x="493374" y="233120"/>
                  <a:pt x="496808" y="234293"/>
                </a:cubicBezTo>
                <a:cubicBezTo>
                  <a:pt x="501807" y="235999"/>
                  <a:pt x="502442" y="234037"/>
                  <a:pt x="504843" y="230523"/>
                </a:cubicBezTo>
                <a:cubicBezTo>
                  <a:pt x="505948" y="228904"/>
                  <a:pt x="505711" y="226290"/>
                  <a:pt x="506899" y="224687"/>
                </a:cubicBezTo>
                <a:cubicBezTo>
                  <a:pt x="507655" y="223676"/>
                  <a:pt x="508780" y="223248"/>
                  <a:pt x="509784" y="222579"/>
                </a:cubicBezTo>
                <a:cubicBezTo>
                  <a:pt x="507907" y="214790"/>
                  <a:pt x="505415" y="207233"/>
                  <a:pt x="502336" y="199992"/>
                </a:cubicBezTo>
                <a:cubicBezTo>
                  <a:pt x="501599" y="199272"/>
                  <a:pt x="500740" y="198681"/>
                  <a:pt x="499669" y="198329"/>
                </a:cubicBezTo>
                <a:cubicBezTo>
                  <a:pt x="497879" y="197738"/>
                  <a:pt x="498888" y="196136"/>
                  <a:pt x="496541" y="195399"/>
                </a:cubicBezTo>
                <a:cubicBezTo>
                  <a:pt x="493845" y="194551"/>
                  <a:pt x="492802" y="193779"/>
                  <a:pt x="492550" y="189057"/>
                </a:cubicBezTo>
                <a:cubicBezTo>
                  <a:pt x="492351" y="185253"/>
                  <a:pt x="495770" y="190309"/>
                  <a:pt x="496619" y="189649"/>
                </a:cubicBezTo>
                <a:cubicBezTo>
                  <a:pt x="496798" y="189503"/>
                  <a:pt x="496958" y="189280"/>
                  <a:pt x="497123" y="189024"/>
                </a:cubicBezTo>
                <a:cubicBezTo>
                  <a:pt x="491129" y="177687"/>
                  <a:pt x="483691" y="167241"/>
                  <a:pt x="475036" y="157926"/>
                </a:cubicBezTo>
                <a:close/>
                <a:moveTo>
                  <a:pt x="441319" y="195622"/>
                </a:moveTo>
                <a:cubicBezTo>
                  <a:pt x="439998" y="195604"/>
                  <a:pt x="438909" y="195347"/>
                  <a:pt x="437949" y="194979"/>
                </a:cubicBezTo>
                <a:lnTo>
                  <a:pt x="428762" y="204148"/>
                </a:lnTo>
                <a:cubicBezTo>
                  <a:pt x="430520" y="204619"/>
                  <a:pt x="432467" y="203968"/>
                  <a:pt x="434663" y="204945"/>
                </a:cubicBezTo>
                <a:cubicBezTo>
                  <a:pt x="437108" y="206016"/>
                  <a:pt x="435915" y="198124"/>
                  <a:pt x="439654" y="198844"/>
                </a:cubicBezTo>
                <a:cubicBezTo>
                  <a:pt x="443472" y="199572"/>
                  <a:pt x="444449" y="202023"/>
                  <a:pt x="441293" y="203214"/>
                </a:cubicBezTo>
                <a:cubicBezTo>
                  <a:pt x="438763" y="204036"/>
                  <a:pt x="441919" y="206144"/>
                  <a:pt x="438857" y="207181"/>
                </a:cubicBezTo>
                <a:cubicBezTo>
                  <a:pt x="436069" y="208132"/>
                  <a:pt x="441122" y="210592"/>
                  <a:pt x="441079" y="211689"/>
                </a:cubicBezTo>
                <a:cubicBezTo>
                  <a:pt x="441027" y="213205"/>
                  <a:pt x="437271" y="213771"/>
                  <a:pt x="442914" y="215510"/>
                </a:cubicBezTo>
                <a:cubicBezTo>
                  <a:pt x="448550" y="217250"/>
                  <a:pt x="442931" y="210771"/>
                  <a:pt x="443789" y="209863"/>
                </a:cubicBezTo>
                <a:cubicBezTo>
                  <a:pt x="444836" y="208758"/>
                  <a:pt x="447846" y="211611"/>
                  <a:pt x="448678" y="210352"/>
                </a:cubicBezTo>
                <a:cubicBezTo>
                  <a:pt x="448987" y="209889"/>
                  <a:pt x="449545" y="209084"/>
                  <a:pt x="450231" y="208158"/>
                </a:cubicBezTo>
                <a:cubicBezTo>
                  <a:pt x="447597" y="203736"/>
                  <a:pt x="444613" y="199538"/>
                  <a:pt x="441319" y="195622"/>
                </a:cubicBezTo>
                <a:close/>
                <a:moveTo>
                  <a:pt x="426995" y="341397"/>
                </a:moveTo>
                <a:cubicBezTo>
                  <a:pt x="427063" y="343325"/>
                  <a:pt x="425116" y="341783"/>
                  <a:pt x="424524" y="342442"/>
                </a:cubicBezTo>
                <a:cubicBezTo>
                  <a:pt x="423933" y="343085"/>
                  <a:pt x="439981" y="350592"/>
                  <a:pt x="442503" y="351020"/>
                </a:cubicBezTo>
                <a:cubicBezTo>
                  <a:pt x="444227" y="351311"/>
                  <a:pt x="447512" y="352537"/>
                  <a:pt x="453319" y="351380"/>
                </a:cubicBezTo>
                <a:cubicBezTo>
                  <a:pt x="457212" y="350609"/>
                  <a:pt x="458293" y="352400"/>
                  <a:pt x="460112" y="352331"/>
                </a:cubicBezTo>
                <a:cubicBezTo>
                  <a:pt x="462702" y="352237"/>
                  <a:pt x="464383" y="348741"/>
                  <a:pt x="465884" y="346590"/>
                </a:cubicBezTo>
                <a:cubicBezTo>
                  <a:pt x="469864" y="340917"/>
                  <a:pt x="469109" y="340155"/>
                  <a:pt x="470164" y="339272"/>
                </a:cubicBezTo>
                <a:cubicBezTo>
                  <a:pt x="471511" y="338141"/>
                  <a:pt x="475422" y="346822"/>
                  <a:pt x="474925" y="352323"/>
                </a:cubicBezTo>
                <a:cubicBezTo>
                  <a:pt x="474839" y="353197"/>
                  <a:pt x="474736" y="354011"/>
                  <a:pt x="474616" y="354791"/>
                </a:cubicBezTo>
                <a:lnTo>
                  <a:pt x="475036" y="355211"/>
                </a:lnTo>
                <a:cubicBezTo>
                  <a:pt x="497947" y="330549"/>
                  <a:pt x="512388" y="297944"/>
                  <a:pt x="513726" y="262048"/>
                </a:cubicBezTo>
                <a:lnTo>
                  <a:pt x="483845" y="262048"/>
                </a:lnTo>
                <a:cubicBezTo>
                  <a:pt x="484875" y="263745"/>
                  <a:pt x="486658" y="265938"/>
                  <a:pt x="488535" y="269811"/>
                </a:cubicBezTo>
                <a:cubicBezTo>
                  <a:pt x="490048" y="272914"/>
                  <a:pt x="490940" y="277841"/>
                  <a:pt x="493476" y="278081"/>
                </a:cubicBezTo>
                <a:cubicBezTo>
                  <a:pt x="497569" y="278466"/>
                  <a:pt x="501778" y="281851"/>
                  <a:pt x="501899" y="284696"/>
                </a:cubicBezTo>
                <a:cubicBezTo>
                  <a:pt x="502142" y="290643"/>
                  <a:pt x="483674" y="292083"/>
                  <a:pt x="481246" y="291320"/>
                </a:cubicBezTo>
                <a:cubicBezTo>
                  <a:pt x="479205" y="290678"/>
                  <a:pt x="477850" y="290541"/>
                  <a:pt x="477713" y="293736"/>
                </a:cubicBezTo>
                <a:cubicBezTo>
                  <a:pt x="477558" y="297361"/>
                  <a:pt x="471039" y="297387"/>
                  <a:pt x="468474" y="299555"/>
                </a:cubicBezTo>
                <a:cubicBezTo>
                  <a:pt x="465593" y="301988"/>
                  <a:pt x="465276" y="306436"/>
                  <a:pt x="463346" y="309537"/>
                </a:cubicBezTo>
                <a:cubicBezTo>
                  <a:pt x="462188" y="311397"/>
                  <a:pt x="455369" y="317832"/>
                  <a:pt x="453507" y="319135"/>
                </a:cubicBezTo>
                <a:cubicBezTo>
                  <a:pt x="449064" y="322237"/>
                  <a:pt x="440701" y="322391"/>
                  <a:pt x="444527" y="324439"/>
                </a:cubicBezTo>
                <a:cubicBezTo>
                  <a:pt x="447254" y="325896"/>
                  <a:pt x="453448" y="326410"/>
                  <a:pt x="452666" y="324971"/>
                </a:cubicBezTo>
                <a:cubicBezTo>
                  <a:pt x="451775" y="323317"/>
                  <a:pt x="453138" y="323163"/>
                  <a:pt x="454185" y="324516"/>
                </a:cubicBezTo>
                <a:cubicBezTo>
                  <a:pt x="454991" y="325536"/>
                  <a:pt x="457899" y="323531"/>
                  <a:pt x="457839" y="321663"/>
                </a:cubicBezTo>
                <a:cubicBezTo>
                  <a:pt x="457779" y="319898"/>
                  <a:pt x="457393" y="317019"/>
                  <a:pt x="459031" y="316907"/>
                </a:cubicBezTo>
                <a:cubicBezTo>
                  <a:pt x="461690" y="316736"/>
                  <a:pt x="464486" y="313788"/>
                  <a:pt x="465807" y="314062"/>
                </a:cubicBezTo>
                <a:cubicBezTo>
                  <a:pt x="467308" y="314371"/>
                  <a:pt x="469341" y="317704"/>
                  <a:pt x="467814" y="327858"/>
                </a:cubicBezTo>
                <a:cubicBezTo>
                  <a:pt x="466304" y="338021"/>
                  <a:pt x="461450" y="345091"/>
                  <a:pt x="459511" y="348278"/>
                </a:cubicBezTo>
                <a:cubicBezTo>
                  <a:pt x="457419" y="351689"/>
                  <a:pt x="455326" y="349084"/>
                  <a:pt x="452521" y="347644"/>
                </a:cubicBezTo>
                <a:cubicBezTo>
                  <a:pt x="448953" y="345810"/>
                  <a:pt x="443575" y="345888"/>
                  <a:pt x="439818" y="344662"/>
                </a:cubicBezTo>
                <a:cubicBezTo>
                  <a:pt x="437828" y="344020"/>
                  <a:pt x="426935" y="339898"/>
                  <a:pt x="426995" y="341397"/>
                </a:cubicBezTo>
                <a:close/>
                <a:moveTo>
                  <a:pt x="614306" y="262048"/>
                </a:moveTo>
                <a:lnTo>
                  <a:pt x="575014" y="262048"/>
                </a:lnTo>
                <a:cubicBezTo>
                  <a:pt x="573622" y="314808"/>
                  <a:pt x="552315" y="362700"/>
                  <a:pt x="518342" y="398475"/>
                </a:cubicBezTo>
                <a:lnTo>
                  <a:pt x="546244" y="426350"/>
                </a:lnTo>
                <a:cubicBezTo>
                  <a:pt x="588960" y="381774"/>
                  <a:pt x="612967" y="323823"/>
                  <a:pt x="614306" y="262048"/>
                </a:cubicBezTo>
                <a:close/>
                <a:moveTo>
                  <a:pt x="546244" y="86787"/>
                </a:moveTo>
                <a:lnTo>
                  <a:pt x="517135" y="115870"/>
                </a:lnTo>
                <a:cubicBezTo>
                  <a:pt x="519802" y="120515"/>
                  <a:pt x="524811" y="126367"/>
                  <a:pt x="531876" y="133556"/>
                </a:cubicBezTo>
                <a:cubicBezTo>
                  <a:pt x="534776" y="136512"/>
                  <a:pt x="537855" y="139409"/>
                  <a:pt x="540440" y="142022"/>
                </a:cubicBezTo>
                <a:cubicBezTo>
                  <a:pt x="542918" y="144516"/>
                  <a:pt x="558793" y="164250"/>
                  <a:pt x="555724" y="167112"/>
                </a:cubicBezTo>
                <a:cubicBezTo>
                  <a:pt x="555501" y="167327"/>
                  <a:pt x="555258" y="167524"/>
                  <a:pt x="555021" y="167721"/>
                </a:cubicBezTo>
                <a:cubicBezTo>
                  <a:pt x="567371" y="193633"/>
                  <a:pt x="574233" y="222194"/>
                  <a:pt x="575004" y="251080"/>
                </a:cubicBezTo>
                <a:lnTo>
                  <a:pt x="614306" y="251080"/>
                </a:lnTo>
                <a:cubicBezTo>
                  <a:pt x="612967" y="189306"/>
                  <a:pt x="588960" y="131354"/>
                  <a:pt x="546244" y="86787"/>
                </a:cubicBezTo>
                <a:close/>
                <a:moveTo>
                  <a:pt x="374030" y="50292"/>
                </a:moveTo>
                <a:cubicBezTo>
                  <a:pt x="406872" y="51140"/>
                  <a:pt x="438402" y="59606"/>
                  <a:pt x="466605" y="74824"/>
                </a:cubicBezTo>
                <a:cubicBezTo>
                  <a:pt x="469238" y="74413"/>
                  <a:pt x="471837" y="74087"/>
                  <a:pt x="473578" y="73274"/>
                </a:cubicBezTo>
                <a:cubicBezTo>
                  <a:pt x="477078" y="71646"/>
                  <a:pt x="483956" y="75347"/>
                  <a:pt x="487274" y="77275"/>
                </a:cubicBezTo>
                <a:cubicBezTo>
                  <a:pt x="490305" y="79023"/>
                  <a:pt x="492652" y="81611"/>
                  <a:pt x="495983" y="83479"/>
                </a:cubicBezTo>
                <a:cubicBezTo>
                  <a:pt x="499387" y="85390"/>
                  <a:pt x="504857" y="90874"/>
                  <a:pt x="506060" y="96401"/>
                </a:cubicBezTo>
                <a:cubicBezTo>
                  <a:pt x="507272" y="101928"/>
                  <a:pt x="510778" y="101551"/>
                  <a:pt x="509027" y="103788"/>
                </a:cubicBezTo>
                <a:cubicBezTo>
                  <a:pt x="508154" y="104902"/>
                  <a:pt x="509493" y="105330"/>
                  <a:pt x="511166" y="106324"/>
                </a:cubicBezTo>
                <a:lnTo>
                  <a:pt x="538490" y="79032"/>
                </a:lnTo>
                <a:cubicBezTo>
                  <a:pt x="493874" y="36358"/>
                  <a:pt x="435864" y="12374"/>
                  <a:pt x="374030" y="11037"/>
                </a:cubicBezTo>
                <a:lnTo>
                  <a:pt x="374030" y="50292"/>
                </a:lnTo>
                <a:close/>
                <a:moveTo>
                  <a:pt x="374030" y="100540"/>
                </a:moveTo>
                <a:cubicBezTo>
                  <a:pt x="407387" y="101697"/>
                  <a:pt x="438094" y="113367"/>
                  <a:pt x="462994" y="132306"/>
                </a:cubicBezTo>
                <a:cubicBezTo>
                  <a:pt x="460181" y="128586"/>
                  <a:pt x="457332" y="124739"/>
                  <a:pt x="456011" y="123325"/>
                </a:cubicBezTo>
                <a:cubicBezTo>
                  <a:pt x="453601" y="120763"/>
                  <a:pt x="444578" y="117609"/>
                  <a:pt x="445488" y="116144"/>
                </a:cubicBezTo>
                <a:cubicBezTo>
                  <a:pt x="446388" y="114670"/>
                  <a:pt x="454416" y="121071"/>
                  <a:pt x="455823" y="119948"/>
                </a:cubicBezTo>
                <a:cubicBezTo>
                  <a:pt x="457513" y="118595"/>
                  <a:pt x="451792" y="111243"/>
                  <a:pt x="452221" y="110960"/>
                </a:cubicBezTo>
                <a:cubicBezTo>
                  <a:pt x="452812" y="110574"/>
                  <a:pt x="459589" y="117113"/>
                  <a:pt x="462916" y="122974"/>
                </a:cubicBezTo>
                <a:cubicBezTo>
                  <a:pt x="464306" y="125039"/>
                  <a:pt x="467994" y="123993"/>
                  <a:pt x="470868" y="125990"/>
                </a:cubicBezTo>
                <a:cubicBezTo>
                  <a:pt x="473398" y="127764"/>
                  <a:pt x="473569" y="130600"/>
                  <a:pt x="475697" y="132425"/>
                </a:cubicBezTo>
                <a:cubicBezTo>
                  <a:pt x="476040" y="132725"/>
                  <a:pt x="480543" y="135322"/>
                  <a:pt x="477927" y="135022"/>
                </a:cubicBezTo>
                <a:cubicBezTo>
                  <a:pt x="477172" y="134936"/>
                  <a:pt x="476014" y="133333"/>
                  <a:pt x="475148" y="134148"/>
                </a:cubicBezTo>
                <a:cubicBezTo>
                  <a:pt x="474607" y="134662"/>
                  <a:pt x="475474" y="137421"/>
                  <a:pt x="477026" y="140437"/>
                </a:cubicBezTo>
                <a:lnTo>
                  <a:pt x="490082" y="127387"/>
                </a:lnTo>
                <a:cubicBezTo>
                  <a:pt x="488186" y="123548"/>
                  <a:pt x="484446" y="118484"/>
                  <a:pt x="481838" y="117841"/>
                </a:cubicBezTo>
                <a:cubicBezTo>
                  <a:pt x="479145" y="117181"/>
                  <a:pt x="477489" y="119443"/>
                  <a:pt x="475637" y="120977"/>
                </a:cubicBezTo>
                <a:cubicBezTo>
                  <a:pt x="473784" y="122511"/>
                  <a:pt x="471468" y="123025"/>
                  <a:pt x="471177" y="121997"/>
                </a:cubicBezTo>
                <a:cubicBezTo>
                  <a:pt x="470851" y="120831"/>
                  <a:pt x="471554" y="117978"/>
                  <a:pt x="471417" y="116778"/>
                </a:cubicBezTo>
                <a:cubicBezTo>
                  <a:pt x="471228" y="115279"/>
                  <a:pt x="470053" y="114096"/>
                  <a:pt x="469658" y="112648"/>
                </a:cubicBezTo>
                <a:cubicBezTo>
                  <a:pt x="468723" y="109238"/>
                  <a:pt x="470113" y="105433"/>
                  <a:pt x="468037" y="103170"/>
                </a:cubicBezTo>
                <a:cubicBezTo>
                  <a:pt x="465756" y="100686"/>
                  <a:pt x="464229" y="96924"/>
                  <a:pt x="462445" y="94071"/>
                </a:cubicBezTo>
                <a:cubicBezTo>
                  <a:pt x="460497" y="90960"/>
                  <a:pt x="456989" y="86153"/>
                  <a:pt x="456783" y="82074"/>
                </a:cubicBezTo>
                <a:cubicBezTo>
                  <a:pt x="431352" y="69229"/>
                  <a:pt x="403244" y="62057"/>
                  <a:pt x="374030" y="61260"/>
                </a:cubicBezTo>
                <a:lnTo>
                  <a:pt x="374030" y="100540"/>
                </a:lnTo>
                <a:close/>
                <a:moveTo>
                  <a:pt x="374030" y="150797"/>
                </a:moveTo>
                <a:cubicBezTo>
                  <a:pt x="399127" y="152083"/>
                  <a:pt x="421951" y="162134"/>
                  <a:pt x="439483" y="177935"/>
                </a:cubicBezTo>
                <a:lnTo>
                  <a:pt x="467283" y="150172"/>
                </a:lnTo>
                <a:cubicBezTo>
                  <a:pt x="442588" y="127284"/>
                  <a:pt x="409960" y="112854"/>
                  <a:pt x="374030" y="111517"/>
                </a:cubicBezTo>
                <a:lnTo>
                  <a:pt x="374030" y="150797"/>
                </a:lnTo>
                <a:close/>
                <a:moveTo>
                  <a:pt x="374030" y="201140"/>
                </a:moveTo>
                <a:cubicBezTo>
                  <a:pt x="377770" y="201509"/>
                  <a:pt x="381449" y="202263"/>
                  <a:pt x="385034" y="203368"/>
                </a:cubicBezTo>
                <a:cubicBezTo>
                  <a:pt x="385969" y="201080"/>
                  <a:pt x="388311" y="199940"/>
                  <a:pt x="390232" y="198638"/>
                </a:cubicBezTo>
                <a:cubicBezTo>
                  <a:pt x="392505" y="197095"/>
                  <a:pt x="394152" y="195356"/>
                  <a:pt x="393826" y="199546"/>
                </a:cubicBezTo>
                <a:cubicBezTo>
                  <a:pt x="393526" y="202494"/>
                  <a:pt x="392299" y="204276"/>
                  <a:pt x="390773" y="205476"/>
                </a:cubicBezTo>
                <a:cubicBezTo>
                  <a:pt x="394624" y="207156"/>
                  <a:pt x="398286" y="209246"/>
                  <a:pt x="401692" y="211766"/>
                </a:cubicBezTo>
                <a:cubicBezTo>
                  <a:pt x="402438" y="212322"/>
                  <a:pt x="403167" y="212905"/>
                  <a:pt x="403888" y="213496"/>
                </a:cubicBezTo>
                <a:lnTo>
                  <a:pt x="407662" y="209726"/>
                </a:lnTo>
                <a:cubicBezTo>
                  <a:pt x="407627" y="209597"/>
                  <a:pt x="407593" y="209469"/>
                  <a:pt x="407593" y="209306"/>
                </a:cubicBezTo>
                <a:cubicBezTo>
                  <a:pt x="407662" y="207164"/>
                  <a:pt x="410767" y="204610"/>
                  <a:pt x="414352" y="203042"/>
                </a:cubicBezTo>
                <a:lnTo>
                  <a:pt x="426608" y="190798"/>
                </a:lnTo>
                <a:cubicBezTo>
                  <a:pt x="426334" y="190738"/>
                  <a:pt x="426034" y="190686"/>
                  <a:pt x="425682" y="190643"/>
                </a:cubicBezTo>
                <a:cubicBezTo>
                  <a:pt x="424036" y="190438"/>
                  <a:pt x="421694" y="193848"/>
                  <a:pt x="420090" y="192905"/>
                </a:cubicBezTo>
                <a:cubicBezTo>
                  <a:pt x="418280" y="191851"/>
                  <a:pt x="425502" y="185493"/>
                  <a:pt x="428728" y="186719"/>
                </a:cubicBezTo>
                <a:cubicBezTo>
                  <a:pt x="429165" y="186881"/>
                  <a:pt x="429645" y="187070"/>
                  <a:pt x="430142" y="187267"/>
                </a:cubicBezTo>
                <a:lnTo>
                  <a:pt x="431703" y="185707"/>
                </a:lnTo>
                <a:cubicBezTo>
                  <a:pt x="416179" y="171877"/>
                  <a:pt x="396108" y="163051"/>
                  <a:pt x="374030" y="161783"/>
                </a:cubicBezTo>
                <a:lnTo>
                  <a:pt x="374030" y="201140"/>
                </a:lnTo>
                <a:close/>
                <a:moveTo>
                  <a:pt x="368541" y="211834"/>
                </a:moveTo>
                <a:cubicBezTo>
                  <a:pt x="363934" y="211834"/>
                  <a:pt x="359466" y="212520"/>
                  <a:pt x="355177" y="213856"/>
                </a:cubicBezTo>
                <a:cubicBezTo>
                  <a:pt x="354611" y="214474"/>
                  <a:pt x="354182" y="214988"/>
                  <a:pt x="354508" y="215450"/>
                </a:cubicBezTo>
                <a:cubicBezTo>
                  <a:pt x="355589" y="217027"/>
                  <a:pt x="358883" y="213719"/>
                  <a:pt x="359320" y="216762"/>
                </a:cubicBezTo>
                <a:cubicBezTo>
                  <a:pt x="359646" y="218972"/>
                  <a:pt x="355675" y="217344"/>
                  <a:pt x="356035" y="218972"/>
                </a:cubicBezTo>
                <a:cubicBezTo>
                  <a:pt x="356326" y="220274"/>
                  <a:pt x="359080" y="219735"/>
                  <a:pt x="359148" y="221526"/>
                </a:cubicBezTo>
                <a:cubicBezTo>
                  <a:pt x="359208" y="223171"/>
                  <a:pt x="357484" y="226401"/>
                  <a:pt x="356155" y="227250"/>
                </a:cubicBezTo>
                <a:cubicBezTo>
                  <a:pt x="354388" y="228381"/>
                  <a:pt x="344970" y="229623"/>
                  <a:pt x="344069" y="231808"/>
                </a:cubicBezTo>
                <a:cubicBezTo>
                  <a:pt x="343280" y="233719"/>
                  <a:pt x="342457" y="235442"/>
                  <a:pt x="340981" y="237010"/>
                </a:cubicBezTo>
                <a:cubicBezTo>
                  <a:pt x="339378" y="238698"/>
                  <a:pt x="331821" y="243179"/>
                  <a:pt x="331804" y="244345"/>
                </a:cubicBezTo>
                <a:cubicBezTo>
                  <a:pt x="331761" y="247096"/>
                  <a:pt x="335432" y="243591"/>
                  <a:pt x="336452" y="242511"/>
                </a:cubicBezTo>
                <a:cubicBezTo>
                  <a:pt x="338074" y="240797"/>
                  <a:pt x="340304" y="240806"/>
                  <a:pt x="342732" y="239418"/>
                </a:cubicBezTo>
                <a:cubicBezTo>
                  <a:pt x="346076" y="237515"/>
                  <a:pt x="347363" y="244174"/>
                  <a:pt x="343778" y="244413"/>
                </a:cubicBezTo>
                <a:cubicBezTo>
                  <a:pt x="341539" y="244567"/>
                  <a:pt x="339652" y="250849"/>
                  <a:pt x="336144" y="249640"/>
                </a:cubicBezTo>
                <a:cubicBezTo>
                  <a:pt x="335261" y="249332"/>
                  <a:pt x="332765" y="247789"/>
                  <a:pt x="332224" y="249384"/>
                </a:cubicBezTo>
                <a:cubicBezTo>
                  <a:pt x="331649" y="251080"/>
                  <a:pt x="337439" y="251346"/>
                  <a:pt x="339258" y="252546"/>
                </a:cubicBezTo>
                <a:cubicBezTo>
                  <a:pt x="343880" y="255596"/>
                  <a:pt x="335749" y="255382"/>
                  <a:pt x="334445" y="256213"/>
                </a:cubicBezTo>
                <a:cubicBezTo>
                  <a:pt x="333159" y="257035"/>
                  <a:pt x="333794" y="258809"/>
                  <a:pt x="335552" y="258090"/>
                </a:cubicBezTo>
                <a:cubicBezTo>
                  <a:pt x="337251" y="257387"/>
                  <a:pt x="339558" y="255613"/>
                  <a:pt x="340612" y="258493"/>
                </a:cubicBezTo>
                <a:cubicBezTo>
                  <a:pt x="342037" y="262391"/>
                  <a:pt x="334188" y="276615"/>
                  <a:pt x="331907" y="275116"/>
                </a:cubicBezTo>
                <a:cubicBezTo>
                  <a:pt x="330663" y="274302"/>
                  <a:pt x="329377" y="275459"/>
                  <a:pt x="328210" y="275956"/>
                </a:cubicBezTo>
                <a:cubicBezTo>
                  <a:pt x="329771" y="279186"/>
                  <a:pt x="331735" y="282185"/>
                  <a:pt x="333991" y="284936"/>
                </a:cubicBezTo>
                <a:cubicBezTo>
                  <a:pt x="335535" y="282391"/>
                  <a:pt x="337971" y="278792"/>
                  <a:pt x="339000" y="278767"/>
                </a:cubicBezTo>
                <a:cubicBezTo>
                  <a:pt x="340458" y="278724"/>
                  <a:pt x="339969" y="277576"/>
                  <a:pt x="340518" y="276547"/>
                </a:cubicBezTo>
                <a:cubicBezTo>
                  <a:pt x="341196" y="275305"/>
                  <a:pt x="342928" y="276607"/>
                  <a:pt x="343049" y="274911"/>
                </a:cubicBezTo>
                <a:cubicBezTo>
                  <a:pt x="343168" y="273222"/>
                  <a:pt x="347492" y="270797"/>
                  <a:pt x="347989" y="268313"/>
                </a:cubicBezTo>
                <a:cubicBezTo>
                  <a:pt x="348246" y="266976"/>
                  <a:pt x="346651" y="265647"/>
                  <a:pt x="347311" y="264542"/>
                </a:cubicBezTo>
                <a:cubicBezTo>
                  <a:pt x="348118" y="263196"/>
                  <a:pt x="348701" y="262991"/>
                  <a:pt x="349568" y="262700"/>
                </a:cubicBezTo>
                <a:cubicBezTo>
                  <a:pt x="350433" y="262400"/>
                  <a:pt x="352484" y="264439"/>
                  <a:pt x="353110" y="263557"/>
                </a:cubicBezTo>
                <a:cubicBezTo>
                  <a:pt x="353736" y="262674"/>
                  <a:pt x="356789" y="263351"/>
                  <a:pt x="359122" y="264825"/>
                </a:cubicBezTo>
                <a:cubicBezTo>
                  <a:pt x="360186" y="265501"/>
                  <a:pt x="362253" y="264722"/>
                  <a:pt x="363523" y="266521"/>
                </a:cubicBezTo>
                <a:cubicBezTo>
                  <a:pt x="365281" y="268998"/>
                  <a:pt x="363437" y="269212"/>
                  <a:pt x="363754" y="269761"/>
                </a:cubicBezTo>
                <a:cubicBezTo>
                  <a:pt x="364063" y="270309"/>
                  <a:pt x="364826" y="269452"/>
                  <a:pt x="365289" y="269906"/>
                </a:cubicBezTo>
                <a:cubicBezTo>
                  <a:pt x="366276" y="270866"/>
                  <a:pt x="360709" y="274123"/>
                  <a:pt x="361344" y="275896"/>
                </a:cubicBezTo>
                <a:cubicBezTo>
                  <a:pt x="361970" y="277661"/>
                  <a:pt x="356627" y="286402"/>
                  <a:pt x="355160" y="287790"/>
                </a:cubicBezTo>
                <a:cubicBezTo>
                  <a:pt x="353144" y="289624"/>
                  <a:pt x="349816" y="287576"/>
                  <a:pt x="348504" y="287953"/>
                </a:cubicBezTo>
                <a:cubicBezTo>
                  <a:pt x="347088" y="288355"/>
                  <a:pt x="346814" y="289563"/>
                  <a:pt x="344635" y="289033"/>
                </a:cubicBezTo>
                <a:cubicBezTo>
                  <a:pt x="342954" y="288629"/>
                  <a:pt x="340939" y="289307"/>
                  <a:pt x="339077" y="290189"/>
                </a:cubicBezTo>
                <a:cubicBezTo>
                  <a:pt x="346952" y="297096"/>
                  <a:pt x="357261" y="301303"/>
                  <a:pt x="368540" y="301303"/>
                </a:cubicBezTo>
                <a:cubicBezTo>
                  <a:pt x="370968" y="301303"/>
                  <a:pt x="373343" y="301081"/>
                  <a:pt x="375660" y="300703"/>
                </a:cubicBezTo>
                <a:cubicBezTo>
                  <a:pt x="377109" y="298843"/>
                  <a:pt x="377709" y="296556"/>
                  <a:pt x="378018" y="294217"/>
                </a:cubicBezTo>
                <a:cubicBezTo>
                  <a:pt x="378199" y="292948"/>
                  <a:pt x="377976" y="291303"/>
                  <a:pt x="378645" y="290172"/>
                </a:cubicBezTo>
                <a:cubicBezTo>
                  <a:pt x="379219" y="289212"/>
                  <a:pt x="382873" y="284722"/>
                  <a:pt x="384331" y="284782"/>
                </a:cubicBezTo>
                <a:cubicBezTo>
                  <a:pt x="385609" y="284833"/>
                  <a:pt x="386484" y="285956"/>
                  <a:pt x="388328" y="285382"/>
                </a:cubicBezTo>
                <a:cubicBezTo>
                  <a:pt x="391905" y="284259"/>
                  <a:pt x="394118" y="285210"/>
                  <a:pt x="394152" y="286753"/>
                </a:cubicBezTo>
                <a:cubicBezTo>
                  <a:pt x="394204" y="288904"/>
                  <a:pt x="389649" y="288287"/>
                  <a:pt x="389838" y="289495"/>
                </a:cubicBezTo>
                <a:cubicBezTo>
                  <a:pt x="389958" y="290343"/>
                  <a:pt x="393260" y="291620"/>
                  <a:pt x="394341" y="290386"/>
                </a:cubicBezTo>
                <a:cubicBezTo>
                  <a:pt x="396365" y="288107"/>
                  <a:pt x="396065" y="285116"/>
                  <a:pt x="395542" y="284465"/>
                </a:cubicBezTo>
                <a:cubicBezTo>
                  <a:pt x="394109" y="282657"/>
                  <a:pt x="394195" y="281911"/>
                  <a:pt x="396254" y="282614"/>
                </a:cubicBezTo>
                <a:cubicBezTo>
                  <a:pt x="397523" y="283051"/>
                  <a:pt x="397514" y="278047"/>
                  <a:pt x="398724" y="276128"/>
                </a:cubicBezTo>
                <a:cubicBezTo>
                  <a:pt x="400371" y="273548"/>
                  <a:pt x="395679" y="275356"/>
                  <a:pt x="393723" y="275630"/>
                </a:cubicBezTo>
                <a:cubicBezTo>
                  <a:pt x="391879" y="275887"/>
                  <a:pt x="390352" y="271954"/>
                  <a:pt x="390310" y="270574"/>
                </a:cubicBezTo>
                <a:cubicBezTo>
                  <a:pt x="390275" y="269580"/>
                  <a:pt x="393809" y="274088"/>
                  <a:pt x="395593" y="274182"/>
                </a:cubicBezTo>
                <a:cubicBezTo>
                  <a:pt x="397609" y="274285"/>
                  <a:pt x="399993" y="271946"/>
                  <a:pt x="400019" y="270232"/>
                </a:cubicBezTo>
                <a:cubicBezTo>
                  <a:pt x="400062" y="268518"/>
                  <a:pt x="396176" y="268287"/>
                  <a:pt x="395585" y="266204"/>
                </a:cubicBezTo>
                <a:cubicBezTo>
                  <a:pt x="395259" y="265064"/>
                  <a:pt x="398741" y="266196"/>
                  <a:pt x="398475" y="265073"/>
                </a:cubicBezTo>
                <a:cubicBezTo>
                  <a:pt x="398252" y="264088"/>
                  <a:pt x="398827" y="261714"/>
                  <a:pt x="396631" y="260772"/>
                </a:cubicBezTo>
                <a:cubicBezTo>
                  <a:pt x="394444" y="259838"/>
                  <a:pt x="392437" y="252837"/>
                  <a:pt x="390686" y="252357"/>
                </a:cubicBezTo>
                <a:cubicBezTo>
                  <a:pt x="389134" y="251937"/>
                  <a:pt x="387839" y="254036"/>
                  <a:pt x="386887" y="254807"/>
                </a:cubicBezTo>
                <a:cubicBezTo>
                  <a:pt x="385944" y="255570"/>
                  <a:pt x="384434" y="254251"/>
                  <a:pt x="385223" y="253522"/>
                </a:cubicBezTo>
                <a:cubicBezTo>
                  <a:pt x="386347" y="252477"/>
                  <a:pt x="388954" y="250232"/>
                  <a:pt x="389495" y="248467"/>
                </a:cubicBezTo>
                <a:cubicBezTo>
                  <a:pt x="390404" y="245501"/>
                  <a:pt x="394220" y="248621"/>
                  <a:pt x="393543" y="244482"/>
                </a:cubicBezTo>
                <a:cubicBezTo>
                  <a:pt x="392814" y="240000"/>
                  <a:pt x="388988" y="240866"/>
                  <a:pt x="390764" y="238707"/>
                </a:cubicBezTo>
                <a:cubicBezTo>
                  <a:pt x="392582" y="236513"/>
                  <a:pt x="391227" y="232940"/>
                  <a:pt x="387531" y="233651"/>
                </a:cubicBezTo>
                <a:cubicBezTo>
                  <a:pt x="385824" y="233977"/>
                  <a:pt x="384031" y="231200"/>
                  <a:pt x="383851" y="228801"/>
                </a:cubicBezTo>
                <a:cubicBezTo>
                  <a:pt x="383739" y="227481"/>
                  <a:pt x="379948" y="227687"/>
                  <a:pt x="380094" y="226290"/>
                </a:cubicBezTo>
                <a:cubicBezTo>
                  <a:pt x="380394" y="223436"/>
                  <a:pt x="376114" y="223137"/>
                  <a:pt x="373498" y="223334"/>
                </a:cubicBezTo>
                <a:cubicBezTo>
                  <a:pt x="370882" y="223522"/>
                  <a:pt x="365821" y="219495"/>
                  <a:pt x="365255" y="218509"/>
                </a:cubicBezTo>
                <a:cubicBezTo>
                  <a:pt x="364698" y="217515"/>
                  <a:pt x="361061" y="219383"/>
                  <a:pt x="362262" y="215545"/>
                </a:cubicBezTo>
                <a:cubicBezTo>
                  <a:pt x="363445" y="211766"/>
                  <a:pt x="367031" y="216230"/>
                  <a:pt x="368540" y="215142"/>
                </a:cubicBezTo>
                <a:cubicBezTo>
                  <a:pt x="370171" y="213977"/>
                  <a:pt x="369664" y="212785"/>
                  <a:pt x="369398" y="211868"/>
                </a:cubicBezTo>
                <a:cubicBezTo>
                  <a:pt x="369107" y="211860"/>
                  <a:pt x="368823" y="211834"/>
                  <a:pt x="368540" y="211834"/>
                </a:cubicBezTo>
                <a:close/>
                <a:moveTo>
                  <a:pt x="198590" y="79032"/>
                </a:moveTo>
                <a:lnTo>
                  <a:pt x="226492" y="106907"/>
                </a:lnTo>
                <a:cubicBezTo>
                  <a:pt x="262302" y="72965"/>
                  <a:pt x="310241" y="51671"/>
                  <a:pt x="363051" y="50292"/>
                </a:cubicBezTo>
                <a:lnTo>
                  <a:pt x="363051" y="11037"/>
                </a:lnTo>
                <a:cubicBezTo>
                  <a:pt x="301217" y="12374"/>
                  <a:pt x="243209" y="36358"/>
                  <a:pt x="198590" y="79032"/>
                </a:cubicBezTo>
                <a:close/>
                <a:moveTo>
                  <a:pt x="122766" y="251080"/>
                </a:moveTo>
                <a:lnTo>
                  <a:pt x="162068" y="251080"/>
                </a:lnTo>
                <a:cubicBezTo>
                  <a:pt x="163449" y="198320"/>
                  <a:pt x="184763" y="150429"/>
                  <a:pt x="218729" y="114662"/>
                </a:cubicBezTo>
                <a:lnTo>
                  <a:pt x="190827" y="86787"/>
                </a:lnTo>
                <a:cubicBezTo>
                  <a:pt x="148121" y="131354"/>
                  <a:pt x="124113" y="189306"/>
                  <a:pt x="122766" y="251080"/>
                </a:cubicBezTo>
                <a:close/>
              </a:path>
            </a:pathLst>
          </a:custGeom>
          <a:solidFill>
            <a:srgbClr val="009EDB"/>
          </a:solidFill>
          <a:ln w="4834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404"/>
          </a:p>
        </p:txBody>
      </p:sp>
    </p:spTree>
    <p:extLst>
      <p:ext uri="{BB962C8B-B14F-4D97-AF65-F5344CB8AC3E}">
        <p14:creationId xmlns:p14="http://schemas.microsoft.com/office/powerpoint/2010/main" val="2139019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F592702-9E5A-26C4-E690-3C8A2A72D8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645416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592702-9E5A-26C4-E690-3C8A2A72D8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icture Placeholder 19">
            <a:extLst>
              <a:ext uri="{FF2B5EF4-FFF2-40B4-BE49-F238E27FC236}">
                <a16:creationId xmlns:a16="http://schemas.microsoft.com/office/drawing/2014/main" id="{241AFEEA-07CB-1571-55B9-F824387FF76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80196" y="1943100"/>
            <a:ext cx="11040303" cy="400050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Click to add a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AA65946-B314-9472-B4C6-55E8CE7C5B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892" y="398887"/>
            <a:ext cx="11031607" cy="571501"/>
          </a:xfrm>
        </p:spPr>
        <p:txBody>
          <a:bodyPr vert="horz" anchor="t">
            <a:noAutofit/>
          </a:bodyPr>
          <a:lstStyle>
            <a:lvl1pPr>
              <a:defRPr sz="3200"/>
            </a:lvl1pPr>
          </a:lstStyle>
          <a:p>
            <a:r>
              <a:rPr lang="en-US"/>
              <a:t>Picture with title and subtitle/caption: click to edit titl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51CFCC38-E529-9737-0EAE-8BCABF207C76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71499" y="1143000"/>
            <a:ext cx="8793164" cy="571500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subtitle/caption</a:t>
            </a: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061ECE0C-7440-3D4C-833E-DA4E628476B8}"/>
              </a:ext>
            </a:extLst>
          </p:cNvPr>
          <p:cNvSpPr/>
          <p:nvPr userDrawn="1"/>
        </p:nvSpPr>
        <p:spPr>
          <a:xfrm>
            <a:off x="571501" y="6181103"/>
            <a:ext cx="452231" cy="377210"/>
          </a:xfrm>
          <a:custGeom>
            <a:avLst/>
            <a:gdLst>
              <a:gd name="connsiteX0" fmla="*/ 586884 w 736968"/>
              <a:gd name="connsiteY0" fmla="*/ 559057 h 614713"/>
              <a:gd name="connsiteX1" fmla="*/ 587869 w 736968"/>
              <a:gd name="connsiteY1" fmla="*/ 559556 h 614713"/>
              <a:gd name="connsiteX2" fmla="*/ 540711 w 736968"/>
              <a:gd name="connsiteY2" fmla="*/ 587411 h 614713"/>
              <a:gd name="connsiteX3" fmla="*/ 503480 w 736968"/>
              <a:gd name="connsiteY3" fmla="*/ 590061 h 614713"/>
              <a:gd name="connsiteX4" fmla="*/ 450805 w 736968"/>
              <a:gd name="connsiteY4" fmla="*/ 569540 h 614713"/>
              <a:gd name="connsiteX5" fmla="*/ 422114 w 736968"/>
              <a:gd name="connsiteY5" fmla="*/ 550259 h 614713"/>
              <a:gd name="connsiteX6" fmla="*/ 386381 w 736968"/>
              <a:gd name="connsiteY6" fmla="*/ 543521 h 614713"/>
              <a:gd name="connsiteX7" fmla="*/ 385772 w 736968"/>
              <a:gd name="connsiteY7" fmla="*/ 548099 h 614713"/>
              <a:gd name="connsiteX8" fmla="*/ 433943 w 736968"/>
              <a:gd name="connsiteY8" fmla="*/ 578037 h 614713"/>
              <a:gd name="connsiteX9" fmla="*/ 462359 w 736968"/>
              <a:gd name="connsiteY9" fmla="*/ 603058 h 614713"/>
              <a:gd name="connsiteX10" fmla="*/ 448738 w 736968"/>
              <a:gd name="connsiteY10" fmla="*/ 614714 h 614713"/>
              <a:gd name="connsiteX11" fmla="*/ 433814 w 736968"/>
              <a:gd name="connsiteY11" fmla="*/ 598553 h 614713"/>
              <a:gd name="connsiteX12" fmla="*/ 371602 w 736968"/>
              <a:gd name="connsiteY12" fmla="*/ 550414 h 614713"/>
              <a:gd name="connsiteX13" fmla="*/ 368540 w 736968"/>
              <a:gd name="connsiteY13" fmla="*/ 549256 h 614713"/>
              <a:gd name="connsiteX14" fmla="*/ 365479 w 736968"/>
              <a:gd name="connsiteY14" fmla="*/ 550414 h 614713"/>
              <a:gd name="connsiteX15" fmla="*/ 303259 w 736968"/>
              <a:gd name="connsiteY15" fmla="*/ 598553 h 614713"/>
              <a:gd name="connsiteX16" fmla="*/ 288343 w 736968"/>
              <a:gd name="connsiteY16" fmla="*/ 614714 h 614713"/>
              <a:gd name="connsiteX17" fmla="*/ 274713 w 736968"/>
              <a:gd name="connsiteY17" fmla="*/ 603058 h 614713"/>
              <a:gd name="connsiteX18" fmla="*/ 303139 w 736968"/>
              <a:gd name="connsiteY18" fmla="*/ 578037 h 614713"/>
              <a:gd name="connsiteX19" fmla="*/ 351309 w 736968"/>
              <a:gd name="connsiteY19" fmla="*/ 548099 h 614713"/>
              <a:gd name="connsiteX20" fmla="*/ 350700 w 736968"/>
              <a:gd name="connsiteY20" fmla="*/ 543521 h 614713"/>
              <a:gd name="connsiteX21" fmla="*/ 314967 w 736968"/>
              <a:gd name="connsiteY21" fmla="*/ 550259 h 614713"/>
              <a:gd name="connsiteX22" fmla="*/ 286267 w 736968"/>
              <a:gd name="connsiteY22" fmla="*/ 569540 h 614713"/>
              <a:gd name="connsiteX23" fmla="*/ 233594 w 736968"/>
              <a:gd name="connsiteY23" fmla="*/ 590061 h 614713"/>
              <a:gd name="connsiteX24" fmla="*/ 196368 w 736968"/>
              <a:gd name="connsiteY24" fmla="*/ 587411 h 614713"/>
              <a:gd name="connsiteX25" fmla="*/ 149168 w 736968"/>
              <a:gd name="connsiteY25" fmla="*/ 559498 h 614713"/>
              <a:gd name="connsiteX26" fmla="*/ 150197 w 736968"/>
              <a:gd name="connsiteY26" fmla="*/ 559057 h 614713"/>
              <a:gd name="connsiteX27" fmla="*/ 153148 w 736968"/>
              <a:gd name="connsiteY27" fmla="*/ 560500 h 614713"/>
              <a:gd name="connsiteX28" fmla="*/ 215727 w 736968"/>
              <a:gd name="connsiteY28" fmla="*/ 567791 h 614713"/>
              <a:gd name="connsiteX29" fmla="*/ 257919 w 736968"/>
              <a:gd name="connsiteY29" fmla="*/ 553190 h 614713"/>
              <a:gd name="connsiteX30" fmla="*/ 287605 w 736968"/>
              <a:gd name="connsiteY30" fmla="*/ 541036 h 614713"/>
              <a:gd name="connsiteX31" fmla="*/ 367185 w 736968"/>
              <a:gd name="connsiteY31" fmla="*/ 539248 h 614713"/>
              <a:gd name="connsiteX32" fmla="*/ 368541 w 736968"/>
              <a:gd name="connsiteY32" fmla="*/ 539485 h 614713"/>
              <a:gd name="connsiteX33" fmla="*/ 369896 w 736968"/>
              <a:gd name="connsiteY33" fmla="*/ 539248 h 614713"/>
              <a:gd name="connsiteX34" fmla="*/ 449476 w 736968"/>
              <a:gd name="connsiteY34" fmla="*/ 541036 h 614713"/>
              <a:gd name="connsiteX35" fmla="*/ 479162 w 736968"/>
              <a:gd name="connsiteY35" fmla="*/ 553190 h 614713"/>
              <a:gd name="connsiteX36" fmla="*/ 521354 w 736968"/>
              <a:gd name="connsiteY36" fmla="*/ 567791 h 614713"/>
              <a:gd name="connsiteX37" fmla="*/ 583936 w 736968"/>
              <a:gd name="connsiteY37" fmla="*/ 560500 h 614713"/>
              <a:gd name="connsiteX38" fmla="*/ 586884 w 736968"/>
              <a:gd name="connsiteY38" fmla="*/ 559057 h 614713"/>
              <a:gd name="connsiteX39" fmla="*/ 649912 w 736968"/>
              <a:gd name="connsiteY39" fmla="*/ 501893 h 614713"/>
              <a:gd name="connsiteX40" fmla="*/ 621647 w 736968"/>
              <a:gd name="connsiteY40" fmla="*/ 516814 h 614713"/>
              <a:gd name="connsiteX41" fmla="*/ 577167 w 736968"/>
              <a:gd name="connsiteY41" fmla="*/ 523465 h 614713"/>
              <a:gd name="connsiteX42" fmla="*/ 519133 w 736968"/>
              <a:gd name="connsiteY42" fmla="*/ 528484 h 614713"/>
              <a:gd name="connsiteX43" fmla="*/ 518822 w 736968"/>
              <a:gd name="connsiteY43" fmla="*/ 528537 h 614713"/>
              <a:gd name="connsiteX44" fmla="*/ 517440 w 736968"/>
              <a:gd name="connsiteY44" fmla="*/ 527801 h 614713"/>
              <a:gd name="connsiteX45" fmla="*/ 517731 w 736968"/>
              <a:gd name="connsiteY45" fmla="*/ 527602 h 614713"/>
              <a:gd name="connsiteX46" fmla="*/ 555603 w 736968"/>
              <a:gd name="connsiteY46" fmla="*/ 491071 h 614713"/>
              <a:gd name="connsiteX47" fmla="*/ 574543 w 736968"/>
              <a:gd name="connsiteY47" fmla="*/ 452957 h 614713"/>
              <a:gd name="connsiteX48" fmla="*/ 574354 w 736968"/>
              <a:gd name="connsiteY48" fmla="*/ 451980 h 614713"/>
              <a:gd name="connsiteX49" fmla="*/ 545381 w 736968"/>
              <a:gd name="connsiteY49" fmla="*/ 476599 h 614713"/>
              <a:gd name="connsiteX50" fmla="*/ 513857 w 736968"/>
              <a:gd name="connsiteY50" fmla="*/ 507120 h 614713"/>
              <a:gd name="connsiteX51" fmla="*/ 464298 w 736968"/>
              <a:gd name="connsiteY51" fmla="*/ 532384 h 614713"/>
              <a:gd name="connsiteX52" fmla="*/ 463611 w 736968"/>
              <a:gd name="connsiteY52" fmla="*/ 532694 h 614713"/>
              <a:gd name="connsiteX53" fmla="*/ 463174 w 736968"/>
              <a:gd name="connsiteY53" fmla="*/ 533478 h 614713"/>
              <a:gd name="connsiteX54" fmla="*/ 463242 w 736968"/>
              <a:gd name="connsiteY54" fmla="*/ 533590 h 614713"/>
              <a:gd name="connsiteX55" fmla="*/ 463637 w 736968"/>
              <a:gd name="connsiteY55" fmla="*/ 533687 h 614713"/>
              <a:gd name="connsiteX56" fmla="*/ 499979 w 736968"/>
              <a:gd name="connsiteY56" fmla="*/ 542145 h 614713"/>
              <a:gd name="connsiteX57" fmla="*/ 546836 w 736968"/>
              <a:gd name="connsiteY57" fmla="*/ 550860 h 614713"/>
              <a:gd name="connsiteX58" fmla="*/ 597470 w 736968"/>
              <a:gd name="connsiteY58" fmla="*/ 544267 h 614713"/>
              <a:gd name="connsiteX59" fmla="*/ 651188 w 736968"/>
              <a:gd name="connsiteY59" fmla="*/ 502082 h 614713"/>
              <a:gd name="connsiteX60" fmla="*/ 651222 w 736968"/>
              <a:gd name="connsiteY60" fmla="*/ 501927 h 614713"/>
              <a:gd name="connsiteX61" fmla="*/ 649912 w 736968"/>
              <a:gd name="connsiteY61" fmla="*/ 501893 h 614713"/>
              <a:gd name="connsiteX62" fmla="*/ 708819 w 736968"/>
              <a:gd name="connsiteY62" fmla="*/ 411663 h 614713"/>
              <a:gd name="connsiteX63" fmla="*/ 675040 w 736968"/>
              <a:gd name="connsiteY63" fmla="*/ 441106 h 614713"/>
              <a:gd name="connsiteX64" fmla="*/ 640345 w 736968"/>
              <a:gd name="connsiteY64" fmla="*/ 460001 h 614713"/>
              <a:gd name="connsiteX65" fmla="*/ 597736 w 736968"/>
              <a:gd name="connsiteY65" fmla="*/ 485005 h 614713"/>
              <a:gd name="connsiteX66" fmla="*/ 595273 w 736968"/>
              <a:gd name="connsiteY66" fmla="*/ 486900 h 614713"/>
              <a:gd name="connsiteX67" fmla="*/ 594851 w 736968"/>
              <a:gd name="connsiteY67" fmla="*/ 486061 h 614713"/>
              <a:gd name="connsiteX68" fmla="*/ 621075 w 736968"/>
              <a:gd name="connsiteY68" fmla="*/ 422571 h 614713"/>
              <a:gd name="connsiteX69" fmla="*/ 628252 w 736968"/>
              <a:gd name="connsiteY69" fmla="*/ 377293 h 614713"/>
              <a:gd name="connsiteX70" fmla="*/ 627951 w 736968"/>
              <a:gd name="connsiteY70" fmla="*/ 376127 h 614713"/>
              <a:gd name="connsiteX71" fmla="*/ 627772 w 736968"/>
              <a:gd name="connsiteY71" fmla="*/ 376213 h 614713"/>
              <a:gd name="connsiteX72" fmla="*/ 595695 w 736968"/>
              <a:gd name="connsiteY72" fmla="*/ 434440 h 614713"/>
              <a:gd name="connsiteX73" fmla="*/ 583824 w 736968"/>
              <a:gd name="connsiteY73" fmla="*/ 468535 h 614713"/>
              <a:gd name="connsiteX74" fmla="*/ 559147 w 736968"/>
              <a:gd name="connsiteY74" fmla="*/ 509968 h 614713"/>
              <a:gd name="connsiteX75" fmla="*/ 558081 w 736968"/>
              <a:gd name="connsiteY75" fmla="*/ 511083 h 614713"/>
              <a:gd name="connsiteX76" fmla="*/ 557887 w 736968"/>
              <a:gd name="connsiteY76" fmla="*/ 511785 h 614713"/>
              <a:gd name="connsiteX77" fmla="*/ 557979 w 736968"/>
              <a:gd name="connsiteY77" fmla="*/ 511901 h 614713"/>
              <a:gd name="connsiteX78" fmla="*/ 561863 w 736968"/>
              <a:gd name="connsiteY78" fmla="*/ 511218 h 614713"/>
              <a:gd name="connsiteX79" fmla="*/ 601334 w 736968"/>
              <a:gd name="connsiteY79" fmla="*/ 503152 h 614713"/>
              <a:gd name="connsiteX80" fmla="*/ 660605 w 736968"/>
              <a:gd name="connsiteY80" fmla="*/ 477953 h 614713"/>
              <a:gd name="connsiteX81" fmla="*/ 703485 w 736968"/>
              <a:gd name="connsiteY81" fmla="*/ 427832 h 614713"/>
              <a:gd name="connsiteX82" fmla="*/ 710046 w 736968"/>
              <a:gd name="connsiteY82" fmla="*/ 411501 h 614713"/>
              <a:gd name="connsiteX83" fmla="*/ 708819 w 736968"/>
              <a:gd name="connsiteY83" fmla="*/ 411663 h 614713"/>
              <a:gd name="connsiteX84" fmla="*/ 734621 w 736968"/>
              <a:gd name="connsiteY84" fmla="*/ 310240 h 614713"/>
              <a:gd name="connsiteX85" fmla="*/ 703698 w 736968"/>
              <a:gd name="connsiteY85" fmla="*/ 358724 h 614713"/>
              <a:gd name="connsiteX86" fmla="*/ 658917 w 736968"/>
              <a:gd name="connsiteY86" fmla="*/ 409606 h 614713"/>
              <a:gd name="connsiteX87" fmla="*/ 658137 w 736968"/>
              <a:gd name="connsiteY87" fmla="*/ 409050 h 614713"/>
              <a:gd name="connsiteX88" fmla="*/ 662297 w 736968"/>
              <a:gd name="connsiteY88" fmla="*/ 351834 h 614713"/>
              <a:gd name="connsiteX89" fmla="*/ 650887 w 736968"/>
              <a:gd name="connsiteY89" fmla="*/ 298261 h 614713"/>
              <a:gd name="connsiteX90" fmla="*/ 650863 w 736968"/>
              <a:gd name="connsiteY90" fmla="*/ 298055 h 614713"/>
              <a:gd name="connsiteX91" fmla="*/ 650029 w 736968"/>
              <a:gd name="connsiteY91" fmla="*/ 297173 h 614713"/>
              <a:gd name="connsiteX92" fmla="*/ 649360 w 736968"/>
              <a:gd name="connsiteY92" fmla="*/ 299049 h 614713"/>
              <a:gd name="connsiteX93" fmla="*/ 641014 w 736968"/>
              <a:gd name="connsiteY93" fmla="*/ 338304 h 614713"/>
              <a:gd name="connsiteX94" fmla="*/ 641873 w 736968"/>
              <a:gd name="connsiteY94" fmla="*/ 391766 h 614713"/>
              <a:gd name="connsiteX95" fmla="*/ 630216 w 736968"/>
              <a:gd name="connsiteY95" fmla="*/ 447310 h 614713"/>
              <a:gd name="connsiteX96" fmla="*/ 630114 w 736968"/>
              <a:gd name="connsiteY96" fmla="*/ 447593 h 614713"/>
              <a:gd name="connsiteX97" fmla="*/ 630424 w 736968"/>
              <a:gd name="connsiteY97" fmla="*/ 448913 h 614713"/>
              <a:gd name="connsiteX98" fmla="*/ 630536 w 736968"/>
              <a:gd name="connsiteY98" fmla="*/ 448870 h 614713"/>
              <a:gd name="connsiteX99" fmla="*/ 670967 w 736968"/>
              <a:gd name="connsiteY99" fmla="*/ 423677 h 614713"/>
              <a:gd name="connsiteX100" fmla="*/ 713615 w 736968"/>
              <a:gd name="connsiteY100" fmla="*/ 382991 h 614713"/>
              <a:gd name="connsiteX101" fmla="*/ 735795 w 736968"/>
              <a:gd name="connsiteY101" fmla="*/ 312194 h 614713"/>
              <a:gd name="connsiteX102" fmla="*/ 735625 w 736968"/>
              <a:gd name="connsiteY102" fmla="*/ 309641 h 614713"/>
              <a:gd name="connsiteX103" fmla="*/ 734621 w 736968"/>
              <a:gd name="connsiteY103" fmla="*/ 310240 h 614713"/>
              <a:gd name="connsiteX104" fmla="*/ 691954 w 736968"/>
              <a:gd name="connsiteY104" fmla="*/ 321158 h 614713"/>
              <a:gd name="connsiteX105" fmla="*/ 691619 w 736968"/>
              <a:gd name="connsiteY105" fmla="*/ 321526 h 614713"/>
              <a:gd name="connsiteX106" fmla="*/ 691023 w 736968"/>
              <a:gd name="connsiteY106" fmla="*/ 321037 h 614713"/>
              <a:gd name="connsiteX107" fmla="*/ 691358 w 736968"/>
              <a:gd name="connsiteY107" fmla="*/ 304773 h 614713"/>
              <a:gd name="connsiteX108" fmla="*/ 668499 w 736968"/>
              <a:gd name="connsiteY108" fmla="*/ 254370 h 614713"/>
              <a:gd name="connsiteX109" fmla="*/ 650329 w 736968"/>
              <a:gd name="connsiteY109" fmla="*/ 222083 h 614713"/>
              <a:gd name="connsiteX110" fmla="*/ 649301 w 736968"/>
              <a:gd name="connsiteY110" fmla="*/ 221620 h 614713"/>
              <a:gd name="connsiteX111" fmla="*/ 649927 w 736968"/>
              <a:gd name="connsiteY111" fmla="*/ 232502 h 614713"/>
              <a:gd name="connsiteX112" fmla="*/ 670332 w 736968"/>
              <a:gd name="connsiteY112" fmla="*/ 311920 h 614713"/>
              <a:gd name="connsiteX113" fmla="*/ 677470 w 736968"/>
              <a:gd name="connsiteY113" fmla="*/ 362134 h 614713"/>
              <a:gd name="connsiteX114" fmla="*/ 677853 w 736968"/>
              <a:gd name="connsiteY114" fmla="*/ 364277 h 614713"/>
              <a:gd name="connsiteX115" fmla="*/ 677930 w 736968"/>
              <a:gd name="connsiteY115" fmla="*/ 364260 h 614713"/>
              <a:gd name="connsiteX116" fmla="*/ 703296 w 736968"/>
              <a:gd name="connsiteY116" fmla="*/ 334140 h 614713"/>
              <a:gd name="connsiteX117" fmla="*/ 731566 w 736968"/>
              <a:gd name="connsiteY117" fmla="*/ 215331 h 614713"/>
              <a:gd name="connsiteX118" fmla="*/ 728463 w 736968"/>
              <a:gd name="connsiteY118" fmla="*/ 207464 h 614713"/>
              <a:gd name="connsiteX119" fmla="*/ 727561 w 736968"/>
              <a:gd name="connsiteY119" fmla="*/ 208467 h 614713"/>
              <a:gd name="connsiteX120" fmla="*/ 696313 w 736968"/>
              <a:gd name="connsiteY120" fmla="*/ 305065 h 614713"/>
              <a:gd name="connsiteX121" fmla="*/ 691954 w 736968"/>
              <a:gd name="connsiteY121" fmla="*/ 321158 h 614713"/>
              <a:gd name="connsiteX122" fmla="*/ 657467 w 736968"/>
              <a:gd name="connsiteY122" fmla="*/ 179092 h 614713"/>
              <a:gd name="connsiteX123" fmla="*/ 633091 w 736968"/>
              <a:gd name="connsiteY123" fmla="*/ 151962 h 614713"/>
              <a:gd name="connsiteX124" fmla="*/ 632946 w 736968"/>
              <a:gd name="connsiteY124" fmla="*/ 151782 h 614713"/>
              <a:gd name="connsiteX125" fmla="*/ 632669 w 736968"/>
              <a:gd name="connsiteY125" fmla="*/ 151568 h 614713"/>
              <a:gd name="connsiteX126" fmla="*/ 631631 w 736968"/>
              <a:gd name="connsiteY126" fmla="*/ 151363 h 614713"/>
              <a:gd name="connsiteX127" fmla="*/ 631117 w 736968"/>
              <a:gd name="connsiteY127" fmla="*/ 151397 h 614713"/>
              <a:gd name="connsiteX128" fmla="*/ 641873 w 736968"/>
              <a:gd name="connsiteY128" fmla="*/ 182854 h 614713"/>
              <a:gd name="connsiteX129" fmla="*/ 666026 w 736968"/>
              <a:gd name="connsiteY129" fmla="*/ 219443 h 614713"/>
              <a:gd name="connsiteX130" fmla="*/ 667941 w 736968"/>
              <a:gd name="connsiteY130" fmla="*/ 221989 h 614713"/>
              <a:gd name="connsiteX131" fmla="*/ 694437 w 736968"/>
              <a:gd name="connsiteY131" fmla="*/ 272340 h 614713"/>
              <a:gd name="connsiteX132" fmla="*/ 695353 w 736968"/>
              <a:gd name="connsiteY132" fmla="*/ 272897 h 614713"/>
              <a:gd name="connsiteX133" fmla="*/ 706589 w 736968"/>
              <a:gd name="connsiteY133" fmla="*/ 237969 h 614713"/>
              <a:gd name="connsiteX134" fmla="*/ 716529 w 736968"/>
              <a:gd name="connsiteY134" fmla="*/ 200335 h 614713"/>
              <a:gd name="connsiteX135" fmla="*/ 693336 w 736968"/>
              <a:gd name="connsiteY135" fmla="*/ 109931 h 614713"/>
              <a:gd name="connsiteX136" fmla="*/ 692846 w 736968"/>
              <a:gd name="connsiteY136" fmla="*/ 110986 h 614713"/>
              <a:gd name="connsiteX137" fmla="*/ 693695 w 736968"/>
              <a:gd name="connsiteY137" fmla="*/ 113762 h 614713"/>
              <a:gd name="connsiteX138" fmla="*/ 694762 w 736968"/>
              <a:gd name="connsiteY138" fmla="*/ 117738 h 614713"/>
              <a:gd name="connsiteX139" fmla="*/ 695557 w 736968"/>
              <a:gd name="connsiteY139" fmla="*/ 167807 h 614713"/>
              <a:gd name="connsiteX140" fmla="*/ 691876 w 736968"/>
              <a:gd name="connsiteY140" fmla="*/ 207627 h 614713"/>
              <a:gd name="connsiteX141" fmla="*/ 693157 w 736968"/>
              <a:gd name="connsiteY141" fmla="*/ 226975 h 614713"/>
              <a:gd name="connsiteX142" fmla="*/ 692177 w 736968"/>
              <a:gd name="connsiteY142" fmla="*/ 226761 h 614713"/>
              <a:gd name="connsiteX143" fmla="*/ 687871 w 736968"/>
              <a:gd name="connsiteY143" fmla="*/ 215605 h 614713"/>
              <a:gd name="connsiteX144" fmla="*/ 685325 w 736968"/>
              <a:gd name="connsiteY144" fmla="*/ 209863 h 614713"/>
              <a:gd name="connsiteX145" fmla="*/ 657467 w 736968"/>
              <a:gd name="connsiteY145" fmla="*/ 179092 h 614713"/>
              <a:gd name="connsiteX146" fmla="*/ 638090 w 736968"/>
              <a:gd name="connsiteY146" fmla="*/ 57360 h 614713"/>
              <a:gd name="connsiteX147" fmla="*/ 651173 w 736968"/>
              <a:gd name="connsiteY147" fmla="*/ 76187 h 614713"/>
              <a:gd name="connsiteX148" fmla="*/ 660571 w 736968"/>
              <a:gd name="connsiteY148" fmla="*/ 117524 h 614713"/>
              <a:gd name="connsiteX149" fmla="*/ 666414 w 736968"/>
              <a:gd name="connsiteY149" fmla="*/ 139820 h 614713"/>
              <a:gd name="connsiteX150" fmla="*/ 665434 w 736968"/>
              <a:gd name="connsiteY150" fmla="*/ 140214 h 614713"/>
              <a:gd name="connsiteX151" fmla="*/ 665221 w 736968"/>
              <a:gd name="connsiteY151" fmla="*/ 139923 h 614713"/>
              <a:gd name="connsiteX152" fmla="*/ 628911 w 736968"/>
              <a:gd name="connsiteY152" fmla="*/ 109914 h 614713"/>
              <a:gd name="connsiteX153" fmla="*/ 605267 w 736968"/>
              <a:gd name="connsiteY153" fmla="*/ 88698 h 614713"/>
              <a:gd name="connsiteX154" fmla="*/ 601635 w 736968"/>
              <a:gd name="connsiteY154" fmla="*/ 83950 h 614713"/>
              <a:gd name="connsiteX155" fmla="*/ 600583 w 736968"/>
              <a:gd name="connsiteY155" fmla="*/ 83650 h 614713"/>
              <a:gd name="connsiteX156" fmla="*/ 600854 w 736968"/>
              <a:gd name="connsiteY156" fmla="*/ 85630 h 614713"/>
              <a:gd name="connsiteX157" fmla="*/ 621657 w 736968"/>
              <a:gd name="connsiteY157" fmla="*/ 126315 h 614713"/>
              <a:gd name="connsiteX158" fmla="*/ 648836 w 736968"/>
              <a:gd name="connsiteY158" fmla="*/ 149169 h 614713"/>
              <a:gd name="connsiteX159" fmla="*/ 680685 w 736968"/>
              <a:gd name="connsiteY159" fmla="*/ 182203 h 614713"/>
              <a:gd name="connsiteX160" fmla="*/ 680859 w 736968"/>
              <a:gd name="connsiteY160" fmla="*/ 182391 h 614713"/>
              <a:gd name="connsiteX161" fmla="*/ 681567 w 736968"/>
              <a:gd name="connsiteY161" fmla="*/ 182597 h 614713"/>
              <a:gd name="connsiteX162" fmla="*/ 681553 w 736968"/>
              <a:gd name="connsiteY162" fmla="*/ 182399 h 614713"/>
              <a:gd name="connsiteX163" fmla="*/ 681567 w 736968"/>
              <a:gd name="connsiteY163" fmla="*/ 182382 h 614713"/>
              <a:gd name="connsiteX164" fmla="*/ 681262 w 736968"/>
              <a:gd name="connsiteY164" fmla="*/ 171783 h 614713"/>
              <a:gd name="connsiteX165" fmla="*/ 682154 w 736968"/>
              <a:gd name="connsiteY165" fmla="*/ 139452 h 614713"/>
              <a:gd name="connsiteX166" fmla="*/ 682435 w 736968"/>
              <a:gd name="connsiteY166" fmla="*/ 128347 h 614713"/>
              <a:gd name="connsiteX167" fmla="*/ 676534 w 736968"/>
              <a:gd name="connsiteY167" fmla="*/ 95964 h 614713"/>
              <a:gd name="connsiteX168" fmla="*/ 641014 w 736968"/>
              <a:gd name="connsiteY168" fmla="*/ 57198 h 614713"/>
              <a:gd name="connsiteX169" fmla="*/ 637887 w 736968"/>
              <a:gd name="connsiteY169" fmla="*/ 56006 h 614713"/>
              <a:gd name="connsiteX170" fmla="*/ 637969 w 736968"/>
              <a:gd name="connsiteY170" fmla="*/ 57206 h 614713"/>
              <a:gd name="connsiteX171" fmla="*/ 638090 w 736968"/>
              <a:gd name="connsiteY171" fmla="*/ 57360 h 614713"/>
              <a:gd name="connsiteX172" fmla="*/ 568632 w 736968"/>
              <a:gd name="connsiteY172" fmla="*/ 25321 h 614713"/>
              <a:gd name="connsiteX173" fmla="*/ 593421 w 736968"/>
              <a:gd name="connsiteY173" fmla="*/ 54833 h 614713"/>
              <a:gd name="connsiteX174" fmla="*/ 616827 w 736968"/>
              <a:gd name="connsiteY174" fmla="*/ 83702 h 614713"/>
              <a:gd name="connsiteX175" fmla="*/ 645956 w 736968"/>
              <a:gd name="connsiteY175" fmla="*/ 107764 h 614713"/>
              <a:gd name="connsiteX176" fmla="*/ 646154 w 736968"/>
              <a:gd name="connsiteY176" fmla="*/ 107918 h 614713"/>
              <a:gd name="connsiteX177" fmla="*/ 646538 w 736968"/>
              <a:gd name="connsiteY177" fmla="*/ 107892 h 614713"/>
              <a:gd name="connsiteX178" fmla="*/ 646504 w 736968"/>
              <a:gd name="connsiteY178" fmla="*/ 107686 h 614713"/>
              <a:gd name="connsiteX179" fmla="*/ 613181 w 736968"/>
              <a:gd name="connsiteY179" fmla="*/ 44936 h 614713"/>
              <a:gd name="connsiteX180" fmla="*/ 566314 w 736968"/>
              <a:gd name="connsiteY180" fmla="*/ 22288 h 614713"/>
              <a:gd name="connsiteX181" fmla="*/ 566436 w 736968"/>
              <a:gd name="connsiteY181" fmla="*/ 23419 h 614713"/>
              <a:gd name="connsiteX182" fmla="*/ 568632 w 736968"/>
              <a:gd name="connsiteY182" fmla="*/ 25321 h 614713"/>
              <a:gd name="connsiteX183" fmla="*/ 190133 w 736968"/>
              <a:gd name="connsiteY183" fmla="*/ 550860 h 614713"/>
              <a:gd name="connsiteX184" fmla="*/ 236991 w 736968"/>
              <a:gd name="connsiteY184" fmla="*/ 542145 h 614713"/>
              <a:gd name="connsiteX185" fmla="*/ 273332 w 736968"/>
              <a:gd name="connsiteY185" fmla="*/ 533687 h 614713"/>
              <a:gd name="connsiteX186" fmla="*/ 273727 w 736968"/>
              <a:gd name="connsiteY186" fmla="*/ 533590 h 614713"/>
              <a:gd name="connsiteX187" fmla="*/ 273796 w 736968"/>
              <a:gd name="connsiteY187" fmla="*/ 533478 h 614713"/>
              <a:gd name="connsiteX188" fmla="*/ 273358 w 736968"/>
              <a:gd name="connsiteY188" fmla="*/ 532694 h 614713"/>
              <a:gd name="connsiteX189" fmla="*/ 272663 w 736968"/>
              <a:gd name="connsiteY189" fmla="*/ 532384 h 614713"/>
              <a:gd name="connsiteX190" fmla="*/ 223112 w 736968"/>
              <a:gd name="connsiteY190" fmla="*/ 507120 h 614713"/>
              <a:gd name="connsiteX191" fmla="*/ 191591 w 736968"/>
              <a:gd name="connsiteY191" fmla="*/ 476599 h 614713"/>
              <a:gd name="connsiteX192" fmla="*/ 162617 w 736968"/>
              <a:gd name="connsiteY192" fmla="*/ 451972 h 614713"/>
              <a:gd name="connsiteX193" fmla="*/ 162428 w 736968"/>
              <a:gd name="connsiteY193" fmla="*/ 452957 h 614713"/>
              <a:gd name="connsiteX194" fmla="*/ 181367 w 736968"/>
              <a:gd name="connsiteY194" fmla="*/ 491071 h 614713"/>
              <a:gd name="connsiteX195" fmla="*/ 219235 w 736968"/>
              <a:gd name="connsiteY195" fmla="*/ 527602 h 614713"/>
              <a:gd name="connsiteX196" fmla="*/ 219527 w 736968"/>
              <a:gd name="connsiteY196" fmla="*/ 527801 h 614713"/>
              <a:gd name="connsiteX197" fmla="*/ 218146 w 736968"/>
              <a:gd name="connsiteY197" fmla="*/ 528537 h 614713"/>
              <a:gd name="connsiteX198" fmla="*/ 217837 w 736968"/>
              <a:gd name="connsiteY198" fmla="*/ 528484 h 614713"/>
              <a:gd name="connsiteX199" fmla="*/ 159803 w 736968"/>
              <a:gd name="connsiteY199" fmla="*/ 523465 h 614713"/>
              <a:gd name="connsiteX200" fmla="*/ 115321 w 736968"/>
              <a:gd name="connsiteY200" fmla="*/ 516814 h 614713"/>
              <a:gd name="connsiteX201" fmla="*/ 87059 w 736968"/>
              <a:gd name="connsiteY201" fmla="*/ 501893 h 614713"/>
              <a:gd name="connsiteX202" fmla="*/ 85747 w 736968"/>
              <a:gd name="connsiteY202" fmla="*/ 501927 h 614713"/>
              <a:gd name="connsiteX203" fmla="*/ 85782 w 736968"/>
              <a:gd name="connsiteY203" fmla="*/ 502082 h 614713"/>
              <a:gd name="connsiteX204" fmla="*/ 139501 w 736968"/>
              <a:gd name="connsiteY204" fmla="*/ 544267 h 614713"/>
              <a:gd name="connsiteX205" fmla="*/ 190133 w 736968"/>
              <a:gd name="connsiteY205" fmla="*/ 550860 h 614713"/>
              <a:gd name="connsiteX206" fmla="*/ 175105 w 736968"/>
              <a:gd name="connsiteY206" fmla="*/ 511218 h 614713"/>
              <a:gd name="connsiteX207" fmla="*/ 178991 w 736968"/>
              <a:gd name="connsiteY207" fmla="*/ 511901 h 614713"/>
              <a:gd name="connsiteX208" fmla="*/ 179085 w 736968"/>
              <a:gd name="connsiteY208" fmla="*/ 511775 h 614713"/>
              <a:gd name="connsiteX209" fmla="*/ 178887 w 736968"/>
              <a:gd name="connsiteY209" fmla="*/ 511078 h 614713"/>
              <a:gd name="connsiteX210" fmla="*/ 177816 w 736968"/>
              <a:gd name="connsiteY210" fmla="*/ 509968 h 614713"/>
              <a:gd name="connsiteX211" fmla="*/ 153148 w 736968"/>
              <a:gd name="connsiteY211" fmla="*/ 468535 h 614713"/>
              <a:gd name="connsiteX212" fmla="*/ 141276 w 736968"/>
              <a:gd name="connsiteY212" fmla="*/ 434439 h 614713"/>
              <a:gd name="connsiteX213" fmla="*/ 109197 w 736968"/>
              <a:gd name="connsiteY213" fmla="*/ 376213 h 614713"/>
              <a:gd name="connsiteX214" fmla="*/ 109017 w 736968"/>
              <a:gd name="connsiteY214" fmla="*/ 376127 h 614713"/>
              <a:gd name="connsiteX215" fmla="*/ 108717 w 736968"/>
              <a:gd name="connsiteY215" fmla="*/ 377284 h 614713"/>
              <a:gd name="connsiteX216" fmla="*/ 115896 w 736968"/>
              <a:gd name="connsiteY216" fmla="*/ 422571 h 614713"/>
              <a:gd name="connsiteX217" fmla="*/ 142117 w 736968"/>
              <a:gd name="connsiteY217" fmla="*/ 486061 h 614713"/>
              <a:gd name="connsiteX218" fmla="*/ 141697 w 736968"/>
              <a:gd name="connsiteY218" fmla="*/ 486900 h 614713"/>
              <a:gd name="connsiteX219" fmla="*/ 139235 w 736968"/>
              <a:gd name="connsiteY219" fmla="*/ 485005 h 614713"/>
              <a:gd name="connsiteX220" fmla="*/ 96623 w 736968"/>
              <a:gd name="connsiteY220" fmla="*/ 460001 h 614713"/>
              <a:gd name="connsiteX221" fmla="*/ 61928 w 736968"/>
              <a:gd name="connsiteY221" fmla="*/ 441106 h 614713"/>
              <a:gd name="connsiteX222" fmla="*/ 28142 w 736968"/>
              <a:gd name="connsiteY222" fmla="*/ 411663 h 614713"/>
              <a:gd name="connsiteX223" fmla="*/ 26924 w 736968"/>
              <a:gd name="connsiteY223" fmla="*/ 411500 h 614713"/>
              <a:gd name="connsiteX224" fmla="*/ 33486 w 736968"/>
              <a:gd name="connsiteY224" fmla="*/ 427832 h 614713"/>
              <a:gd name="connsiteX225" fmla="*/ 76363 w 736968"/>
              <a:gd name="connsiteY225" fmla="*/ 477953 h 614713"/>
              <a:gd name="connsiteX226" fmla="*/ 135633 w 736968"/>
              <a:gd name="connsiteY226" fmla="*/ 503152 h 614713"/>
              <a:gd name="connsiteX227" fmla="*/ 175105 w 736968"/>
              <a:gd name="connsiteY227" fmla="*/ 511218 h 614713"/>
              <a:gd name="connsiteX228" fmla="*/ 66002 w 736968"/>
              <a:gd name="connsiteY228" fmla="*/ 423677 h 614713"/>
              <a:gd name="connsiteX229" fmla="*/ 106435 w 736968"/>
              <a:gd name="connsiteY229" fmla="*/ 448870 h 614713"/>
              <a:gd name="connsiteX230" fmla="*/ 106547 w 736968"/>
              <a:gd name="connsiteY230" fmla="*/ 448912 h 614713"/>
              <a:gd name="connsiteX231" fmla="*/ 106856 w 736968"/>
              <a:gd name="connsiteY231" fmla="*/ 447593 h 614713"/>
              <a:gd name="connsiteX232" fmla="*/ 106752 w 736968"/>
              <a:gd name="connsiteY232" fmla="*/ 447310 h 614713"/>
              <a:gd name="connsiteX233" fmla="*/ 95096 w 736968"/>
              <a:gd name="connsiteY233" fmla="*/ 391766 h 614713"/>
              <a:gd name="connsiteX234" fmla="*/ 95954 w 736968"/>
              <a:gd name="connsiteY234" fmla="*/ 338304 h 614713"/>
              <a:gd name="connsiteX235" fmla="*/ 87608 w 736968"/>
              <a:gd name="connsiteY235" fmla="*/ 299049 h 614713"/>
              <a:gd name="connsiteX236" fmla="*/ 86939 w 736968"/>
              <a:gd name="connsiteY236" fmla="*/ 297173 h 614713"/>
              <a:gd name="connsiteX237" fmla="*/ 86107 w 736968"/>
              <a:gd name="connsiteY237" fmla="*/ 298055 h 614713"/>
              <a:gd name="connsiteX238" fmla="*/ 86081 w 736968"/>
              <a:gd name="connsiteY238" fmla="*/ 298261 h 614713"/>
              <a:gd name="connsiteX239" fmla="*/ 74674 w 736968"/>
              <a:gd name="connsiteY239" fmla="*/ 351834 h 614713"/>
              <a:gd name="connsiteX240" fmla="*/ 78834 w 736968"/>
              <a:gd name="connsiteY240" fmla="*/ 409050 h 614713"/>
              <a:gd name="connsiteX241" fmla="*/ 78053 w 736968"/>
              <a:gd name="connsiteY241" fmla="*/ 409606 h 614713"/>
              <a:gd name="connsiteX242" fmla="*/ 33271 w 736968"/>
              <a:gd name="connsiteY242" fmla="*/ 358724 h 614713"/>
              <a:gd name="connsiteX243" fmla="*/ 2350 w 736968"/>
              <a:gd name="connsiteY243" fmla="*/ 310240 h 614713"/>
              <a:gd name="connsiteX244" fmla="*/ 1355 w 736968"/>
              <a:gd name="connsiteY244" fmla="*/ 309641 h 614713"/>
              <a:gd name="connsiteX245" fmla="*/ 1174 w 736968"/>
              <a:gd name="connsiteY245" fmla="*/ 312194 h 614713"/>
              <a:gd name="connsiteX246" fmla="*/ 23356 w 736968"/>
              <a:gd name="connsiteY246" fmla="*/ 382991 h 614713"/>
              <a:gd name="connsiteX247" fmla="*/ 66002 w 736968"/>
              <a:gd name="connsiteY247" fmla="*/ 423677 h 614713"/>
              <a:gd name="connsiteX248" fmla="*/ 59037 w 736968"/>
              <a:gd name="connsiteY248" fmla="*/ 364260 h 614713"/>
              <a:gd name="connsiteX249" fmla="*/ 59115 w 736968"/>
              <a:gd name="connsiteY249" fmla="*/ 364285 h 614713"/>
              <a:gd name="connsiteX250" fmla="*/ 59501 w 736968"/>
              <a:gd name="connsiteY250" fmla="*/ 362134 h 614713"/>
              <a:gd name="connsiteX251" fmla="*/ 66637 w 736968"/>
              <a:gd name="connsiteY251" fmla="*/ 311920 h 614713"/>
              <a:gd name="connsiteX252" fmla="*/ 87042 w 736968"/>
              <a:gd name="connsiteY252" fmla="*/ 232511 h 614713"/>
              <a:gd name="connsiteX253" fmla="*/ 87668 w 736968"/>
              <a:gd name="connsiteY253" fmla="*/ 221620 h 614713"/>
              <a:gd name="connsiteX254" fmla="*/ 86639 w 736968"/>
              <a:gd name="connsiteY254" fmla="*/ 222091 h 614713"/>
              <a:gd name="connsiteX255" fmla="*/ 68472 w 736968"/>
              <a:gd name="connsiteY255" fmla="*/ 254370 h 614713"/>
              <a:gd name="connsiteX256" fmla="*/ 45614 w 736968"/>
              <a:gd name="connsiteY256" fmla="*/ 304773 h 614713"/>
              <a:gd name="connsiteX257" fmla="*/ 45948 w 736968"/>
              <a:gd name="connsiteY257" fmla="*/ 321037 h 614713"/>
              <a:gd name="connsiteX258" fmla="*/ 45348 w 736968"/>
              <a:gd name="connsiteY258" fmla="*/ 321526 h 614713"/>
              <a:gd name="connsiteX259" fmla="*/ 45014 w 736968"/>
              <a:gd name="connsiteY259" fmla="*/ 321158 h 614713"/>
              <a:gd name="connsiteX260" fmla="*/ 40648 w 736968"/>
              <a:gd name="connsiteY260" fmla="*/ 305065 h 614713"/>
              <a:gd name="connsiteX261" fmla="*/ 9409 w 736968"/>
              <a:gd name="connsiteY261" fmla="*/ 208467 h 614713"/>
              <a:gd name="connsiteX262" fmla="*/ 8509 w 736968"/>
              <a:gd name="connsiteY262" fmla="*/ 207464 h 614713"/>
              <a:gd name="connsiteX263" fmla="*/ 5403 w 736968"/>
              <a:gd name="connsiteY263" fmla="*/ 215331 h 614713"/>
              <a:gd name="connsiteX264" fmla="*/ 33666 w 736968"/>
              <a:gd name="connsiteY264" fmla="*/ 334140 h 614713"/>
              <a:gd name="connsiteX265" fmla="*/ 59037 w 736968"/>
              <a:gd name="connsiteY265" fmla="*/ 364260 h 614713"/>
              <a:gd name="connsiteX266" fmla="*/ 30372 w 736968"/>
              <a:gd name="connsiteY266" fmla="*/ 237961 h 614713"/>
              <a:gd name="connsiteX267" fmla="*/ 41617 w 736968"/>
              <a:gd name="connsiteY267" fmla="*/ 272905 h 614713"/>
              <a:gd name="connsiteX268" fmla="*/ 42535 w 736968"/>
              <a:gd name="connsiteY268" fmla="*/ 272340 h 614713"/>
              <a:gd name="connsiteX269" fmla="*/ 69030 w 736968"/>
              <a:gd name="connsiteY269" fmla="*/ 221988 h 614713"/>
              <a:gd name="connsiteX270" fmla="*/ 70943 w 736968"/>
              <a:gd name="connsiteY270" fmla="*/ 219443 h 614713"/>
              <a:gd name="connsiteX271" fmla="*/ 95096 w 736968"/>
              <a:gd name="connsiteY271" fmla="*/ 182853 h 614713"/>
              <a:gd name="connsiteX272" fmla="*/ 105861 w 736968"/>
              <a:gd name="connsiteY272" fmla="*/ 151397 h 614713"/>
              <a:gd name="connsiteX273" fmla="*/ 105338 w 736968"/>
              <a:gd name="connsiteY273" fmla="*/ 151354 h 614713"/>
              <a:gd name="connsiteX274" fmla="*/ 104300 w 736968"/>
              <a:gd name="connsiteY274" fmla="*/ 151568 h 614713"/>
              <a:gd name="connsiteX275" fmla="*/ 104025 w 736968"/>
              <a:gd name="connsiteY275" fmla="*/ 151782 h 614713"/>
              <a:gd name="connsiteX276" fmla="*/ 103879 w 736968"/>
              <a:gd name="connsiteY276" fmla="*/ 151962 h 614713"/>
              <a:gd name="connsiteX277" fmla="*/ 79503 w 736968"/>
              <a:gd name="connsiteY277" fmla="*/ 179092 h 614713"/>
              <a:gd name="connsiteX278" fmla="*/ 51644 w 736968"/>
              <a:gd name="connsiteY278" fmla="*/ 209863 h 614713"/>
              <a:gd name="connsiteX279" fmla="*/ 49096 w 736968"/>
              <a:gd name="connsiteY279" fmla="*/ 215596 h 614713"/>
              <a:gd name="connsiteX280" fmla="*/ 44790 w 736968"/>
              <a:gd name="connsiteY280" fmla="*/ 226761 h 614713"/>
              <a:gd name="connsiteX281" fmla="*/ 43804 w 736968"/>
              <a:gd name="connsiteY281" fmla="*/ 226975 h 614713"/>
              <a:gd name="connsiteX282" fmla="*/ 45099 w 736968"/>
              <a:gd name="connsiteY282" fmla="*/ 207627 h 614713"/>
              <a:gd name="connsiteX283" fmla="*/ 41411 w 736968"/>
              <a:gd name="connsiteY283" fmla="*/ 167807 h 614713"/>
              <a:gd name="connsiteX284" fmla="*/ 42200 w 736968"/>
              <a:gd name="connsiteY284" fmla="*/ 117729 h 614713"/>
              <a:gd name="connsiteX285" fmla="*/ 43272 w 736968"/>
              <a:gd name="connsiteY285" fmla="*/ 113762 h 614713"/>
              <a:gd name="connsiteX286" fmla="*/ 44121 w 736968"/>
              <a:gd name="connsiteY286" fmla="*/ 110986 h 614713"/>
              <a:gd name="connsiteX287" fmla="*/ 43632 w 736968"/>
              <a:gd name="connsiteY287" fmla="*/ 109931 h 614713"/>
              <a:gd name="connsiteX288" fmla="*/ 20440 w 736968"/>
              <a:gd name="connsiteY288" fmla="*/ 200335 h 614713"/>
              <a:gd name="connsiteX289" fmla="*/ 30372 w 736968"/>
              <a:gd name="connsiteY289" fmla="*/ 237961 h 614713"/>
              <a:gd name="connsiteX290" fmla="*/ 55709 w 736968"/>
              <a:gd name="connsiteY290" fmla="*/ 171783 h 614713"/>
              <a:gd name="connsiteX291" fmla="*/ 55401 w 736968"/>
              <a:gd name="connsiteY291" fmla="*/ 182382 h 614713"/>
              <a:gd name="connsiteX292" fmla="*/ 55418 w 736968"/>
              <a:gd name="connsiteY292" fmla="*/ 182399 h 614713"/>
              <a:gd name="connsiteX293" fmla="*/ 55401 w 736968"/>
              <a:gd name="connsiteY293" fmla="*/ 182597 h 614713"/>
              <a:gd name="connsiteX294" fmla="*/ 56113 w 736968"/>
              <a:gd name="connsiteY294" fmla="*/ 182391 h 614713"/>
              <a:gd name="connsiteX295" fmla="*/ 56284 w 736968"/>
              <a:gd name="connsiteY295" fmla="*/ 182203 h 614713"/>
              <a:gd name="connsiteX296" fmla="*/ 88132 w 736968"/>
              <a:gd name="connsiteY296" fmla="*/ 149169 h 614713"/>
              <a:gd name="connsiteX297" fmla="*/ 115313 w 736968"/>
              <a:gd name="connsiteY297" fmla="*/ 126315 h 614713"/>
              <a:gd name="connsiteX298" fmla="*/ 136113 w 736968"/>
              <a:gd name="connsiteY298" fmla="*/ 85630 h 614713"/>
              <a:gd name="connsiteX299" fmla="*/ 136387 w 736968"/>
              <a:gd name="connsiteY299" fmla="*/ 83650 h 614713"/>
              <a:gd name="connsiteX300" fmla="*/ 135332 w 736968"/>
              <a:gd name="connsiteY300" fmla="*/ 83950 h 614713"/>
              <a:gd name="connsiteX301" fmla="*/ 131713 w 736968"/>
              <a:gd name="connsiteY301" fmla="*/ 88698 h 614713"/>
              <a:gd name="connsiteX302" fmla="*/ 108056 w 736968"/>
              <a:gd name="connsiteY302" fmla="*/ 109914 h 614713"/>
              <a:gd name="connsiteX303" fmla="*/ 71748 w 736968"/>
              <a:gd name="connsiteY303" fmla="*/ 139923 h 614713"/>
              <a:gd name="connsiteX304" fmla="*/ 71534 w 736968"/>
              <a:gd name="connsiteY304" fmla="*/ 140214 h 614713"/>
              <a:gd name="connsiteX305" fmla="*/ 70557 w 736968"/>
              <a:gd name="connsiteY305" fmla="*/ 139820 h 614713"/>
              <a:gd name="connsiteX306" fmla="*/ 76397 w 736968"/>
              <a:gd name="connsiteY306" fmla="*/ 117524 h 614713"/>
              <a:gd name="connsiteX307" fmla="*/ 85799 w 736968"/>
              <a:gd name="connsiteY307" fmla="*/ 76187 h 614713"/>
              <a:gd name="connsiteX308" fmla="*/ 98870 w 736968"/>
              <a:gd name="connsiteY308" fmla="*/ 57360 h 614713"/>
              <a:gd name="connsiteX309" fmla="*/ 99008 w 736968"/>
              <a:gd name="connsiteY309" fmla="*/ 57207 h 614713"/>
              <a:gd name="connsiteX310" fmla="*/ 99085 w 736968"/>
              <a:gd name="connsiteY310" fmla="*/ 56016 h 614713"/>
              <a:gd name="connsiteX311" fmla="*/ 95954 w 736968"/>
              <a:gd name="connsiteY311" fmla="*/ 57198 h 614713"/>
              <a:gd name="connsiteX312" fmla="*/ 60436 w 736968"/>
              <a:gd name="connsiteY312" fmla="*/ 95964 h 614713"/>
              <a:gd name="connsiteX313" fmla="*/ 54534 w 736968"/>
              <a:gd name="connsiteY313" fmla="*/ 128347 h 614713"/>
              <a:gd name="connsiteX314" fmla="*/ 54817 w 736968"/>
              <a:gd name="connsiteY314" fmla="*/ 139452 h 614713"/>
              <a:gd name="connsiteX315" fmla="*/ 55709 w 736968"/>
              <a:gd name="connsiteY315" fmla="*/ 171783 h 614713"/>
              <a:gd name="connsiteX316" fmla="*/ 90430 w 736968"/>
              <a:gd name="connsiteY316" fmla="*/ 107892 h 614713"/>
              <a:gd name="connsiteX317" fmla="*/ 90816 w 736968"/>
              <a:gd name="connsiteY317" fmla="*/ 107918 h 614713"/>
              <a:gd name="connsiteX318" fmla="*/ 91014 w 736968"/>
              <a:gd name="connsiteY318" fmla="*/ 107764 h 614713"/>
              <a:gd name="connsiteX319" fmla="*/ 120142 w 736968"/>
              <a:gd name="connsiteY319" fmla="*/ 83702 h 614713"/>
              <a:gd name="connsiteX320" fmla="*/ 143550 w 736968"/>
              <a:gd name="connsiteY320" fmla="*/ 54833 h 614713"/>
              <a:gd name="connsiteX321" fmla="*/ 168338 w 736968"/>
              <a:gd name="connsiteY321" fmla="*/ 25321 h 614713"/>
              <a:gd name="connsiteX322" fmla="*/ 170533 w 736968"/>
              <a:gd name="connsiteY322" fmla="*/ 23410 h 614713"/>
              <a:gd name="connsiteX323" fmla="*/ 170654 w 736968"/>
              <a:gd name="connsiteY323" fmla="*/ 22288 h 614713"/>
              <a:gd name="connsiteX324" fmla="*/ 123788 w 736968"/>
              <a:gd name="connsiteY324" fmla="*/ 44936 h 614713"/>
              <a:gd name="connsiteX325" fmla="*/ 90465 w 736968"/>
              <a:gd name="connsiteY325" fmla="*/ 107686 h 614713"/>
              <a:gd name="connsiteX326" fmla="*/ 90430 w 736968"/>
              <a:gd name="connsiteY326" fmla="*/ 107892 h 614713"/>
              <a:gd name="connsiteX327" fmla="*/ 361962 w 736968"/>
              <a:gd name="connsiteY327" fmla="*/ 317499 h 614713"/>
              <a:gd name="connsiteX328" fmla="*/ 357913 w 736968"/>
              <a:gd name="connsiteY328" fmla="*/ 317798 h 614713"/>
              <a:gd name="connsiteX329" fmla="*/ 361962 w 736968"/>
              <a:gd name="connsiteY329" fmla="*/ 317499 h 614713"/>
              <a:gd name="connsiteX330" fmla="*/ 413348 w 736968"/>
              <a:gd name="connsiteY330" fmla="*/ 198801 h 614713"/>
              <a:gd name="connsiteX331" fmla="*/ 405209 w 736968"/>
              <a:gd name="connsiteY331" fmla="*/ 208483 h 614713"/>
              <a:gd name="connsiteX332" fmla="*/ 413348 w 736968"/>
              <a:gd name="connsiteY332" fmla="*/ 198801 h 614713"/>
              <a:gd name="connsiteX333" fmla="*/ 414961 w 736968"/>
              <a:gd name="connsiteY333" fmla="*/ 197181 h 614713"/>
              <a:gd name="connsiteX334" fmla="*/ 420150 w 736968"/>
              <a:gd name="connsiteY334" fmla="*/ 194336 h 614713"/>
              <a:gd name="connsiteX335" fmla="*/ 413254 w 736968"/>
              <a:gd name="connsiteY335" fmla="*/ 192545 h 614713"/>
              <a:gd name="connsiteX336" fmla="*/ 414961 w 736968"/>
              <a:gd name="connsiteY336" fmla="*/ 197181 h 614713"/>
              <a:gd name="connsiteX337" fmla="*/ 505468 w 736968"/>
              <a:gd name="connsiteY337" fmla="*/ 276444 h 614713"/>
              <a:gd name="connsiteX338" fmla="*/ 501274 w 736968"/>
              <a:gd name="connsiteY338" fmla="*/ 280001 h 614713"/>
              <a:gd name="connsiteX339" fmla="*/ 505633 w 736968"/>
              <a:gd name="connsiteY339" fmla="*/ 281003 h 614713"/>
              <a:gd name="connsiteX340" fmla="*/ 505468 w 736968"/>
              <a:gd name="connsiteY340" fmla="*/ 276444 h 614713"/>
              <a:gd name="connsiteX341" fmla="*/ 472669 w 736968"/>
              <a:gd name="connsiteY341" fmla="*/ 191097 h 614713"/>
              <a:gd name="connsiteX342" fmla="*/ 472077 w 736968"/>
              <a:gd name="connsiteY342" fmla="*/ 194362 h 614713"/>
              <a:gd name="connsiteX343" fmla="*/ 477018 w 736968"/>
              <a:gd name="connsiteY343" fmla="*/ 193599 h 614713"/>
              <a:gd name="connsiteX344" fmla="*/ 479642 w 736968"/>
              <a:gd name="connsiteY344" fmla="*/ 189640 h 614713"/>
              <a:gd name="connsiteX345" fmla="*/ 478081 w 736968"/>
              <a:gd name="connsiteY345" fmla="*/ 183505 h 614713"/>
              <a:gd name="connsiteX346" fmla="*/ 483004 w 736968"/>
              <a:gd name="connsiteY346" fmla="*/ 183693 h 614713"/>
              <a:gd name="connsiteX347" fmla="*/ 484849 w 736968"/>
              <a:gd name="connsiteY347" fmla="*/ 180138 h 614713"/>
              <a:gd name="connsiteX348" fmla="*/ 481315 w 736968"/>
              <a:gd name="connsiteY348" fmla="*/ 174782 h 614713"/>
              <a:gd name="connsiteX349" fmla="*/ 475688 w 736968"/>
              <a:gd name="connsiteY349" fmla="*/ 180454 h 614713"/>
              <a:gd name="connsiteX350" fmla="*/ 475722 w 736968"/>
              <a:gd name="connsiteY350" fmla="*/ 184979 h 614713"/>
              <a:gd name="connsiteX351" fmla="*/ 472669 w 736968"/>
              <a:gd name="connsiteY351" fmla="*/ 191097 h 614713"/>
              <a:gd name="connsiteX352" fmla="*/ 517125 w 736968"/>
              <a:gd name="connsiteY352" fmla="*/ 191466 h 614713"/>
              <a:gd name="connsiteX353" fmla="*/ 520995 w 736968"/>
              <a:gd name="connsiteY353" fmla="*/ 203625 h 614713"/>
              <a:gd name="connsiteX354" fmla="*/ 523977 w 736968"/>
              <a:gd name="connsiteY354" fmla="*/ 212254 h 614713"/>
              <a:gd name="connsiteX355" fmla="*/ 524801 w 736968"/>
              <a:gd name="connsiteY355" fmla="*/ 205836 h 614713"/>
              <a:gd name="connsiteX356" fmla="*/ 521252 w 736968"/>
              <a:gd name="connsiteY356" fmla="*/ 191268 h 614713"/>
              <a:gd name="connsiteX357" fmla="*/ 514793 w 736968"/>
              <a:gd name="connsiteY357" fmla="*/ 179177 h 614713"/>
              <a:gd name="connsiteX358" fmla="*/ 517324 w 736968"/>
              <a:gd name="connsiteY358" fmla="*/ 188261 h 614713"/>
              <a:gd name="connsiteX359" fmla="*/ 517125 w 736968"/>
              <a:gd name="connsiteY359" fmla="*/ 191466 h 614713"/>
              <a:gd name="connsiteX360" fmla="*/ 493631 w 736968"/>
              <a:gd name="connsiteY360" fmla="*/ 76958 h 614713"/>
              <a:gd name="connsiteX361" fmla="*/ 492089 w 736968"/>
              <a:gd name="connsiteY361" fmla="*/ 70668 h 614713"/>
              <a:gd name="connsiteX362" fmla="*/ 484780 w 736968"/>
              <a:gd name="connsiteY362" fmla="*/ 70609 h 614713"/>
              <a:gd name="connsiteX363" fmla="*/ 493631 w 736968"/>
              <a:gd name="connsiteY363" fmla="*/ 76958 h 614713"/>
              <a:gd name="connsiteX364" fmla="*/ 392480 w 736968"/>
              <a:gd name="connsiteY364" fmla="*/ 47935 h 614713"/>
              <a:gd name="connsiteX365" fmla="*/ 388234 w 736968"/>
              <a:gd name="connsiteY365" fmla="*/ 38527 h 614713"/>
              <a:gd name="connsiteX366" fmla="*/ 377126 w 736968"/>
              <a:gd name="connsiteY366" fmla="*/ 40703 h 614713"/>
              <a:gd name="connsiteX367" fmla="*/ 383440 w 736968"/>
              <a:gd name="connsiteY367" fmla="*/ 44370 h 614713"/>
              <a:gd name="connsiteX368" fmla="*/ 393183 w 736968"/>
              <a:gd name="connsiteY368" fmla="*/ 49649 h 614713"/>
              <a:gd name="connsiteX369" fmla="*/ 392480 w 736968"/>
              <a:gd name="connsiteY369" fmla="*/ 47935 h 614713"/>
              <a:gd name="connsiteX370" fmla="*/ 419275 w 736968"/>
              <a:gd name="connsiteY370" fmla="*/ 34465 h 614713"/>
              <a:gd name="connsiteX371" fmla="*/ 391570 w 736968"/>
              <a:gd name="connsiteY371" fmla="*/ 37686 h 614713"/>
              <a:gd name="connsiteX372" fmla="*/ 407696 w 736968"/>
              <a:gd name="connsiteY372" fmla="*/ 37712 h 614713"/>
              <a:gd name="connsiteX373" fmla="*/ 419275 w 736968"/>
              <a:gd name="connsiteY373" fmla="*/ 34465 h 614713"/>
              <a:gd name="connsiteX374" fmla="*/ 353873 w 736968"/>
              <a:gd name="connsiteY374" fmla="*/ 294294 h 614713"/>
              <a:gd name="connsiteX375" fmla="*/ 352124 w 736968"/>
              <a:gd name="connsiteY375" fmla="*/ 294388 h 614713"/>
              <a:gd name="connsiteX376" fmla="*/ 352535 w 736968"/>
              <a:gd name="connsiteY376" fmla="*/ 297721 h 614713"/>
              <a:gd name="connsiteX377" fmla="*/ 358068 w 736968"/>
              <a:gd name="connsiteY377" fmla="*/ 297790 h 614713"/>
              <a:gd name="connsiteX378" fmla="*/ 357750 w 736968"/>
              <a:gd name="connsiteY378" fmla="*/ 294911 h 614713"/>
              <a:gd name="connsiteX379" fmla="*/ 353873 w 736968"/>
              <a:gd name="connsiteY379" fmla="*/ 294294 h 614713"/>
              <a:gd name="connsiteX380" fmla="*/ 345262 w 736968"/>
              <a:gd name="connsiteY380" fmla="*/ 249872 h 614713"/>
              <a:gd name="connsiteX381" fmla="*/ 348109 w 736968"/>
              <a:gd name="connsiteY381" fmla="*/ 248544 h 614713"/>
              <a:gd name="connsiteX382" fmla="*/ 350176 w 736968"/>
              <a:gd name="connsiteY382" fmla="*/ 249941 h 614713"/>
              <a:gd name="connsiteX383" fmla="*/ 348015 w 736968"/>
              <a:gd name="connsiteY383" fmla="*/ 245168 h 614713"/>
              <a:gd name="connsiteX384" fmla="*/ 345262 w 736968"/>
              <a:gd name="connsiteY384" fmla="*/ 249871 h 614713"/>
              <a:gd name="connsiteX385" fmla="*/ 352998 w 736968"/>
              <a:gd name="connsiteY385" fmla="*/ 254807 h 614713"/>
              <a:gd name="connsiteX386" fmla="*/ 347775 w 736968"/>
              <a:gd name="connsiteY386" fmla="*/ 256213 h 614713"/>
              <a:gd name="connsiteX387" fmla="*/ 345502 w 736968"/>
              <a:gd name="connsiteY387" fmla="*/ 251971 h 614713"/>
              <a:gd name="connsiteX388" fmla="*/ 342311 w 736968"/>
              <a:gd name="connsiteY388" fmla="*/ 256564 h 614713"/>
              <a:gd name="connsiteX389" fmla="*/ 343778 w 736968"/>
              <a:gd name="connsiteY389" fmla="*/ 260917 h 614713"/>
              <a:gd name="connsiteX390" fmla="*/ 356558 w 736968"/>
              <a:gd name="connsiteY390" fmla="*/ 262614 h 614713"/>
              <a:gd name="connsiteX391" fmla="*/ 352998 w 736968"/>
              <a:gd name="connsiteY391" fmla="*/ 254807 h 614713"/>
              <a:gd name="connsiteX392" fmla="*/ 311699 w 736968"/>
              <a:gd name="connsiteY392" fmla="*/ 299290 h 614713"/>
              <a:gd name="connsiteX393" fmla="*/ 312960 w 736968"/>
              <a:gd name="connsiteY393" fmla="*/ 293257 h 614713"/>
              <a:gd name="connsiteX394" fmla="*/ 308251 w 736968"/>
              <a:gd name="connsiteY394" fmla="*/ 293685 h 614713"/>
              <a:gd name="connsiteX395" fmla="*/ 311699 w 736968"/>
              <a:gd name="connsiteY395" fmla="*/ 299290 h 614713"/>
              <a:gd name="connsiteX396" fmla="*/ 257567 w 736968"/>
              <a:gd name="connsiteY396" fmla="*/ 298887 h 614713"/>
              <a:gd name="connsiteX397" fmla="*/ 256366 w 736968"/>
              <a:gd name="connsiteY397" fmla="*/ 291072 h 614713"/>
              <a:gd name="connsiteX398" fmla="*/ 254437 w 736968"/>
              <a:gd name="connsiteY398" fmla="*/ 291835 h 614713"/>
              <a:gd name="connsiteX399" fmla="*/ 252961 w 736968"/>
              <a:gd name="connsiteY399" fmla="*/ 289401 h 614713"/>
              <a:gd name="connsiteX400" fmla="*/ 254171 w 736968"/>
              <a:gd name="connsiteY400" fmla="*/ 295793 h 614713"/>
              <a:gd name="connsiteX401" fmla="*/ 257567 w 736968"/>
              <a:gd name="connsiteY401" fmla="*/ 298887 h 614713"/>
              <a:gd name="connsiteX402" fmla="*/ 256264 w 736968"/>
              <a:gd name="connsiteY402" fmla="*/ 286530 h 614713"/>
              <a:gd name="connsiteX403" fmla="*/ 258116 w 736968"/>
              <a:gd name="connsiteY403" fmla="*/ 274216 h 614713"/>
              <a:gd name="connsiteX404" fmla="*/ 255664 w 736968"/>
              <a:gd name="connsiteY404" fmla="*/ 268158 h 614713"/>
              <a:gd name="connsiteX405" fmla="*/ 256032 w 736968"/>
              <a:gd name="connsiteY405" fmla="*/ 273531 h 614713"/>
              <a:gd name="connsiteX406" fmla="*/ 253973 w 736968"/>
              <a:gd name="connsiteY406" fmla="*/ 283660 h 614713"/>
              <a:gd name="connsiteX407" fmla="*/ 256264 w 736968"/>
              <a:gd name="connsiteY407" fmla="*/ 286530 h 614713"/>
              <a:gd name="connsiteX408" fmla="*/ 111728 w 736968"/>
              <a:gd name="connsiteY408" fmla="*/ 256564 h 614713"/>
              <a:gd name="connsiteX409" fmla="*/ 186908 w 736968"/>
              <a:gd name="connsiteY409" fmla="*/ 75107 h 614713"/>
              <a:gd name="connsiteX410" fmla="*/ 368541 w 736968"/>
              <a:gd name="connsiteY410" fmla="*/ 0 h 614713"/>
              <a:gd name="connsiteX411" fmla="*/ 550172 w 736968"/>
              <a:gd name="connsiteY411" fmla="*/ 75107 h 614713"/>
              <a:gd name="connsiteX412" fmla="*/ 625352 w 736968"/>
              <a:gd name="connsiteY412" fmla="*/ 256564 h 614713"/>
              <a:gd name="connsiteX413" fmla="*/ 550172 w 736968"/>
              <a:gd name="connsiteY413" fmla="*/ 438021 h 614713"/>
              <a:gd name="connsiteX414" fmla="*/ 368541 w 736968"/>
              <a:gd name="connsiteY414" fmla="*/ 513127 h 614713"/>
              <a:gd name="connsiteX415" fmla="*/ 186908 w 736968"/>
              <a:gd name="connsiteY415" fmla="*/ 438021 h 614713"/>
              <a:gd name="connsiteX416" fmla="*/ 111728 w 736968"/>
              <a:gd name="connsiteY416" fmla="*/ 256564 h 614713"/>
              <a:gd name="connsiteX417" fmla="*/ 190836 w 736968"/>
              <a:gd name="connsiteY417" fmla="*/ 426350 h 614713"/>
              <a:gd name="connsiteX418" fmla="*/ 218738 w 736968"/>
              <a:gd name="connsiteY418" fmla="*/ 398475 h 614713"/>
              <a:gd name="connsiteX419" fmla="*/ 203299 w 736968"/>
              <a:gd name="connsiteY419" fmla="*/ 380215 h 614713"/>
              <a:gd name="connsiteX420" fmla="*/ 197432 w 736968"/>
              <a:gd name="connsiteY420" fmla="*/ 376291 h 614713"/>
              <a:gd name="connsiteX421" fmla="*/ 192663 w 736968"/>
              <a:gd name="connsiteY421" fmla="*/ 368964 h 614713"/>
              <a:gd name="connsiteX422" fmla="*/ 190030 w 736968"/>
              <a:gd name="connsiteY422" fmla="*/ 372100 h 614713"/>
              <a:gd name="connsiteX423" fmla="*/ 179788 w 736968"/>
              <a:gd name="connsiteY423" fmla="*/ 360892 h 614713"/>
              <a:gd name="connsiteX424" fmla="*/ 172043 w 736968"/>
              <a:gd name="connsiteY424" fmla="*/ 353719 h 614713"/>
              <a:gd name="connsiteX425" fmla="*/ 169110 w 736968"/>
              <a:gd name="connsiteY425" fmla="*/ 351483 h 614713"/>
              <a:gd name="connsiteX426" fmla="*/ 158963 w 736968"/>
              <a:gd name="connsiteY426" fmla="*/ 345468 h 614713"/>
              <a:gd name="connsiteX427" fmla="*/ 157788 w 736968"/>
              <a:gd name="connsiteY427" fmla="*/ 349023 h 614713"/>
              <a:gd name="connsiteX428" fmla="*/ 148318 w 736968"/>
              <a:gd name="connsiteY428" fmla="*/ 342486 h 614713"/>
              <a:gd name="connsiteX429" fmla="*/ 145822 w 736968"/>
              <a:gd name="connsiteY429" fmla="*/ 346968 h 614713"/>
              <a:gd name="connsiteX430" fmla="*/ 147743 w 736968"/>
              <a:gd name="connsiteY430" fmla="*/ 356470 h 614713"/>
              <a:gd name="connsiteX431" fmla="*/ 139938 w 736968"/>
              <a:gd name="connsiteY431" fmla="*/ 335939 h 614713"/>
              <a:gd name="connsiteX432" fmla="*/ 141868 w 736968"/>
              <a:gd name="connsiteY432" fmla="*/ 336205 h 614713"/>
              <a:gd name="connsiteX433" fmla="*/ 140548 w 736968"/>
              <a:gd name="connsiteY433" fmla="*/ 331911 h 614713"/>
              <a:gd name="connsiteX434" fmla="*/ 137828 w 736968"/>
              <a:gd name="connsiteY434" fmla="*/ 327019 h 614713"/>
              <a:gd name="connsiteX435" fmla="*/ 141243 w 736968"/>
              <a:gd name="connsiteY435" fmla="*/ 324105 h 614713"/>
              <a:gd name="connsiteX436" fmla="*/ 142545 w 736968"/>
              <a:gd name="connsiteY436" fmla="*/ 320584 h 614713"/>
              <a:gd name="connsiteX437" fmla="*/ 147126 w 736968"/>
              <a:gd name="connsiteY437" fmla="*/ 317070 h 614713"/>
              <a:gd name="connsiteX438" fmla="*/ 149494 w 736968"/>
              <a:gd name="connsiteY438" fmla="*/ 319109 h 614713"/>
              <a:gd name="connsiteX439" fmla="*/ 156896 w 736968"/>
              <a:gd name="connsiteY439" fmla="*/ 320592 h 614713"/>
              <a:gd name="connsiteX440" fmla="*/ 154185 w 736968"/>
              <a:gd name="connsiteY440" fmla="*/ 318484 h 614713"/>
              <a:gd name="connsiteX441" fmla="*/ 160395 w 736968"/>
              <a:gd name="connsiteY441" fmla="*/ 318621 h 614713"/>
              <a:gd name="connsiteX442" fmla="*/ 165979 w 736968"/>
              <a:gd name="connsiteY442" fmla="*/ 318235 h 614713"/>
              <a:gd name="connsiteX443" fmla="*/ 172198 w 736968"/>
              <a:gd name="connsiteY443" fmla="*/ 320626 h 614713"/>
              <a:gd name="connsiteX444" fmla="*/ 162068 w 736968"/>
              <a:gd name="connsiteY444" fmla="*/ 262048 h 614713"/>
              <a:gd name="connsiteX445" fmla="*/ 122766 w 736968"/>
              <a:gd name="connsiteY445" fmla="*/ 262048 h 614713"/>
              <a:gd name="connsiteX446" fmla="*/ 190836 w 736968"/>
              <a:gd name="connsiteY446" fmla="*/ 426350 h 614713"/>
              <a:gd name="connsiteX447" fmla="*/ 352955 w 736968"/>
              <a:gd name="connsiteY447" fmla="*/ 198903 h 614713"/>
              <a:gd name="connsiteX448" fmla="*/ 348924 w 736968"/>
              <a:gd name="connsiteY448" fmla="*/ 204422 h 614713"/>
              <a:gd name="connsiteX449" fmla="*/ 363051 w 736968"/>
              <a:gd name="connsiteY449" fmla="*/ 201149 h 614713"/>
              <a:gd name="connsiteX450" fmla="*/ 363051 w 736968"/>
              <a:gd name="connsiteY450" fmla="*/ 161783 h 614713"/>
              <a:gd name="connsiteX451" fmla="*/ 305369 w 736968"/>
              <a:gd name="connsiteY451" fmla="*/ 185707 h 614713"/>
              <a:gd name="connsiteX452" fmla="*/ 333185 w 736968"/>
              <a:gd name="connsiteY452" fmla="*/ 213496 h 614713"/>
              <a:gd name="connsiteX453" fmla="*/ 343598 w 736968"/>
              <a:gd name="connsiteY453" fmla="*/ 206727 h 614713"/>
              <a:gd name="connsiteX454" fmla="*/ 346531 w 736968"/>
              <a:gd name="connsiteY454" fmla="*/ 205382 h 614713"/>
              <a:gd name="connsiteX455" fmla="*/ 352955 w 736968"/>
              <a:gd name="connsiteY455" fmla="*/ 198903 h 614713"/>
              <a:gd name="connsiteX456" fmla="*/ 255835 w 736968"/>
              <a:gd name="connsiteY456" fmla="*/ 345674 h 614713"/>
              <a:gd name="connsiteX457" fmla="*/ 255646 w 736968"/>
              <a:gd name="connsiteY457" fmla="*/ 347953 h 614713"/>
              <a:gd name="connsiteX458" fmla="*/ 261968 w 736968"/>
              <a:gd name="connsiteY458" fmla="*/ 355279 h 614713"/>
              <a:gd name="connsiteX459" fmla="*/ 289835 w 736968"/>
              <a:gd name="connsiteY459" fmla="*/ 327438 h 614713"/>
              <a:gd name="connsiteX460" fmla="*/ 264095 w 736968"/>
              <a:gd name="connsiteY460" fmla="*/ 274679 h 614713"/>
              <a:gd name="connsiteX461" fmla="*/ 262053 w 736968"/>
              <a:gd name="connsiteY461" fmla="*/ 273985 h 614713"/>
              <a:gd name="connsiteX462" fmla="*/ 263512 w 736968"/>
              <a:gd name="connsiteY462" fmla="*/ 271020 h 614713"/>
              <a:gd name="connsiteX463" fmla="*/ 262663 w 736968"/>
              <a:gd name="connsiteY463" fmla="*/ 262048 h 614713"/>
              <a:gd name="connsiteX464" fmla="*/ 244110 w 736968"/>
              <a:gd name="connsiteY464" fmla="*/ 262048 h 614713"/>
              <a:gd name="connsiteX465" fmla="*/ 243535 w 736968"/>
              <a:gd name="connsiteY465" fmla="*/ 270729 h 614713"/>
              <a:gd name="connsiteX466" fmla="*/ 238208 w 736968"/>
              <a:gd name="connsiteY466" fmla="*/ 270909 h 614713"/>
              <a:gd name="connsiteX467" fmla="*/ 234777 w 736968"/>
              <a:gd name="connsiteY467" fmla="*/ 278595 h 614713"/>
              <a:gd name="connsiteX468" fmla="*/ 235910 w 736968"/>
              <a:gd name="connsiteY468" fmla="*/ 284191 h 614713"/>
              <a:gd name="connsiteX469" fmla="*/ 237659 w 736968"/>
              <a:gd name="connsiteY469" fmla="*/ 289392 h 614713"/>
              <a:gd name="connsiteX470" fmla="*/ 244822 w 736968"/>
              <a:gd name="connsiteY470" fmla="*/ 297832 h 614713"/>
              <a:gd name="connsiteX471" fmla="*/ 241280 w 736968"/>
              <a:gd name="connsiteY471" fmla="*/ 298981 h 614713"/>
              <a:gd name="connsiteX472" fmla="*/ 245259 w 736968"/>
              <a:gd name="connsiteY472" fmla="*/ 303505 h 614713"/>
              <a:gd name="connsiteX473" fmla="*/ 246666 w 736968"/>
              <a:gd name="connsiteY473" fmla="*/ 311492 h 614713"/>
              <a:gd name="connsiteX474" fmla="*/ 250182 w 736968"/>
              <a:gd name="connsiteY474" fmla="*/ 322931 h 614713"/>
              <a:gd name="connsiteX475" fmla="*/ 251049 w 736968"/>
              <a:gd name="connsiteY475" fmla="*/ 334568 h 614713"/>
              <a:gd name="connsiteX476" fmla="*/ 255835 w 736968"/>
              <a:gd name="connsiteY476" fmla="*/ 345674 h 614713"/>
              <a:gd name="connsiteX477" fmla="*/ 232668 w 736968"/>
              <a:gd name="connsiteY477" fmla="*/ 279444 h 614713"/>
              <a:gd name="connsiteX478" fmla="*/ 234752 w 736968"/>
              <a:gd name="connsiteY478" fmla="*/ 267901 h 614713"/>
              <a:gd name="connsiteX479" fmla="*/ 239855 w 736968"/>
              <a:gd name="connsiteY479" fmla="*/ 262048 h 614713"/>
              <a:gd name="connsiteX480" fmla="*/ 223344 w 736968"/>
              <a:gd name="connsiteY480" fmla="*/ 262048 h 614713"/>
              <a:gd name="connsiteX481" fmla="*/ 226534 w 736968"/>
              <a:gd name="connsiteY481" fmla="*/ 287455 h 614713"/>
              <a:gd name="connsiteX482" fmla="*/ 232668 w 736968"/>
              <a:gd name="connsiteY482" fmla="*/ 279444 h 614713"/>
              <a:gd name="connsiteX483" fmla="*/ 222306 w 736968"/>
              <a:gd name="connsiteY483" fmla="*/ 385519 h 614713"/>
              <a:gd name="connsiteX484" fmla="*/ 221912 w 736968"/>
              <a:gd name="connsiteY484" fmla="*/ 385691 h 614713"/>
              <a:gd name="connsiteX485" fmla="*/ 226501 w 736968"/>
              <a:gd name="connsiteY485" fmla="*/ 390720 h 614713"/>
              <a:gd name="connsiteX486" fmla="*/ 229649 w 736968"/>
              <a:gd name="connsiteY486" fmla="*/ 387576 h 614713"/>
              <a:gd name="connsiteX487" fmla="*/ 222306 w 736968"/>
              <a:gd name="connsiteY487" fmla="*/ 385519 h 614713"/>
              <a:gd name="connsiteX488" fmla="*/ 289835 w 736968"/>
              <a:gd name="connsiteY488" fmla="*/ 185690 h 614713"/>
              <a:gd name="connsiteX489" fmla="*/ 262045 w 736968"/>
              <a:gd name="connsiteY489" fmla="*/ 157926 h 614713"/>
              <a:gd name="connsiteX490" fmla="*/ 223352 w 736968"/>
              <a:gd name="connsiteY490" fmla="*/ 251080 h 614713"/>
              <a:gd name="connsiteX491" fmla="*/ 242823 w 736968"/>
              <a:gd name="connsiteY491" fmla="*/ 251080 h 614713"/>
              <a:gd name="connsiteX492" fmla="*/ 246066 w 736968"/>
              <a:gd name="connsiteY492" fmla="*/ 238792 h 614713"/>
              <a:gd name="connsiteX493" fmla="*/ 250440 w 736968"/>
              <a:gd name="connsiteY493" fmla="*/ 230609 h 614713"/>
              <a:gd name="connsiteX494" fmla="*/ 256504 w 736968"/>
              <a:gd name="connsiteY494" fmla="*/ 225690 h 614713"/>
              <a:gd name="connsiteX495" fmla="*/ 268452 w 736968"/>
              <a:gd name="connsiteY495" fmla="*/ 220498 h 614713"/>
              <a:gd name="connsiteX496" fmla="*/ 278788 w 736968"/>
              <a:gd name="connsiteY496" fmla="*/ 215467 h 614713"/>
              <a:gd name="connsiteX497" fmla="*/ 263623 w 736968"/>
              <a:gd name="connsiteY497" fmla="*/ 218518 h 614713"/>
              <a:gd name="connsiteX498" fmla="*/ 270262 w 736968"/>
              <a:gd name="connsiteY498" fmla="*/ 214884 h 614713"/>
              <a:gd name="connsiteX499" fmla="*/ 271488 w 736968"/>
              <a:gd name="connsiteY499" fmla="*/ 214054 h 614713"/>
              <a:gd name="connsiteX500" fmla="*/ 289835 w 736968"/>
              <a:gd name="connsiteY500" fmla="*/ 185690 h 614713"/>
              <a:gd name="connsiteX501" fmla="*/ 284826 w 736968"/>
              <a:gd name="connsiteY501" fmla="*/ 211672 h 614713"/>
              <a:gd name="connsiteX502" fmla="*/ 285975 w 736968"/>
              <a:gd name="connsiteY502" fmla="*/ 211106 h 614713"/>
              <a:gd name="connsiteX503" fmla="*/ 299682 w 736968"/>
              <a:gd name="connsiteY503" fmla="*/ 210060 h 614713"/>
              <a:gd name="connsiteX504" fmla="*/ 309520 w 736968"/>
              <a:gd name="connsiteY504" fmla="*/ 216907 h 614713"/>
              <a:gd name="connsiteX505" fmla="*/ 314847 w 736968"/>
              <a:gd name="connsiteY505" fmla="*/ 215733 h 614713"/>
              <a:gd name="connsiteX506" fmla="*/ 319333 w 736968"/>
              <a:gd name="connsiteY506" fmla="*/ 217524 h 614713"/>
              <a:gd name="connsiteX507" fmla="*/ 321829 w 736968"/>
              <a:gd name="connsiteY507" fmla="*/ 217652 h 614713"/>
              <a:gd name="connsiteX508" fmla="*/ 297606 w 736968"/>
              <a:gd name="connsiteY508" fmla="*/ 193462 h 614713"/>
              <a:gd name="connsiteX509" fmla="*/ 284826 w 736968"/>
              <a:gd name="connsiteY509" fmla="*/ 211672 h 614713"/>
              <a:gd name="connsiteX510" fmla="*/ 257550 w 736968"/>
              <a:gd name="connsiteY510" fmla="*/ 241568 h 614713"/>
              <a:gd name="connsiteX511" fmla="*/ 249694 w 736968"/>
              <a:gd name="connsiteY511" fmla="*/ 245202 h 614713"/>
              <a:gd name="connsiteX512" fmla="*/ 248604 w 736968"/>
              <a:gd name="connsiteY512" fmla="*/ 251080 h 614713"/>
              <a:gd name="connsiteX513" fmla="*/ 262663 w 736968"/>
              <a:gd name="connsiteY513" fmla="*/ 251080 h 614713"/>
              <a:gd name="connsiteX514" fmla="*/ 263366 w 736968"/>
              <a:gd name="connsiteY514" fmla="*/ 243196 h 614713"/>
              <a:gd name="connsiteX515" fmla="*/ 257550 w 736968"/>
              <a:gd name="connsiteY515" fmla="*/ 241568 h 614713"/>
              <a:gd name="connsiteX516" fmla="*/ 297615 w 736968"/>
              <a:gd name="connsiteY516" fmla="*/ 319675 h 614713"/>
              <a:gd name="connsiteX517" fmla="*/ 325448 w 736968"/>
              <a:gd name="connsiteY517" fmla="*/ 291860 h 614713"/>
              <a:gd name="connsiteX518" fmla="*/ 319469 w 736968"/>
              <a:gd name="connsiteY518" fmla="*/ 282948 h 614713"/>
              <a:gd name="connsiteX519" fmla="*/ 319461 w 736968"/>
              <a:gd name="connsiteY519" fmla="*/ 282965 h 614713"/>
              <a:gd name="connsiteX520" fmla="*/ 318432 w 736968"/>
              <a:gd name="connsiteY520" fmla="*/ 284474 h 614713"/>
              <a:gd name="connsiteX521" fmla="*/ 316880 w 736968"/>
              <a:gd name="connsiteY521" fmla="*/ 291629 h 614713"/>
              <a:gd name="connsiteX522" fmla="*/ 306801 w 736968"/>
              <a:gd name="connsiteY522" fmla="*/ 285965 h 614713"/>
              <a:gd name="connsiteX523" fmla="*/ 303147 w 736968"/>
              <a:gd name="connsiteY523" fmla="*/ 288792 h 614713"/>
              <a:gd name="connsiteX524" fmla="*/ 302135 w 736968"/>
              <a:gd name="connsiteY524" fmla="*/ 291946 h 614713"/>
              <a:gd name="connsiteX525" fmla="*/ 298627 w 736968"/>
              <a:gd name="connsiteY525" fmla="*/ 288158 h 614713"/>
              <a:gd name="connsiteX526" fmla="*/ 296946 w 736968"/>
              <a:gd name="connsiteY526" fmla="*/ 284336 h 614713"/>
              <a:gd name="connsiteX527" fmla="*/ 291010 w 736968"/>
              <a:gd name="connsiteY527" fmla="*/ 282400 h 614713"/>
              <a:gd name="connsiteX528" fmla="*/ 286104 w 736968"/>
              <a:gd name="connsiteY528" fmla="*/ 278758 h 614713"/>
              <a:gd name="connsiteX529" fmla="*/ 281018 w 736968"/>
              <a:gd name="connsiteY529" fmla="*/ 278381 h 614713"/>
              <a:gd name="connsiteX530" fmla="*/ 277038 w 736968"/>
              <a:gd name="connsiteY530" fmla="*/ 276573 h 614713"/>
              <a:gd name="connsiteX531" fmla="*/ 275254 w 736968"/>
              <a:gd name="connsiteY531" fmla="*/ 274705 h 614713"/>
              <a:gd name="connsiteX532" fmla="*/ 297615 w 736968"/>
              <a:gd name="connsiteY532" fmla="*/ 319675 h 614713"/>
              <a:gd name="connsiteX533" fmla="*/ 325474 w 736968"/>
              <a:gd name="connsiteY533" fmla="*/ 271646 h 614713"/>
              <a:gd name="connsiteX534" fmla="*/ 325526 w 736968"/>
              <a:gd name="connsiteY534" fmla="*/ 270909 h 614713"/>
              <a:gd name="connsiteX535" fmla="*/ 325543 w 736968"/>
              <a:gd name="connsiteY535" fmla="*/ 270712 h 614713"/>
              <a:gd name="connsiteX536" fmla="*/ 325602 w 736968"/>
              <a:gd name="connsiteY536" fmla="*/ 270146 h 614713"/>
              <a:gd name="connsiteX537" fmla="*/ 325637 w 736968"/>
              <a:gd name="connsiteY537" fmla="*/ 269906 h 614713"/>
              <a:gd name="connsiteX538" fmla="*/ 325688 w 736968"/>
              <a:gd name="connsiteY538" fmla="*/ 269546 h 614713"/>
              <a:gd name="connsiteX539" fmla="*/ 325723 w 736968"/>
              <a:gd name="connsiteY539" fmla="*/ 269349 h 614713"/>
              <a:gd name="connsiteX540" fmla="*/ 325757 w 736968"/>
              <a:gd name="connsiteY540" fmla="*/ 269135 h 614713"/>
              <a:gd name="connsiteX541" fmla="*/ 325911 w 736968"/>
              <a:gd name="connsiteY541" fmla="*/ 268389 h 614713"/>
              <a:gd name="connsiteX542" fmla="*/ 325911 w 736968"/>
              <a:gd name="connsiteY542" fmla="*/ 268372 h 614713"/>
              <a:gd name="connsiteX543" fmla="*/ 326092 w 736968"/>
              <a:gd name="connsiteY543" fmla="*/ 267695 h 614713"/>
              <a:gd name="connsiteX544" fmla="*/ 326152 w 736968"/>
              <a:gd name="connsiteY544" fmla="*/ 267490 h 614713"/>
              <a:gd name="connsiteX545" fmla="*/ 326306 w 736968"/>
              <a:gd name="connsiteY545" fmla="*/ 267044 h 614713"/>
              <a:gd name="connsiteX546" fmla="*/ 326383 w 736968"/>
              <a:gd name="connsiteY546" fmla="*/ 266838 h 614713"/>
              <a:gd name="connsiteX547" fmla="*/ 326563 w 736968"/>
              <a:gd name="connsiteY547" fmla="*/ 266453 h 614713"/>
              <a:gd name="connsiteX548" fmla="*/ 326641 w 736968"/>
              <a:gd name="connsiteY548" fmla="*/ 266290 h 614713"/>
              <a:gd name="connsiteX549" fmla="*/ 326932 w 736968"/>
              <a:gd name="connsiteY549" fmla="*/ 265845 h 614713"/>
              <a:gd name="connsiteX550" fmla="*/ 328339 w 736968"/>
              <a:gd name="connsiteY550" fmla="*/ 265382 h 614713"/>
              <a:gd name="connsiteX551" fmla="*/ 331735 w 736968"/>
              <a:gd name="connsiteY551" fmla="*/ 266213 h 614713"/>
              <a:gd name="connsiteX552" fmla="*/ 334163 w 736968"/>
              <a:gd name="connsiteY552" fmla="*/ 265064 h 614713"/>
              <a:gd name="connsiteX553" fmla="*/ 335029 w 736968"/>
              <a:gd name="connsiteY553" fmla="*/ 263668 h 614713"/>
              <a:gd name="connsiteX554" fmla="*/ 335415 w 736968"/>
              <a:gd name="connsiteY554" fmla="*/ 262331 h 614713"/>
              <a:gd name="connsiteX555" fmla="*/ 335321 w 736968"/>
              <a:gd name="connsiteY555" fmla="*/ 261825 h 614713"/>
              <a:gd name="connsiteX556" fmla="*/ 333433 w 736968"/>
              <a:gd name="connsiteY556" fmla="*/ 261654 h 614713"/>
              <a:gd name="connsiteX557" fmla="*/ 332748 w 736968"/>
              <a:gd name="connsiteY557" fmla="*/ 261869 h 614713"/>
              <a:gd name="connsiteX558" fmla="*/ 331392 w 736968"/>
              <a:gd name="connsiteY558" fmla="*/ 262100 h 614713"/>
              <a:gd name="connsiteX559" fmla="*/ 330758 w 736968"/>
              <a:gd name="connsiteY559" fmla="*/ 262065 h 614713"/>
              <a:gd name="connsiteX560" fmla="*/ 329188 w 736968"/>
              <a:gd name="connsiteY560" fmla="*/ 261148 h 614713"/>
              <a:gd name="connsiteX561" fmla="*/ 328836 w 736968"/>
              <a:gd name="connsiteY561" fmla="*/ 260488 h 614713"/>
              <a:gd name="connsiteX562" fmla="*/ 328373 w 736968"/>
              <a:gd name="connsiteY562" fmla="*/ 259631 h 614713"/>
              <a:gd name="connsiteX563" fmla="*/ 325594 w 736968"/>
              <a:gd name="connsiteY563" fmla="*/ 257481 h 614713"/>
              <a:gd name="connsiteX564" fmla="*/ 323999 w 736968"/>
              <a:gd name="connsiteY564" fmla="*/ 256376 h 614713"/>
              <a:gd name="connsiteX565" fmla="*/ 323244 w 736968"/>
              <a:gd name="connsiteY565" fmla="*/ 255622 h 614713"/>
              <a:gd name="connsiteX566" fmla="*/ 322661 w 736968"/>
              <a:gd name="connsiteY566" fmla="*/ 254979 h 614713"/>
              <a:gd name="connsiteX567" fmla="*/ 322429 w 736968"/>
              <a:gd name="connsiteY567" fmla="*/ 254765 h 614713"/>
              <a:gd name="connsiteX568" fmla="*/ 322043 w 736968"/>
              <a:gd name="connsiteY568" fmla="*/ 254396 h 614713"/>
              <a:gd name="connsiteX569" fmla="*/ 321751 w 736968"/>
              <a:gd name="connsiteY569" fmla="*/ 254148 h 614713"/>
              <a:gd name="connsiteX570" fmla="*/ 321417 w 736968"/>
              <a:gd name="connsiteY570" fmla="*/ 253882 h 614713"/>
              <a:gd name="connsiteX571" fmla="*/ 321065 w 736968"/>
              <a:gd name="connsiteY571" fmla="*/ 253625 h 614713"/>
              <a:gd name="connsiteX572" fmla="*/ 320765 w 736968"/>
              <a:gd name="connsiteY572" fmla="*/ 253436 h 614713"/>
              <a:gd name="connsiteX573" fmla="*/ 320370 w 736968"/>
              <a:gd name="connsiteY573" fmla="*/ 253205 h 614713"/>
              <a:gd name="connsiteX574" fmla="*/ 320113 w 736968"/>
              <a:gd name="connsiteY574" fmla="*/ 253077 h 614713"/>
              <a:gd name="connsiteX575" fmla="*/ 319667 w 736968"/>
              <a:gd name="connsiteY575" fmla="*/ 252880 h 614713"/>
              <a:gd name="connsiteX576" fmla="*/ 319461 w 736968"/>
              <a:gd name="connsiteY576" fmla="*/ 252811 h 614713"/>
              <a:gd name="connsiteX577" fmla="*/ 318947 w 736968"/>
              <a:gd name="connsiteY577" fmla="*/ 252665 h 614713"/>
              <a:gd name="connsiteX578" fmla="*/ 318843 w 736968"/>
              <a:gd name="connsiteY578" fmla="*/ 252648 h 614713"/>
              <a:gd name="connsiteX579" fmla="*/ 314829 w 736968"/>
              <a:gd name="connsiteY579" fmla="*/ 254028 h 614713"/>
              <a:gd name="connsiteX580" fmla="*/ 314778 w 736968"/>
              <a:gd name="connsiteY580" fmla="*/ 254071 h 614713"/>
              <a:gd name="connsiteX581" fmla="*/ 314152 w 736968"/>
              <a:gd name="connsiteY581" fmla="*/ 254765 h 614713"/>
              <a:gd name="connsiteX582" fmla="*/ 314083 w 736968"/>
              <a:gd name="connsiteY582" fmla="*/ 254842 h 614713"/>
              <a:gd name="connsiteX583" fmla="*/ 313466 w 736968"/>
              <a:gd name="connsiteY583" fmla="*/ 255699 h 614713"/>
              <a:gd name="connsiteX584" fmla="*/ 313414 w 736968"/>
              <a:gd name="connsiteY584" fmla="*/ 255776 h 614713"/>
              <a:gd name="connsiteX585" fmla="*/ 312797 w 736968"/>
              <a:gd name="connsiteY585" fmla="*/ 256830 h 614713"/>
              <a:gd name="connsiteX586" fmla="*/ 311562 w 736968"/>
              <a:gd name="connsiteY586" fmla="*/ 259546 h 614713"/>
              <a:gd name="connsiteX587" fmla="*/ 305283 w 736968"/>
              <a:gd name="connsiteY587" fmla="*/ 268313 h 614713"/>
              <a:gd name="connsiteX588" fmla="*/ 307556 w 736968"/>
              <a:gd name="connsiteY588" fmla="*/ 269006 h 614713"/>
              <a:gd name="connsiteX589" fmla="*/ 309288 w 736968"/>
              <a:gd name="connsiteY589" fmla="*/ 269075 h 614713"/>
              <a:gd name="connsiteX590" fmla="*/ 311253 w 736968"/>
              <a:gd name="connsiteY590" fmla="*/ 269015 h 614713"/>
              <a:gd name="connsiteX591" fmla="*/ 313285 w 736968"/>
              <a:gd name="connsiteY591" fmla="*/ 268835 h 614713"/>
              <a:gd name="connsiteX592" fmla="*/ 314264 w 736968"/>
              <a:gd name="connsiteY592" fmla="*/ 268690 h 614713"/>
              <a:gd name="connsiteX593" fmla="*/ 314829 w 736968"/>
              <a:gd name="connsiteY593" fmla="*/ 268595 h 614713"/>
              <a:gd name="connsiteX594" fmla="*/ 315370 w 736968"/>
              <a:gd name="connsiteY594" fmla="*/ 268484 h 614713"/>
              <a:gd name="connsiteX595" fmla="*/ 315841 w 736968"/>
              <a:gd name="connsiteY595" fmla="*/ 268381 h 614713"/>
              <a:gd name="connsiteX596" fmla="*/ 316425 w 736968"/>
              <a:gd name="connsiteY596" fmla="*/ 268218 h 614713"/>
              <a:gd name="connsiteX597" fmla="*/ 316768 w 736968"/>
              <a:gd name="connsiteY597" fmla="*/ 268115 h 614713"/>
              <a:gd name="connsiteX598" fmla="*/ 317583 w 736968"/>
              <a:gd name="connsiteY598" fmla="*/ 267806 h 614713"/>
              <a:gd name="connsiteX599" fmla="*/ 318878 w 736968"/>
              <a:gd name="connsiteY599" fmla="*/ 267292 h 614713"/>
              <a:gd name="connsiteX600" fmla="*/ 318921 w 736968"/>
              <a:gd name="connsiteY600" fmla="*/ 267284 h 614713"/>
              <a:gd name="connsiteX601" fmla="*/ 320139 w 736968"/>
              <a:gd name="connsiteY601" fmla="*/ 266976 h 614713"/>
              <a:gd name="connsiteX602" fmla="*/ 322335 w 736968"/>
              <a:gd name="connsiteY602" fmla="*/ 267044 h 614713"/>
              <a:gd name="connsiteX603" fmla="*/ 324316 w 736968"/>
              <a:gd name="connsiteY603" fmla="*/ 268509 h 614713"/>
              <a:gd name="connsiteX604" fmla="*/ 325474 w 736968"/>
              <a:gd name="connsiteY604" fmla="*/ 271646 h 614713"/>
              <a:gd name="connsiteX605" fmla="*/ 363051 w 736968"/>
              <a:gd name="connsiteY605" fmla="*/ 150797 h 614713"/>
              <a:gd name="connsiteX606" fmla="*/ 363051 w 736968"/>
              <a:gd name="connsiteY606" fmla="*/ 111517 h 614713"/>
              <a:gd name="connsiteX607" fmla="*/ 269798 w 736968"/>
              <a:gd name="connsiteY607" fmla="*/ 150172 h 614713"/>
              <a:gd name="connsiteX608" fmla="*/ 297598 w 736968"/>
              <a:gd name="connsiteY608" fmla="*/ 177935 h 614713"/>
              <a:gd name="connsiteX609" fmla="*/ 363051 w 736968"/>
              <a:gd name="connsiteY609" fmla="*/ 150797 h 614713"/>
              <a:gd name="connsiteX610" fmla="*/ 363051 w 736968"/>
              <a:gd name="connsiteY610" fmla="*/ 100540 h 614713"/>
              <a:gd name="connsiteX611" fmla="*/ 363051 w 736968"/>
              <a:gd name="connsiteY611" fmla="*/ 61260 h 614713"/>
              <a:gd name="connsiteX612" fmla="*/ 234255 w 736968"/>
              <a:gd name="connsiteY612" fmla="*/ 114662 h 614713"/>
              <a:gd name="connsiteX613" fmla="*/ 262045 w 736968"/>
              <a:gd name="connsiteY613" fmla="*/ 142416 h 614713"/>
              <a:gd name="connsiteX614" fmla="*/ 363051 w 736968"/>
              <a:gd name="connsiteY614" fmla="*/ 100540 h 614713"/>
              <a:gd name="connsiteX615" fmla="*/ 226492 w 736968"/>
              <a:gd name="connsiteY615" fmla="*/ 122408 h 614713"/>
              <a:gd name="connsiteX616" fmla="*/ 173055 w 736968"/>
              <a:gd name="connsiteY616" fmla="*/ 251080 h 614713"/>
              <a:gd name="connsiteX617" fmla="*/ 212365 w 736968"/>
              <a:gd name="connsiteY617" fmla="*/ 251080 h 614713"/>
              <a:gd name="connsiteX618" fmla="*/ 254282 w 736968"/>
              <a:gd name="connsiteY618" fmla="*/ 150172 h 614713"/>
              <a:gd name="connsiteX619" fmla="*/ 226492 w 736968"/>
              <a:gd name="connsiteY619" fmla="*/ 122408 h 614713"/>
              <a:gd name="connsiteX620" fmla="*/ 173055 w 736968"/>
              <a:gd name="connsiteY620" fmla="*/ 262048 h 614713"/>
              <a:gd name="connsiteX621" fmla="*/ 183683 w 736968"/>
              <a:gd name="connsiteY621" fmla="*/ 320369 h 614713"/>
              <a:gd name="connsiteX622" fmla="*/ 184360 w 736968"/>
              <a:gd name="connsiteY622" fmla="*/ 320335 h 614713"/>
              <a:gd name="connsiteX623" fmla="*/ 196197 w 736968"/>
              <a:gd name="connsiteY623" fmla="*/ 318338 h 614713"/>
              <a:gd name="connsiteX624" fmla="*/ 198916 w 736968"/>
              <a:gd name="connsiteY624" fmla="*/ 300241 h 614713"/>
              <a:gd name="connsiteX625" fmla="*/ 211636 w 736968"/>
              <a:gd name="connsiteY625" fmla="*/ 281603 h 614713"/>
              <a:gd name="connsiteX626" fmla="*/ 214552 w 736968"/>
              <a:gd name="connsiteY626" fmla="*/ 283248 h 614713"/>
              <a:gd name="connsiteX627" fmla="*/ 212373 w 736968"/>
              <a:gd name="connsiteY627" fmla="*/ 262048 h 614713"/>
              <a:gd name="connsiteX628" fmla="*/ 173055 w 736968"/>
              <a:gd name="connsiteY628" fmla="*/ 262048 h 614713"/>
              <a:gd name="connsiteX629" fmla="*/ 363051 w 736968"/>
              <a:gd name="connsiteY629" fmla="*/ 462837 h 614713"/>
              <a:gd name="connsiteX630" fmla="*/ 226492 w 736968"/>
              <a:gd name="connsiteY630" fmla="*/ 406230 h 614713"/>
              <a:gd name="connsiteX631" fmla="*/ 198590 w 736968"/>
              <a:gd name="connsiteY631" fmla="*/ 434105 h 614713"/>
              <a:gd name="connsiteX632" fmla="*/ 363051 w 736968"/>
              <a:gd name="connsiteY632" fmla="*/ 502101 h 614713"/>
              <a:gd name="connsiteX633" fmla="*/ 363051 w 736968"/>
              <a:gd name="connsiteY633" fmla="*/ 462837 h 614713"/>
              <a:gd name="connsiteX634" fmla="*/ 363051 w 736968"/>
              <a:gd name="connsiteY634" fmla="*/ 412597 h 614713"/>
              <a:gd name="connsiteX635" fmla="*/ 268735 w 736968"/>
              <a:gd name="connsiteY635" fmla="*/ 376718 h 614713"/>
              <a:gd name="connsiteX636" fmla="*/ 270262 w 736968"/>
              <a:gd name="connsiteY636" fmla="*/ 378827 h 614713"/>
              <a:gd name="connsiteX637" fmla="*/ 274362 w 736968"/>
              <a:gd name="connsiteY637" fmla="*/ 390823 h 614713"/>
              <a:gd name="connsiteX638" fmla="*/ 262431 w 736968"/>
              <a:gd name="connsiteY638" fmla="*/ 391457 h 614713"/>
              <a:gd name="connsiteX639" fmla="*/ 251161 w 736968"/>
              <a:gd name="connsiteY639" fmla="*/ 397002 h 614713"/>
              <a:gd name="connsiteX640" fmla="*/ 241845 w 736968"/>
              <a:gd name="connsiteY640" fmla="*/ 395947 h 614713"/>
              <a:gd name="connsiteX641" fmla="*/ 238680 w 736968"/>
              <a:gd name="connsiteY641" fmla="*/ 394054 h 614713"/>
              <a:gd name="connsiteX642" fmla="*/ 234255 w 736968"/>
              <a:gd name="connsiteY642" fmla="*/ 398475 h 614713"/>
              <a:gd name="connsiteX643" fmla="*/ 363051 w 736968"/>
              <a:gd name="connsiteY643" fmla="*/ 451869 h 614713"/>
              <a:gd name="connsiteX644" fmla="*/ 363051 w 736968"/>
              <a:gd name="connsiteY644" fmla="*/ 412597 h 614713"/>
              <a:gd name="connsiteX645" fmla="*/ 363051 w 736968"/>
              <a:gd name="connsiteY645" fmla="*/ 398792 h 614713"/>
              <a:gd name="connsiteX646" fmla="*/ 347174 w 736968"/>
              <a:gd name="connsiteY646" fmla="*/ 397704 h 614713"/>
              <a:gd name="connsiteX647" fmla="*/ 337576 w 736968"/>
              <a:gd name="connsiteY647" fmla="*/ 389838 h 614713"/>
              <a:gd name="connsiteX648" fmla="*/ 331204 w 736968"/>
              <a:gd name="connsiteY648" fmla="*/ 379289 h 614713"/>
              <a:gd name="connsiteX649" fmla="*/ 335346 w 736968"/>
              <a:gd name="connsiteY649" fmla="*/ 369718 h 614713"/>
              <a:gd name="connsiteX650" fmla="*/ 343238 w 736968"/>
              <a:gd name="connsiteY650" fmla="*/ 359409 h 614713"/>
              <a:gd name="connsiteX651" fmla="*/ 297598 w 736968"/>
              <a:gd name="connsiteY651" fmla="*/ 335193 h 614713"/>
              <a:gd name="connsiteX652" fmla="*/ 269747 w 736968"/>
              <a:gd name="connsiteY652" fmla="*/ 363017 h 614713"/>
              <a:gd name="connsiteX653" fmla="*/ 363051 w 736968"/>
              <a:gd name="connsiteY653" fmla="*/ 401603 h 614713"/>
              <a:gd name="connsiteX654" fmla="*/ 363051 w 736968"/>
              <a:gd name="connsiteY654" fmla="*/ 398792 h 614713"/>
              <a:gd name="connsiteX655" fmla="*/ 371551 w 736968"/>
              <a:gd name="connsiteY655" fmla="*/ 346307 h 614713"/>
              <a:gd name="connsiteX656" fmla="*/ 383954 w 736968"/>
              <a:gd name="connsiteY656" fmla="*/ 344020 h 614713"/>
              <a:gd name="connsiteX657" fmla="*/ 386235 w 736968"/>
              <a:gd name="connsiteY657" fmla="*/ 349726 h 614713"/>
              <a:gd name="connsiteX658" fmla="*/ 402078 w 736968"/>
              <a:gd name="connsiteY658" fmla="*/ 349341 h 614713"/>
              <a:gd name="connsiteX659" fmla="*/ 405526 w 736968"/>
              <a:gd name="connsiteY659" fmla="*/ 345528 h 614713"/>
              <a:gd name="connsiteX660" fmla="*/ 418409 w 736968"/>
              <a:gd name="connsiteY660" fmla="*/ 341466 h 614713"/>
              <a:gd name="connsiteX661" fmla="*/ 423864 w 736968"/>
              <a:gd name="connsiteY661" fmla="*/ 338227 h 614713"/>
              <a:gd name="connsiteX662" fmla="*/ 420253 w 736968"/>
              <a:gd name="connsiteY662" fmla="*/ 329855 h 614713"/>
              <a:gd name="connsiteX663" fmla="*/ 413957 w 736968"/>
              <a:gd name="connsiteY663" fmla="*/ 334123 h 614713"/>
              <a:gd name="connsiteX664" fmla="*/ 407173 w 736968"/>
              <a:gd name="connsiteY664" fmla="*/ 333505 h 614713"/>
              <a:gd name="connsiteX665" fmla="*/ 409729 w 736968"/>
              <a:gd name="connsiteY665" fmla="*/ 327550 h 614713"/>
              <a:gd name="connsiteX666" fmla="*/ 416694 w 736968"/>
              <a:gd name="connsiteY666" fmla="*/ 322460 h 614713"/>
              <a:gd name="connsiteX667" fmla="*/ 422543 w 736968"/>
              <a:gd name="connsiteY667" fmla="*/ 317421 h 614713"/>
              <a:gd name="connsiteX668" fmla="*/ 414369 w 736968"/>
              <a:gd name="connsiteY668" fmla="*/ 316419 h 614713"/>
              <a:gd name="connsiteX669" fmla="*/ 413579 w 736968"/>
              <a:gd name="connsiteY669" fmla="*/ 312948 h 614713"/>
              <a:gd name="connsiteX670" fmla="*/ 412345 w 736968"/>
              <a:gd name="connsiteY670" fmla="*/ 317396 h 614713"/>
              <a:gd name="connsiteX671" fmla="*/ 408194 w 736968"/>
              <a:gd name="connsiteY671" fmla="*/ 318955 h 614713"/>
              <a:gd name="connsiteX672" fmla="*/ 405783 w 736968"/>
              <a:gd name="connsiteY672" fmla="*/ 326462 h 614713"/>
              <a:gd name="connsiteX673" fmla="*/ 406916 w 736968"/>
              <a:gd name="connsiteY673" fmla="*/ 329923 h 614713"/>
              <a:gd name="connsiteX674" fmla="*/ 402918 w 736968"/>
              <a:gd name="connsiteY674" fmla="*/ 331783 h 614713"/>
              <a:gd name="connsiteX675" fmla="*/ 402918 w 736968"/>
              <a:gd name="connsiteY675" fmla="*/ 335956 h 614713"/>
              <a:gd name="connsiteX676" fmla="*/ 401340 w 736968"/>
              <a:gd name="connsiteY676" fmla="*/ 337858 h 614713"/>
              <a:gd name="connsiteX677" fmla="*/ 395920 w 736968"/>
              <a:gd name="connsiteY677" fmla="*/ 334191 h 614713"/>
              <a:gd name="connsiteX678" fmla="*/ 387496 w 736968"/>
              <a:gd name="connsiteY678" fmla="*/ 329949 h 614713"/>
              <a:gd name="connsiteX679" fmla="*/ 390095 w 736968"/>
              <a:gd name="connsiteY679" fmla="*/ 334328 h 614713"/>
              <a:gd name="connsiteX680" fmla="*/ 393106 w 736968"/>
              <a:gd name="connsiteY680" fmla="*/ 338749 h 614713"/>
              <a:gd name="connsiteX681" fmla="*/ 386844 w 736968"/>
              <a:gd name="connsiteY681" fmla="*/ 335528 h 614713"/>
              <a:gd name="connsiteX682" fmla="*/ 380471 w 736968"/>
              <a:gd name="connsiteY682" fmla="*/ 332794 h 614713"/>
              <a:gd name="connsiteX683" fmla="*/ 375685 w 736968"/>
              <a:gd name="connsiteY683" fmla="*/ 334756 h 614713"/>
              <a:gd name="connsiteX684" fmla="*/ 371088 w 736968"/>
              <a:gd name="connsiteY684" fmla="*/ 338081 h 614713"/>
              <a:gd name="connsiteX685" fmla="*/ 366216 w 736968"/>
              <a:gd name="connsiteY685" fmla="*/ 344885 h 614713"/>
              <a:gd name="connsiteX686" fmla="*/ 355083 w 736968"/>
              <a:gd name="connsiteY686" fmla="*/ 341612 h 614713"/>
              <a:gd name="connsiteX687" fmla="*/ 357768 w 736968"/>
              <a:gd name="connsiteY687" fmla="*/ 333788 h 614713"/>
              <a:gd name="connsiteX688" fmla="*/ 365453 w 736968"/>
              <a:gd name="connsiteY688" fmla="*/ 334808 h 614713"/>
              <a:gd name="connsiteX689" fmla="*/ 365847 w 736968"/>
              <a:gd name="connsiteY689" fmla="*/ 328758 h 614713"/>
              <a:gd name="connsiteX690" fmla="*/ 363368 w 736968"/>
              <a:gd name="connsiteY690" fmla="*/ 326479 h 614713"/>
              <a:gd name="connsiteX691" fmla="*/ 369338 w 736968"/>
              <a:gd name="connsiteY691" fmla="*/ 323994 h 614713"/>
              <a:gd name="connsiteX692" fmla="*/ 374502 w 736968"/>
              <a:gd name="connsiteY692" fmla="*/ 318295 h 614713"/>
              <a:gd name="connsiteX693" fmla="*/ 377924 w 736968"/>
              <a:gd name="connsiteY693" fmla="*/ 316444 h 614713"/>
              <a:gd name="connsiteX694" fmla="*/ 376586 w 736968"/>
              <a:gd name="connsiteY694" fmla="*/ 312391 h 614713"/>
              <a:gd name="connsiteX695" fmla="*/ 378139 w 736968"/>
              <a:gd name="connsiteY695" fmla="*/ 310292 h 614713"/>
              <a:gd name="connsiteX696" fmla="*/ 379614 w 736968"/>
              <a:gd name="connsiteY696" fmla="*/ 313771 h 614713"/>
              <a:gd name="connsiteX697" fmla="*/ 381407 w 736968"/>
              <a:gd name="connsiteY697" fmla="*/ 315245 h 614713"/>
              <a:gd name="connsiteX698" fmla="*/ 388680 w 736968"/>
              <a:gd name="connsiteY698" fmla="*/ 312554 h 614713"/>
              <a:gd name="connsiteX699" fmla="*/ 388818 w 736968"/>
              <a:gd name="connsiteY699" fmla="*/ 307198 h 614713"/>
              <a:gd name="connsiteX700" fmla="*/ 390619 w 736968"/>
              <a:gd name="connsiteY700" fmla="*/ 306718 h 614713"/>
              <a:gd name="connsiteX701" fmla="*/ 389521 w 736968"/>
              <a:gd name="connsiteY701" fmla="*/ 303822 h 614713"/>
              <a:gd name="connsiteX702" fmla="*/ 393278 w 736968"/>
              <a:gd name="connsiteY702" fmla="*/ 300523 h 614713"/>
              <a:gd name="connsiteX703" fmla="*/ 389092 w 736968"/>
              <a:gd name="connsiteY703" fmla="*/ 302631 h 614713"/>
              <a:gd name="connsiteX704" fmla="*/ 385583 w 736968"/>
              <a:gd name="connsiteY704" fmla="*/ 299066 h 614713"/>
              <a:gd name="connsiteX705" fmla="*/ 385789 w 736968"/>
              <a:gd name="connsiteY705" fmla="*/ 294002 h 614713"/>
              <a:gd name="connsiteX706" fmla="*/ 383680 w 736968"/>
              <a:gd name="connsiteY706" fmla="*/ 297961 h 614713"/>
              <a:gd name="connsiteX707" fmla="*/ 384031 w 736968"/>
              <a:gd name="connsiteY707" fmla="*/ 303985 h 614713"/>
              <a:gd name="connsiteX708" fmla="*/ 382642 w 736968"/>
              <a:gd name="connsiteY708" fmla="*/ 312425 h 614713"/>
              <a:gd name="connsiteX709" fmla="*/ 378877 w 736968"/>
              <a:gd name="connsiteY709" fmla="*/ 307824 h 614713"/>
              <a:gd name="connsiteX710" fmla="*/ 378388 w 736968"/>
              <a:gd name="connsiteY710" fmla="*/ 307267 h 614713"/>
              <a:gd name="connsiteX711" fmla="*/ 378336 w 736968"/>
              <a:gd name="connsiteY711" fmla="*/ 307241 h 614713"/>
              <a:gd name="connsiteX712" fmla="*/ 378096 w 736968"/>
              <a:gd name="connsiteY712" fmla="*/ 307198 h 614713"/>
              <a:gd name="connsiteX713" fmla="*/ 378087 w 736968"/>
              <a:gd name="connsiteY713" fmla="*/ 307198 h 614713"/>
              <a:gd name="connsiteX714" fmla="*/ 377830 w 736968"/>
              <a:gd name="connsiteY714" fmla="*/ 307327 h 614713"/>
              <a:gd name="connsiteX715" fmla="*/ 377761 w 736968"/>
              <a:gd name="connsiteY715" fmla="*/ 307387 h 614713"/>
              <a:gd name="connsiteX716" fmla="*/ 377478 w 736968"/>
              <a:gd name="connsiteY716" fmla="*/ 307729 h 614713"/>
              <a:gd name="connsiteX717" fmla="*/ 376870 w 736968"/>
              <a:gd name="connsiteY717" fmla="*/ 308749 h 614713"/>
              <a:gd name="connsiteX718" fmla="*/ 376063 w 736968"/>
              <a:gd name="connsiteY718" fmla="*/ 310669 h 614713"/>
              <a:gd name="connsiteX719" fmla="*/ 374665 w 736968"/>
              <a:gd name="connsiteY719" fmla="*/ 311903 h 614713"/>
              <a:gd name="connsiteX720" fmla="*/ 368541 w 736968"/>
              <a:gd name="connsiteY720" fmla="*/ 312262 h 614713"/>
              <a:gd name="connsiteX721" fmla="*/ 366156 w 736968"/>
              <a:gd name="connsiteY721" fmla="*/ 312211 h 614713"/>
              <a:gd name="connsiteX722" fmla="*/ 367297 w 736968"/>
              <a:gd name="connsiteY722" fmla="*/ 315648 h 614713"/>
              <a:gd name="connsiteX723" fmla="*/ 370119 w 736968"/>
              <a:gd name="connsiteY723" fmla="*/ 320883 h 614713"/>
              <a:gd name="connsiteX724" fmla="*/ 362879 w 736968"/>
              <a:gd name="connsiteY724" fmla="*/ 322674 h 614713"/>
              <a:gd name="connsiteX725" fmla="*/ 364303 w 736968"/>
              <a:gd name="connsiteY725" fmla="*/ 317241 h 614713"/>
              <a:gd name="connsiteX726" fmla="*/ 362965 w 736968"/>
              <a:gd name="connsiteY726" fmla="*/ 311980 h 614713"/>
              <a:gd name="connsiteX727" fmla="*/ 333211 w 736968"/>
              <a:gd name="connsiteY727" fmla="*/ 299615 h 614713"/>
              <a:gd name="connsiteX728" fmla="*/ 305369 w 736968"/>
              <a:gd name="connsiteY728" fmla="*/ 327430 h 614713"/>
              <a:gd name="connsiteX729" fmla="*/ 355452 w 736968"/>
              <a:gd name="connsiteY729" fmla="*/ 350609 h 614713"/>
              <a:gd name="connsiteX730" fmla="*/ 361379 w 736968"/>
              <a:gd name="connsiteY730" fmla="*/ 347618 h 614713"/>
              <a:gd name="connsiteX731" fmla="*/ 371552 w 736968"/>
              <a:gd name="connsiteY731" fmla="*/ 346307 h 614713"/>
              <a:gd name="connsiteX732" fmla="*/ 374030 w 736968"/>
              <a:gd name="connsiteY732" fmla="*/ 412589 h 614713"/>
              <a:gd name="connsiteX733" fmla="*/ 374030 w 736968"/>
              <a:gd name="connsiteY733" fmla="*/ 451869 h 614713"/>
              <a:gd name="connsiteX734" fmla="*/ 420176 w 736968"/>
              <a:gd name="connsiteY734" fmla="*/ 445022 h 614713"/>
              <a:gd name="connsiteX735" fmla="*/ 411908 w 736968"/>
              <a:gd name="connsiteY735" fmla="*/ 436890 h 614713"/>
              <a:gd name="connsiteX736" fmla="*/ 407147 w 736968"/>
              <a:gd name="connsiteY736" fmla="*/ 424799 h 614713"/>
              <a:gd name="connsiteX737" fmla="*/ 406066 w 736968"/>
              <a:gd name="connsiteY737" fmla="*/ 417061 h 614713"/>
              <a:gd name="connsiteX738" fmla="*/ 397257 w 736968"/>
              <a:gd name="connsiteY738" fmla="*/ 410009 h 614713"/>
              <a:gd name="connsiteX739" fmla="*/ 374030 w 736968"/>
              <a:gd name="connsiteY739" fmla="*/ 412589 h 614713"/>
              <a:gd name="connsiteX740" fmla="*/ 392901 w 736968"/>
              <a:gd name="connsiteY740" fmla="*/ 399667 h 614713"/>
              <a:gd name="connsiteX741" fmla="*/ 387162 w 736968"/>
              <a:gd name="connsiteY741" fmla="*/ 398672 h 614713"/>
              <a:gd name="connsiteX742" fmla="*/ 374030 w 736968"/>
              <a:gd name="connsiteY742" fmla="*/ 396624 h 614713"/>
              <a:gd name="connsiteX743" fmla="*/ 374030 w 736968"/>
              <a:gd name="connsiteY743" fmla="*/ 401620 h 614713"/>
              <a:gd name="connsiteX744" fmla="*/ 392901 w 736968"/>
              <a:gd name="connsiteY744" fmla="*/ 399667 h 614713"/>
              <a:gd name="connsiteX745" fmla="*/ 538481 w 736968"/>
              <a:gd name="connsiteY745" fmla="*/ 434105 h 614713"/>
              <a:gd name="connsiteX746" fmla="*/ 510579 w 736968"/>
              <a:gd name="connsiteY746" fmla="*/ 406230 h 614713"/>
              <a:gd name="connsiteX747" fmla="*/ 462016 w 736968"/>
              <a:gd name="connsiteY747" fmla="*/ 440532 h 614713"/>
              <a:gd name="connsiteX748" fmla="*/ 443532 w 736968"/>
              <a:gd name="connsiteY748" fmla="*/ 450643 h 614713"/>
              <a:gd name="connsiteX749" fmla="*/ 436215 w 736968"/>
              <a:gd name="connsiteY749" fmla="*/ 453017 h 614713"/>
              <a:gd name="connsiteX750" fmla="*/ 433943 w 736968"/>
              <a:gd name="connsiteY750" fmla="*/ 452298 h 614713"/>
              <a:gd name="connsiteX751" fmla="*/ 374030 w 736968"/>
              <a:gd name="connsiteY751" fmla="*/ 462837 h 614713"/>
              <a:gd name="connsiteX752" fmla="*/ 374030 w 736968"/>
              <a:gd name="connsiteY752" fmla="*/ 502101 h 614713"/>
              <a:gd name="connsiteX753" fmla="*/ 538481 w 736968"/>
              <a:gd name="connsiteY753" fmla="*/ 434105 h 614713"/>
              <a:gd name="connsiteX754" fmla="*/ 483477 w 736968"/>
              <a:gd name="connsiteY754" fmla="*/ 150112 h 614713"/>
              <a:gd name="connsiteX755" fmla="*/ 483159 w 736968"/>
              <a:gd name="connsiteY755" fmla="*/ 150566 h 614713"/>
              <a:gd name="connsiteX756" fmla="*/ 500590 w 736968"/>
              <a:gd name="connsiteY756" fmla="*/ 173205 h 614713"/>
              <a:gd name="connsiteX757" fmla="*/ 502491 w 736968"/>
              <a:gd name="connsiteY757" fmla="*/ 172717 h 614713"/>
              <a:gd name="connsiteX758" fmla="*/ 505158 w 736968"/>
              <a:gd name="connsiteY758" fmla="*/ 176427 h 614713"/>
              <a:gd name="connsiteX759" fmla="*/ 505124 w 736968"/>
              <a:gd name="connsiteY759" fmla="*/ 180840 h 614713"/>
              <a:gd name="connsiteX760" fmla="*/ 508780 w 736968"/>
              <a:gd name="connsiteY760" fmla="*/ 187789 h 614713"/>
              <a:gd name="connsiteX761" fmla="*/ 511549 w 736968"/>
              <a:gd name="connsiteY761" fmla="*/ 190172 h 614713"/>
              <a:gd name="connsiteX762" fmla="*/ 513779 w 736968"/>
              <a:gd name="connsiteY762" fmla="*/ 199041 h 614713"/>
              <a:gd name="connsiteX763" fmla="*/ 518944 w 736968"/>
              <a:gd name="connsiteY763" fmla="*/ 214225 h 614713"/>
              <a:gd name="connsiteX764" fmla="*/ 523487 w 736968"/>
              <a:gd name="connsiteY764" fmla="*/ 216324 h 614713"/>
              <a:gd name="connsiteX765" fmla="*/ 521552 w 736968"/>
              <a:gd name="connsiteY765" fmla="*/ 224928 h 614713"/>
              <a:gd name="connsiteX766" fmla="*/ 524714 w 736968"/>
              <a:gd name="connsiteY766" fmla="*/ 251080 h 614713"/>
              <a:gd name="connsiteX767" fmla="*/ 564026 w 736968"/>
              <a:gd name="connsiteY767" fmla="*/ 251080 h 614713"/>
              <a:gd name="connsiteX768" fmla="*/ 547393 w 736968"/>
              <a:gd name="connsiteY768" fmla="*/ 177396 h 614713"/>
              <a:gd name="connsiteX769" fmla="*/ 544246 w 736968"/>
              <a:gd name="connsiteY769" fmla="*/ 179744 h 614713"/>
              <a:gd name="connsiteX770" fmla="*/ 537273 w 736968"/>
              <a:gd name="connsiteY770" fmla="*/ 176924 h 614713"/>
              <a:gd name="connsiteX771" fmla="*/ 522736 w 736968"/>
              <a:gd name="connsiteY771" fmla="*/ 160866 h 614713"/>
              <a:gd name="connsiteX772" fmla="*/ 514570 w 736968"/>
              <a:gd name="connsiteY772" fmla="*/ 155973 h 614713"/>
              <a:gd name="connsiteX773" fmla="*/ 507185 w 736968"/>
              <a:gd name="connsiteY773" fmla="*/ 150386 h 614713"/>
              <a:gd name="connsiteX774" fmla="*/ 502045 w 736968"/>
              <a:gd name="connsiteY774" fmla="*/ 145176 h 614713"/>
              <a:gd name="connsiteX775" fmla="*/ 492797 w 736968"/>
              <a:gd name="connsiteY775" fmla="*/ 140180 h 614713"/>
              <a:gd name="connsiteX776" fmla="*/ 483391 w 736968"/>
              <a:gd name="connsiteY776" fmla="*/ 149581 h 614713"/>
              <a:gd name="connsiteX777" fmla="*/ 483477 w 736968"/>
              <a:gd name="connsiteY777" fmla="*/ 150112 h 614713"/>
              <a:gd name="connsiteX778" fmla="*/ 508426 w 736968"/>
              <a:gd name="connsiteY778" fmla="*/ 388570 h 614713"/>
              <a:gd name="connsiteX779" fmla="*/ 510579 w 736968"/>
              <a:gd name="connsiteY779" fmla="*/ 390720 h 614713"/>
              <a:gd name="connsiteX780" fmla="*/ 564026 w 736968"/>
              <a:gd name="connsiteY780" fmla="*/ 262048 h 614713"/>
              <a:gd name="connsiteX781" fmla="*/ 524714 w 736968"/>
              <a:gd name="connsiteY781" fmla="*/ 262048 h 614713"/>
              <a:gd name="connsiteX782" fmla="*/ 482799 w 736968"/>
              <a:gd name="connsiteY782" fmla="*/ 362966 h 614713"/>
              <a:gd name="connsiteX783" fmla="*/ 496987 w 736968"/>
              <a:gd name="connsiteY783" fmla="*/ 377138 h 614713"/>
              <a:gd name="connsiteX784" fmla="*/ 497278 w 736968"/>
              <a:gd name="connsiteY784" fmla="*/ 376547 h 614713"/>
              <a:gd name="connsiteX785" fmla="*/ 498141 w 736968"/>
              <a:gd name="connsiteY785" fmla="*/ 368535 h 614713"/>
              <a:gd name="connsiteX786" fmla="*/ 504062 w 736968"/>
              <a:gd name="connsiteY786" fmla="*/ 369863 h 614713"/>
              <a:gd name="connsiteX787" fmla="*/ 507340 w 736968"/>
              <a:gd name="connsiteY787" fmla="*/ 378613 h 614713"/>
              <a:gd name="connsiteX788" fmla="*/ 508426 w 736968"/>
              <a:gd name="connsiteY788" fmla="*/ 388570 h 614713"/>
              <a:gd name="connsiteX789" fmla="*/ 478578 w 736968"/>
              <a:gd name="connsiteY789" fmla="*/ 413077 h 614713"/>
              <a:gd name="connsiteX790" fmla="*/ 473193 w 736968"/>
              <a:gd name="connsiteY790" fmla="*/ 421535 h 614713"/>
              <a:gd name="connsiteX791" fmla="*/ 502825 w 736968"/>
              <a:gd name="connsiteY791" fmla="*/ 398475 h 614713"/>
              <a:gd name="connsiteX792" fmla="*/ 475036 w 736968"/>
              <a:gd name="connsiteY792" fmla="*/ 370720 h 614713"/>
              <a:gd name="connsiteX793" fmla="*/ 469067 w 736968"/>
              <a:gd name="connsiteY793" fmla="*/ 375982 h 614713"/>
              <a:gd name="connsiteX794" fmla="*/ 472935 w 736968"/>
              <a:gd name="connsiteY794" fmla="*/ 382863 h 614713"/>
              <a:gd name="connsiteX795" fmla="*/ 482713 w 736968"/>
              <a:gd name="connsiteY795" fmla="*/ 392606 h 614713"/>
              <a:gd name="connsiteX796" fmla="*/ 474942 w 736968"/>
              <a:gd name="connsiteY796" fmla="*/ 405587 h 614713"/>
              <a:gd name="connsiteX797" fmla="*/ 478578 w 736968"/>
              <a:gd name="connsiteY797" fmla="*/ 413077 h 614713"/>
              <a:gd name="connsiteX798" fmla="*/ 485063 w 736968"/>
              <a:gd name="connsiteY798" fmla="*/ 250583 h 614713"/>
              <a:gd name="connsiteX799" fmla="*/ 484780 w 736968"/>
              <a:gd name="connsiteY799" fmla="*/ 251080 h 614713"/>
              <a:gd name="connsiteX800" fmla="*/ 513726 w 736968"/>
              <a:gd name="connsiteY800" fmla="*/ 251080 h 614713"/>
              <a:gd name="connsiteX801" fmla="*/ 512727 w 736968"/>
              <a:gd name="connsiteY801" fmla="*/ 238689 h 614713"/>
              <a:gd name="connsiteX802" fmla="*/ 512048 w 736968"/>
              <a:gd name="connsiteY802" fmla="*/ 239966 h 614713"/>
              <a:gd name="connsiteX803" fmla="*/ 509716 w 736968"/>
              <a:gd name="connsiteY803" fmla="*/ 239795 h 614713"/>
              <a:gd name="connsiteX804" fmla="*/ 511801 w 736968"/>
              <a:gd name="connsiteY804" fmla="*/ 232417 h 614713"/>
              <a:gd name="connsiteX805" fmla="*/ 511069 w 736968"/>
              <a:gd name="connsiteY805" fmla="*/ 228441 h 614713"/>
              <a:gd name="connsiteX806" fmla="*/ 506986 w 736968"/>
              <a:gd name="connsiteY806" fmla="*/ 231526 h 614713"/>
              <a:gd name="connsiteX807" fmla="*/ 504028 w 736968"/>
              <a:gd name="connsiteY807" fmla="*/ 236333 h 614713"/>
              <a:gd name="connsiteX808" fmla="*/ 497671 w 736968"/>
              <a:gd name="connsiteY808" fmla="*/ 237267 h 614713"/>
              <a:gd name="connsiteX809" fmla="*/ 491735 w 736968"/>
              <a:gd name="connsiteY809" fmla="*/ 244559 h 614713"/>
              <a:gd name="connsiteX810" fmla="*/ 485063 w 736968"/>
              <a:gd name="connsiteY810" fmla="*/ 250583 h 614713"/>
              <a:gd name="connsiteX811" fmla="*/ 475036 w 736968"/>
              <a:gd name="connsiteY811" fmla="*/ 157926 h 614713"/>
              <a:gd name="connsiteX812" fmla="*/ 447246 w 736968"/>
              <a:gd name="connsiteY812" fmla="*/ 185690 h 614713"/>
              <a:gd name="connsiteX813" fmla="*/ 459914 w 736968"/>
              <a:gd name="connsiteY813" fmla="*/ 202948 h 614713"/>
              <a:gd name="connsiteX814" fmla="*/ 470516 w 736968"/>
              <a:gd name="connsiteY814" fmla="*/ 208458 h 614713"/>
              <a:gd name="connsiteX815" fmla="*/ 477515 w 736968"/>
              <a:gd name="connsiteY815" fmla="*/ 218672 h 614713"/>
              <a:gd name="connsiteX816" fmla="*/ 479531 w 736968"/>
              <a:gd name="connsiteY816" fmla="*/ 222836 h 614713"/>
              <a:gd name="connsiteX817" fmla="*/ 484154 w 736968"/>
              <a:gd name="connsiteY817" fmla="*/ 222803 h 614713"/>
              <a:gd name="connsiteX818" fmla="*/ 489214 w 736968"/>
              <a:gd name="connsiteY818" fmla="*/ 214430 h 614713"/>
              <a:gd name="connsiteX819" fmla="*/ 499353 w 736968"/>
              <a:gd name="connsiteY819" fmla="*/ 221054 h 614713"/>
              <a:gd name="connsiteX820" fmla="*/ 497079 w 736968"/>
              <a:gd name="connsiteY820" fmla="*/ 225416 h 614713"/>
              <a:gd name="connsiteX821" fmla="*/ 496808 w 736968"/>
              <a:gd name="connsiteY821" fmla="*/ 234293 h 614713"/>
              <a:gd name="connsiteX822" fmla="*/ 504843 w 736968"/>
              <a:gd name="connsiteY822" fmla="*/ 230523 h 614713"/>
              <a:gd name="connsiteX823" fmla="*/ 506899 w 736968"/>
              <a:gd name="connsiteY823" fmla="*/ 224687 h 614713"/>
              <a:gd name="connsiteX824" fmla="*/ 509784 w 736968"/>
              <a:gd name="connsiteY824" fmla="*/ 222579 h 614713"/>
              <a:gd name="connsiteX825" fmla="*/ 502336 w 736968"/>
              <a:gd name="connsiteY825" fmla="*/ 199992 h 614713"/>
              <a:gd name="connsiteX826" fmla="*/ 499669 w 736968"/>
              <a:gd name="connsiteY826" fmla="*/ 198329 h 614713"/>
              <a:gd name="connsiteX827" fmla="*/ 496541 w 736968"/>
              <a:gd name="connsiteY827" fmla="*/ 195399 h 614713"/>
              <a:gd name="connsiteX828" fmla="*/ 492550 w 736968"/>
              <a:gd name="connsiteY828" fmla="*/ 189057 h 614713"/>
              <a:gd name="connsiteX829" fmla="*/ 496619 w 736968"/>
              <a:gd name="connsiteY829" fmla="*/ 189649 h 614713"/>
              <a:gd name="connsiteX830" fmla="*/ 497123 w 736968"/>
              <a:gd name="connsiteY830" fmla="*/ 189024 h 614713"/>
              <a:gd name="connsiteX831" fmla="*/ 475036 w 736968"/>
              <a:gd name="connsiteY831" fmla="*/ 157926 h 614713"/>
              <a:gd name="connsiteX832" fmla="*/ 441319 w 736968"/>
              <a:gd name="connsiteY832" fmla="*/ 195622 h 614713"/>
              <a:gd name="connsiteX833" fmla="*/ 437949 w 736968"/>
              <a:gd name="connsiteY833" fmla="*/ 194979 h 614713"/>
              <a:gd name="connsiteX834" fmla="*/ 428762 w 736968"/>
              <a:gd name="connsiteY834" fmla="*/ 204148 h 614713"/>
              <a:gd name="connsiteX835" fmla="*/ 434663 w 736968"/>
              <a:gd name="connsiteY835" fmla="*/ 204945 h 614713"/>
              <a:gd name="connsiteX836" fmla="*/ 439654 w 736968"/>
              <a:gd name="connsiteY836" fmla="*/ 198844 h 614713"/>
              <a:gd name="connsiteX837" fmla="*/ 441293 w 736968"/>
              <a:gd name="connsiteY837" fmla="*/ 203214 h 614713"/>
              <a:gd name="connsiteX838" fmla="*/ 438857 w 736968"/>
              <a:gd name="connsiteY838" fmla="*/ 207181 h 614713"/>
              <a:gd name="connsiteX839" fmla="*/ 441079 w 736968"/>
              <a:gd name="connsiteY839" fmla="*/ 211689 h 614713"/>
              <a:gd name="connsiteX840" fmla="*/ 442914 w 736968"/>
              <a:gd name="connsiteY840" fmla="*/ 215510 h 614713"/>
              <a:gd name="connsiteX841" fmla="*/ 443789 w 736968"/>
              <a:gd name="connsiteY841" fmla="*/ 209863 h 614713"/>
              <a:gd name="connsiteX842" fmla="*/ 448678 w 736968"/>
              <a:gd name="connsiteY842" fmla="*/ 210352 h 614713"/>
              <a:gd name="connsiteX843" fmla="*/ 450231 w 736968"/>
              <a:gd name="connsiteY843" fmla="*/ 208158 h 614713"/>
              <a:gd name="connsiteX844" fmla="*/ 441319 w 736968"/>
              <a:gd name="connsiteY844" fmla="*/ 195622 h 614713"/>
              <a:gd name="connsiteX845" fmla="*/ 426995 w 736968"/>
              <a:gd name="connsiteY845" fmla="*/ 341397 h 614713"/>
              <a:gd name="connsiteX846" fmla="*/ 424524 w 736968"/>
              <a:gd name="connsiteY846" fmla="*/ 342442 h 614713"/>
              <a:gd name="connsiteX847" fmla="*/ 442503 w 736968"/>
              <a:gd name="connsiteY847" fmla="*/ 351020 h 614713"/>
              <a:gd name="connsiteX848" fmla="*/ 453319 w 736968"/>
              <a:gd name="connsiteY848" fmla="*/ 351380 h 614713"/>
              <a:gd name="connsiteX849" fmla="*/ 460112 w 736968"/>
              <a:gd name="connsiteY849" fmla="*/ 352331 h 614713"/>
              <a:gd name="connsiteX850" fmla="*/ 465884 w 736968"/>
              <a:gd name="connsiteY850" fmla="*/ 346590 h 614713"/>
              <a:gd name="connsiteX851" fmla="*/ 470164 w 736968"/>
              <a:gd name="connsiteY851" fmla="*/ 339272 h 614713"/>
              <a:gd name="connsiteX852" fmla="*/ 474925 w 736968"/>
              <a:gd name="connsiteY852" fmla="*/ 352323 h 614713"/>
              <a:gd name="connsiteX853" fmla="*/ 474616 w 736968"/>
              <a:gd name="connsiteY853" fmla="*/ 354791 h 614713"/>
              <a:gd name="connsiteX854" fmla="*/ 475036 w 736968"/>
              <a:gd name="connsiteY854" fmla="*/ 355211 h 614713"/>
              <a:gd name="connsiteX855" fmla="*/ 513726 w 736968"/>
              <a:gd name="connsiteY855" fmla="*/ 262048 h 614713"/>
              <a:gd name="connsiteX856" fmla="*/ 483845 w 736968"/>
              <a:gd name="connsiteY856" fmla="*/ 262048 h 614713"/>
              <a:gd name="connsiteX857" fmla="*/ 488535 w 736968"/>
              <a:gd name="connsiteY857" fmla="*/ 269811 h 614713"/>
              <a:gd name="connsiteX858" fmla="*/ 493476 w 736968"/>
              <a:gd name="connsiteY858" fmla="*/ 278081 h 614713"/>
              <a:gd name="connsiteX859" fmla="*/ 501899 w 736968"/>
              <a:gd name="connsiteY859" fmla="*/ 284696 h 614713"/>
              <a:gd name="connsiteX860" fmla="*/ 481246 w 736968"/>
              <a:gd name="connsiteY860" fmla="*/ 291320 h 614713"/>
              <a:gd name="connsiteX861" fmla="*/ 477713 w 736968"/>
              <a:gd name="connsiteY861" fmla="*/ 293736 h 614713"/>
              <a:gd name="connsiteX862" fmla="*/ 468474 w 736968"/>
              <a:gd name="connsiteY862" fmla="*/ 299555 h 614713"/>
              <a:gd name="connsiteX863" fmla="*/ 463346 w 736968"/>
              <a:gd name="connsiteY863" fmla="*/ 309537 h 614713"/>
              <a:gd name="connsiteX864" fmla="*/ 453507 w 736968"/>
              <a:gd name="connsiteY864" fmla="*/ 319135 h 614713"/>
              <a:gd name="connsiteX865" fmla="*/ 444527 w 736968"/>
              <a:gd name="connsiteY865" fmla="*/ 324439 h 614713"/>
              <a:gd name="connsiteX866" fmla="*/ 452666 w 736968"/>
              <a:gd name="connsiteY866" fmla="*/ 324971 h 614713"/>
              <a:gd name="connsiteX867" fmla="*/ 454185 w 736968"/>
              <a:gd name="connsiteY867" fmla="*/ 324516 h 614713"/>
              <a:gd name="connsiteX868" fmla="*/ 457839 w 736968"/>
              <a:gd name="connsiteY868" fmla="*/ 321663 h 614713"/>
              <a:gd name="connsiteX869" fmla="*/ 459031 w 736968"/>
              <a:gd name="connsiteY869" fmla="*/ 316907 h 614713"/>
              <a:gd name="connsiteX870" fmla="*/ 465807 w 736968"/>
              <a:gd name="connsiteY870" fmla="*/ 314062 h 614713"/>
              <a:gd name="connsiteX871" fmla="*/ 467814 w 736968"/>
              <a:gd name="connsiteY871" fmla="*/ 327858 h 614713"/>
              <a:gd name="connsiteX872" fmla="*/ 459511 w 736968"/>
              <a:gd name="connsiteY872" fmla="*/ 348278 h 614713"/>
              <a:gd name="connsiteX873" fmla="*/ 452521 w 736968"/>
              <a:gd name="connsiteY873" fmla="*/ 347644 h 614713"/>
              <a:gd name="connsiteX874" fmla="*/ 439818 w 736968"/>
              <a:gd name="connsiteY874" fmla="*/ 344662 h 614713"/>
              <a:gd name="connsiteX875" fmla="*/ 426995 w 736968"/>
              <a:gd name="connsiteY875" fmla="*/ 341397 h 614713"/>
              <a:gd name="connsiteX876" fmla="*/ 614306 w 736968"/>
              <a:gd name="connsiteY876" fmla="*/ 262048 h 614713"/>
              <a:gd name="connsiteX877" fmla="*/ 575014 w 736968"/>
              <a:gd name="connsiteY877" fmla="*/ 262048 h 614713"/>
              <a:gd name="connsiteX878" fmla="*/ 518342 w 736968"/>
              <a:gd name="connsiteY878" fmla="*/ 398475 h 614713"/>
              <a:gd name="connsiteX879" fmla="*/ 546244 w 736968"/>
              <a:gd name="connsiteY879" fmla="*/ 426350 h 614713"/>
              <a:gd name="connsiteX880" fmla="*/ 614306 w 736968"/>
              <a:gd name="connsiteY880" fmla="*/ 262048 h 614713"/>
              <a:gd name="connsiteX881" fmla="*/ 546244 w 736968"/>
              <a:gd name="connsiteY881" fmla="*/ 86787 h 614713"/>
              <a:gd name="connsiteX882" fmla="*/ 517135 w 736968"/>
              <a:gd name="connsiteY882" fmla="*/ 115870 h 614713"/>
              <a:gd name="connsiteX883" fmla="*/ 531876 w 736968"/>
              <a:gd name="connsiteY883" fmla="*/ 133556 h 614713"/>
              <a:gd name="connsiteX884" fmla="*/ 540440 w 736968"/>
              <a:gd name="connsiteY884" fmla="*/ 142022 h 614713"/>
              <a:gd name="connsiteX885" fmla="*/ 555724 w 736968"/>
              <a:gd name="connsiteY885" fmla="*/ 167112 h 614713"/>
              <a:gd name="connsiteX886" fmla="*/ 555021 w 736968"/>
              <a:gd name="connsiteY886" fmla="*/ 167721 h 614713"/>
              <a:gd name="connsiteX887" fmla="*/ 575004 w 736968"/>
              <a:gd name="connsiteY887" fmla="*/ 251080 h 614713"/>
              <a:gd name="connsiteX888" fmla="*/ 614306 w 736968"/>
              <a:gd name="connsiteY888" fmla="*/ 251080 h 614713"/>
              <a:gd name="connsiteX889" fmla="*/ 546244 w 736968"/>
              <a:gd name="connsiteY889" fmla="*/ 86787 h 614713"/>
              <a:gd name="connsiteX890" fmla="*/ 374030 w 736968"/>
              <a:gd name="connsiteY890" fmla="*/ 50292 h 614713"/>
              <a:gd name="connsiteX891" fmla="*/ 466605 w 736968"/>
              <a:gd name="connsiteY891" fmla="*/ 74824 h 614713"/>
              <a:gd name="connsiteX892" fmla="*/ 473578 w 736968"/>
              <a:gd name="connsiteY892" fmla="*/ 73274 h 614713"/>
              <a:gd name="connsiteX893" fmla="*/ 487274 w 736968"/>
              <a:gd name="connsiteY893" fmla="*/ 77275 h 614713"/>
              <a:gd name="connsiteX894" fmla="*/ 495983 w 736968"/>
              <a:gd name="connsiteY894" fmla="*/ 83479 h 614713"/>
              <a:gd name="connsiteX895" fmla="*/ 506060 w 736968"/>
              <a:gd name="connsiteY895" fmla="*/ 96401 h 614713"/>
              <a:gd name="connsiteX896" fmla="*/ 509027 w 736968"/>
              <a:gd name="connsiteY896" fmla="*/ 103788 h 614713"/>
              <a:gd name="connsiteX897" fmla="*/ 511166 w 736968"/>
              <a:gd name="connsiteY897" fmla="*/ 106324 h 614713"/>
              <a:gd name="connsiteX898" fmla="*/ 538490 w 736968"/>
              <a:gd name="connsiteY898" fmla="*/ 79032 h 614713"/>
              <a:gd name="connsiteX899" fmla="*/ 374030 w 736968"/>
              <a:gd name="connsiteY899" fmla="*/ 11037 h 614713"/>
              <a:gd name="connsiteX900" fmla="*/ 374030 w 736968"/>
              <a:gd name="connsiteY900" fmla="*/ 50292 h 614713"/>
              <a:gd name="connsiteX901" fmla="*/ 374030 w 736968"/>
              <a:gd name="connsiteY901" fmla="*/ 100540 h 614713"/>
              <a:gd name="connsiteX902" fmla="*/ 462994 w 736968"/>
              <a:gd name="connsiteY902" fmla="*/ 132306 h 614713"/>
              <a:gd name="connsiteX903" fmla="*/ 456011 w 736968"/>
              <a:gd name="connsiteY903" fmla="*/ 123325 h 614713"/>
              <a:gd name="connsiteX904" fmla="*/ 445488 w 736968"/>
              <a:gd name="connsiteY904" fmla="*/ 116144 h 614713"/>
              <a:gd name="connsiteX905" fmla="*/ 455823 w 736968"/>
              <a:gd name="connsiteY905" fmla="*/ 119948 h 614713"/>
              <a:gd name="connsiteX906" fmla="*/ 452221 w 736968"/>
              <a:gd name="connsiteY906" fmla="*/ 110960 h 614713"/>
              <a:gd name="connsiteX907" fmla="*/ 462916 w 736968"/>
              <a:gd name="connsiteY907" fmla="*/ 122974 h 614713"/>
              <a:gd name="connsiteX908" fmla="*/ 470868 w 736968"/>
              <a:gd name="connsiteY908" fmla="*/ 125990 h 614713"/>
              <a:gd name="connsiteX909" fmla="*/ 475697 w 736968"/>
              <a:gd name="connsiteY909" fmla="*/ 132425 h 614713"/>
              <a:gd name="connsiteX910" fmla="*/ 477927 w 736968"/>
              <a:gd name="connsiteY910" fmla="*/ 135022 h 614713"/>
              <a:gd name="connsiteX911" fmla="*/ 475148 w 736968"/>
              <a:gd name="connsiteY911" fmla="*/ 134148 h 614713"/>
              <a:gd name="connsiteX912" fmla="*/ 477026 w 736968"/>
              <a:gd name="connsiteY912" fmla="*/ 140437 h 614713"/>
              <a:gd name="connsiteX913" fmla="*/ 490082 w 736968"/>
              <a:gd name="connsiteY913" fmla="*/ 127387 h 614713"/>
              <a:gd name="connsiteX914" fmla="*/ 481838 w 736968"/>
              <a:gd name="connsiteY914" fmla="*/ 117841 h 614713"/>
              <a:gd name="connsiteX915" fmla="*/ 475637 w 736968"/>
              <a:gd name="connsiteY915" fmla="*/ 120977 h 614713"/>
              <a:gd name="connsiteX916" fmla="*/ 471177 w 736968"/>
              <a:gd name="connsiteY916" fmla="*/ 121997 h 614713"/>
              <a:gd name="connsiteX917" fmla="*/ 471417 w 736968"/>
              <a:gd name="connsiteY917" fmla="*/ 116778 h 614713"/>
              <a:gd name="connsiteX918" fmla="*/ 469658 w 736968"/>
              <a:gd name="connsiteY918" fmla="*/ 112648 h 614713"/>
              <a:gd name="connsiteX919" fmla="*/ 468037 w 736968"/>
              <a:gd name="connsiteY919" fmla="*/ 103170 h 614713"/>
              <a:gd name="connsiteX920" fmla="*/ 462445 w 736968"/>
              <a:gd name="connsiteY920" fmla="*/ 94071 h 614713"/>
              <a:gd name="connsiteX921" fmla="*/ 456783 w 736968"/>
              <a:gd name="connsiteY921" fmla="*/ 82074 h 614713"/>
              <a:gd name="connsiteX922" fmla="*/ 374030 w 736968"/>
              <a:gd name="connsiteY922" fmla="*/ 61260 h 614713"/>
              <a:gd name="connsiteX923" fmla="*/ 374030 w 736968"/>
              <a:gd name="connsiteY923" fmla="*/ 100540 h 614713"/>
              <a:gd name="connsiteX924" fmla="*/ 374030 w 736968"/>
              <a:gd name="connsiteY924" fmla="*/ 150797 h 614713"/>
              <a:gd name="connsiteX925" fmla="*/ 439483 w 736968"/>
              <a:gd name="connsiteY925" fmla="*/ 177935 h 614713"/>
              <a:gd name="connsiteX926" fmla="*/ 467283 w 736968"/>
              <a:gd name="connsiteY926" fmla="*/ 150172 h 614713"/>
              <a:gd name="connsiteX927" fmla="*/ 374030 w 736968"/>
              <a:gd name="connsiteY927" fmla="*/ 111517 h 614713"/>
              <a:gd name="connsiteX928" fmla="*/ 374030 w 736968"/>
              <a:gd name="connsiteY928" fmla="*/ 150797 h 614713"/>
              <a:gd name="connsiteX929" fmla="*/ 374030 w 736968"/>
              <a:gd name="connsiteY929" fmla="*/ 201140 h 614713"/>
              <a:gd name="connsiteX930" fmla="*/ 385034 w 736968"/>
              <a:gd name="connsiteY930" fmla="*/ 203368 h 614713"/>
              <a:gd name="connsiteX931" fmla="*/ 390232 w 736968"/>
              <a:gd name="connsiteY931" fmla="*/ 198638 h 614713"/>
              <a:gd name="connsiteX932" fmla="*/ 393826 w 736968"/>
              <a:gd name="connsiteY932" fmla="*/ 199546 h 614713"/>
              <a:gd name="connsiteX933" fmla="*/ 390773 w 736968"/>
              <a:gd name="connsiteY933" fmla="*/ 205476 h 614713"/>
              <a:gd name="connsiteX934" fmla="*/ 401692 w 736968"/>
              <a:gd name="connsiteY934" fmla="*/ 211766 h 614713"/>
              <a:gd name="connsiteX935" fmla="*/ 403888 w 736968"/>
              <a:gd name="connsiteY935" fmla="*/ 213496 h 614713"/>
              <a:gd name="connsiteX936" fmla="*/ 407662 w 736968"/>
              <a:gd name="connsiteY936" fmla="*/ 209726 h 614713"/>
              <a:gd name="connsiteX937" fmla="*/ 407593 w 736968"/>
              <a:gd name="connsiteY937" fmla="*/ 209306 h 614713"/>
              <a:gd name="connsiteX938" fmla="*/ 414352 w 736968"/>
              <a:gd name="connsiteY938" fmla="*/ 203042 h 614713"/>
              <a:gd name="connsiteX939" fmla="*/ 426608 w 736968"/>
              <a:gd name="connsiteY939" fmla="*/ 190798 h 614713"/>
              <a:gd name="connsiteX940" fmla="*/ 425682 w 736968"/>
              <a:gd name="connsiteY940" fmla="*/ 190643 h 614713"/>
              <a:gd name="connsiteX941" fmla="*/ 420090 w 736968"/>
              <a:gd name="connsiteY941" fmla="*/ 192905 h 614713"/>
              <a:gd name="connsiteX942" fmla="*/ 428728 w 736968"/>
              <a:gd name="connsiteY942" fmla="*/ 186719 h 614713"/>
              <a:gd name="connsiteX943" fmla="*/ 430142 w 736968"/>
              <a:gd name="connsiteY943" fmla="*/ 187267 h 614713"/>
              <a:gd name="connsiteX944" fmla="*/ 431703 w 736968"/>
              <a:gd name="connsiteY944" fmla="*/ 185707 h 614713"/>
              <a:gd name="connsiteX945" fmla="*/ 374030 w 736968"/>
              <a:gd name="connsiteY945" fmla="*/ 161783 h 614713"/>
              <a:gd name="connsiteX946" fmla="*/ 374030 w 736968"/>
              <a:gd name="connsiteY946" fmla="*/ 201140 h 614713"/>
              <a:gd name="connsiteX947" fmla="*/ 368541 w 736968"/>
              <a:gd name="connsiteY947" fmla="*/ 211834 h 614713"/>
              <a:gd name="connsiteX948" fmla="*/ 355177 w 736968"/>
              <a:gd name="connsiteY948" fmla="*/ 213856 h 614713"/>
              <a:gd name="connsiteX949" fmla="*/ 354508 w 736968"/>
              <a:gd name="connsiteY949" fmla="*/ 215450 h 614713"/>
              <a:gd name="connsiteX950" fmla="*/ 359320 w 736968"/>
              <a:gd name="connsiteY950" fmla="*/ 216762 h 614713"/>
              <a:gd name="connsiteX951" fmla="*/ 356035 w 736968"/>
              <a:gd name="connsiteY951" fmla="*/ 218972 h 614713"/>
              <a:gd name="connsiteX952" fmla="*/ 359148 w 736968"/>
              <a:gd name="connsiteY952" fmla="*/ 221526 h 614713"/>
              <a:gd name="connsiteX953" fmla="*/ 356155 w 736968"/>
              <a:gd name="connsiteY953" fmla="*/ 227250 h 614713"/>
              <a:gd name="connsiteX954" fmla="*/ 344069 w 736968"/>
              <a:gd name="connsiteY954" fmla="*/ 231808 h 614713"/>
              <a:gd name="connsiteX955" fmla="*/ 340981 w 736968"/>
              <a:gd name="connsiteY955" fmla="*/ 237010 h 614713"/>
              <a:gd name="connsiteX956" fmla="*/ 331804 w 736968"/>
              <a:gd name="connsiteY956" fmla="*/ 244345 h 614713"/>
              <a:gd name="connsiteX957" fmla="*/ 336452 w 736968"/>
              <a:gd name="connsiteY957" fmla="*/ 242511 h 614713"/>
              <a:gd name="connsiteX958" fmla="*/ 342732 w 736968"/>
              <a:gd name="connsiteY958" fmla="*/ 239418 h 614713"/>
              <a:gd name="connsiteX959" fmla="*/ 343778 w 736968"/>
              <a:gd name="connsiteY959" fmla="*/ 244413 h 614713"/>
              <a:gd name="connsiteX960" fmla="*/ 336144 w 736968"/>
              <a:gd name="connsiteY960" fmla="*/ 249640 h 614713"/>
              <a:gd name="connsiteX961" fmla="*/ 332224 w 736968"/>
              <a:gd name="connsiteY961" fmla="*/ 249384 h 614713"/>
              <a:gd name="connsiteX962" fmla="*/ 339258 w 736968"/>
              <a:gd name="connsiteY962" fmla="*/ 252546 h 614713"/>
              <a:gd name="connsiteX963" fmla="*/ 334445 w 736968"/>
              <a:gd name="connsiteY963" fmla="*/ 256213 h 614713"/>
              <a:gd name="connsiteX964" fmla="*/ 335552 w 736968"/>
              <a:gd name="connsiteY964" fmla="*/ 258090 h 614713"/>
              <a:gd name="connsiteX965" fmla="*/ 340612 w 736968"/>
              <a:gd name="connsiteY965" fmla="*/ 258493 h 614713"/>
              <a:gd name="connsiteX966" fmla="*/ 331907 w 736968"/>
              <a:gd name="connsiteY966" fmla="*/ 275116 h 614713"/>
              <a:gd name="connsiteX967" fmla="*/ 328210 w 736968"/>
              <a:gd name="connsiteY967" fmla="*/ 275956 h 614713"/>
              <a:gd name="connsiteX968" fmla="*/ 333991 w 736968"/>
              <a:gd name="connsiteY968" fmla="*/ 284936 h 614713"/>
              <a:gd name="connsiteX969" fmla="*/ 339000 w 736968"/>
              <a:gd name="connsiteY969" fmla="*/ 278767 h 614713"/>
              <a:gd name="connsiteX970" fmla="*/ 340518 w 736968"/>
              <a:gd name="connsiteY970" fmla="*/ 276547 h 614713"/>
              <a:gd name="connsiteX971" fmla="*/ 343049 w 736968"/>
              <a:gd name="connsiteY971" fmla="*/ 274911 h 614713"/>
              <a:gd name="connsiteX972" fmla="*/ 347989 w 736968"/>
              <a:gd name="connsiteY972" fmla="*/ 268313 h 614713"/>
              <a:gd name="connsiteX973" fmla="*/ 347311 w 736968"/>
              <a:gd name="connsiteY973" fmla="*/ 264542 h 614713"/>
              <a:gd name="connsiteX974" fmla="*/ 349568 w 736968"/>
              <a:gd name="connsiteY974" fmla="*/ 262700 h 614713"/>
              <a:gd name="connsiteX975" fmla="*/ 353110 w 736968"/>
              <a:gd name="connsiteY975" fmla="*/ 263557 h 614713"/>
              <a:gd name="connsiteX976" fmla="*/ 359122 w 736968"/>
              <a:gd name="connsiteY976" fmla="*/ 264825 h 614713"/>
              <a:gd name="connsiteX977" fmla="*/ 363523 w 736968"/>
              <a:gd name="connsiteY977" fmla="*/ 266521 h 614713"/>
              <a:gd name="connsiteX978" fmla="*/ 363754 w 736968"/>
              <a:gd name="connsiteY978" fmla="*/ 269761 h 614713"/>
              <a:gd name="connsiteX979" fmla="*/ 365289 w 736968"/>
              <a:gd name="connsiteY979" fmla="*/ 269906 h 614713"/>
              <a:gd name="connsiteX980" fmla="*/ 361344 w 736968"/>
              <a:gd name="connsiteY980" fmla="*/ 275896 h 614713"/>
              <a:gd name="connsiteX981" fmla="*/ 355160 w 736968"/>
              <a:gd name="connsiteY981" fmla="*/ 287790 h 614713"/>
              <a:gd name="connsiteX982" fmla="*/ 348504 w 736968"/>
              <a:gd name="connsiteY982" fmla="*/ 287953 h 614713"/>
              <a:gd name="connsiteX983" fmla="*/ 344635 w 736968"/>
              <a:gd name="connsiteY983" fmla="*/ 289033 h 614713"/>
              <a:gd name="connsiteX984" fmla="*/ 339077 w 736968"/>
              <a:gd name="connsiteY984" fmla="*/ 290189 h 614713"/>
              <a:gd name="connsiteX985" fmla="*/ 368540 w 736968"/>
              <a:gd name="connsiteY985" fmla="*/ 301303 h 614713"/>
              <a:gd name="connsiteX986" fmla="*/ 375660 w 736968"/>
              <a:gd name="connsiteY986" fmla="*/ 300703 h 614713"/>
              <a:gd name="connsiteX987" fmla="*/ 378018 w 736968"/>
              <a:gd name="connsiteY987" fmla="*/ 294217 h 614713"/>
              <a:gd name="connsiteX988" fmla="*/ 378645 w 736968"/>
              <a:gd name="connsiteY988" fmla="*/ 290172 h 614713"/>
              <a:gd name="connsiteX989" fmla="*/ 384331 w 736968"/>
              <a:gd name="connsiteY989" fmla="*/ 284782 h 614713"/>
              <a:gd name="connsiteX990" fmla="*/ 388328 w 736968"/>
              <a:gd name="connsiteY990" fmla="*/ 285382 h 614713"/>
              <a:gd name="connsiteX991" fmla="*/ 394152 w 736968"/>
              <a:gd name="connsiteY991" fmla="*/ 286753 h 614713"/>
              <a:gd name="connsiteX992" fmla="*/ 389838 w 736968"/>
              <a:gd name="connsiteY992" fmla="*/ 289495 h 614713"/>
              <a:gd name="connsiteX993" fmla="*/ 394341 w 736968"/>
              <a:gd name="connsiteY993" fmla="*/ 290386 h 614713"/>
              <a:gd name="connsiteX994" fmla="*/ 395542 w 736968"/>
              <a:gd name="connsiteY994" fmla="*/ 284465 h 614713"/>
              <a:gd name="connsiteX995" fmla="*/ 396254 w 736968"/>
              <a:gd name="connsiteY995" fmla="*/ 282614 h 614713"/>
              <a:gd name="connsiteX996" fmla="*/ 398724 w 736968"/>
              <a:gd name="connsiteY996" fmla="*/ 276128 h 614713"/>
              <a:gd name="connsiteX997" fmla="*/ 393723 w 736968"/>
              <a:gd name="connsiteY997" fmla="*/ 275630 h 614713"/>
              <a:gd name="connsiteX998" fmla="*/ 390310 w 736968"/>
              <a:gd name="connsiteY998" fmla="*/ 270574 h 614713"/>
              <a:gd name="connsiteX999" fmla="*/ 395593 w 736968"/>
              <a:gd name="connsiteY999" fmla="*/ 274182 h 614713"/>
              <a:gd name="connsiteX1000" fmla="*/ 400019 w 736968"/>
              <a:gd name="connsiteY1000" fmla="*/ 270232 h 614713"/>
              <a:gd name="connsiteX1001" fmla="*/ 395585 w 736968"/>
              <a:gd name="connsiteY1001" fmla="*/ 266204 h 614713"/>
              <a:gd name="connsiteX1002" fmla="*/ 398475 w 736968"/>
              <a:gd name="connsiteY1002" fmla="*/ 265073 h 614713"/>
              <a:gd name="connsiteX1003" fmla="*/ 396631 w 736968"/>
              <a:gd name="connsiteY1003" fmla="*/ 260772 h 614713"/>
              <a:gd name="connsiteX1004" fmla="*/ 390686 w 736968"/>
              <a:gd name="connsiteY1004" fmla="*/ 252357 h 614713"/>
              <a:gd name="connsiteX1005" fmla="*/ 386887 w 736968"/>
              <a:gd name="connsiteY1005" fmla="*/ 254807 h 614713"/>
              <a:gd name="connsiteX1006" fmla="*/ 385223 w 736968"/>
              <a:gd name="connsiteY1006" fmla="*/ 253522 h 614713"/>
              <a:gd name="connsiteX1007" fmla="*/ 389495 w 736968"/>
              <a:gd name="connsiteY1007" fmla="*/ 248467 h 614713"/>
              <a:gd name="connsiteX1008" fmla="*/ 393543 w 736968"/>
              <a:gd name="connsiteY1008" fmla="*/ 244482 h 614713"/>
              <a:gd name="connsiteX1009" fmla="*/ 390764 w 736968"/>
              <a:gd name="connsiteY1009" fmla="*/ 238707 h 614713"/>
              <a:gd name="connsiteX1010" fmla="*/ 387531 w 736968"/>
              <a:gd name="connsiteY1010" fmla="*/ 233651 h 614713"/>
              <a:gd name="connsiteX1011" fmla="*/ 383851 w 736968"/>
              <a:gd name="connsiteY1011" fmla="*/ 228801 h 614713"/>
              <a:gd name="connsiteX1012" fmla="*/ 380094 w 736968"/>
              <a:gd name="connsiteY1012" fmla="*/ 226290 h 614713"/>
              <a:gd name="connsiteX1013" fmla="*/ 373498 w 736968"/>
              <a:gd name="connsiteY1013" fmla="*/ 223334 h 614713"/>
              <a:gd name="connsiteX1014" fmla="*/ 365255 w 736968"/>
              <a:gd name="connsiteY1014" fmla="*/ 218509 h 614713"/>
              <a:gd name="connsiteX1015" fmla="*/ 362262 w 736968"/>
              <a:gd name="connsiteY1015" fmla="*/ 215545 h 614713"/>
              <a:gd name="connsiteX1016" fmla="*/ 368540 w 736968"/>
              <a:gd name="connsiteY1016" fmla="*/ 215142 h 614713"/>
              <a:gd name="connsiteX1017" fmla="*/ 369398 w 736968"/>
              <a:gd name="connsiteY1017" fmla="*/ 211868 h 614713"/>
              <a:gd name="connsiteX1018" fmla="*/ 368540 w 736968"/>
              <a:gd name="connsiteY1018" fmla="*/ 211834 h 614713"/>
              <a:gd name="connsiteX1019" fmla="*/ 198590 w 736968"/>
              <a:gd name="connsiteY1019" fmla="*/ 79032 h 614713"/>
              <a:gd name="connsiteX1020" fmla="*/ 226492 w 736968"/>
              <a:gd name="connsiteY1020" fmla="*/ 106907 h 614713"/>
              <a:gd name="connsiteX1021" fmla="*/ 363051 w 736968"/>
              <a:gd name="connsiteY1021" fmla="*/ 50292 h 614713"/>
              <a:gd name="connsiteX1022" fmla="*/ 363051 w 736968"/>
              <a:gd name="connsiteY1022" fmla="*/ 11037 h 614713"/>
              <a:gd name="connsiteX1023" fmla="*/ 198590 w 736968"/>
              <a:gd name="connsiteY1023" fmla="*/ 79032 h 614713"/>
              <a:gd name="connsiteX1024" fmla="*/ 122766 w 736968"/>
              <a:gd name="connsiteY1024" fmla="*/ 251080 h 614713"/>
              <a:gd name="connsiteX1025" fmla="*/ 162068 w 736968"/>
              <a:gd name="connsiteY1025" fmla="*/ 251080 h 614713"/>
              <a:gd name="connsiteX1026" fmla="*/ 218729 w 736968"/>
              <a:gd name="connsiteY1026" fmla="*/ 114662 h 614713"/>
              <a:gd name="connsiteX1027" fmla="*/ 190827 w 736968"/>
              <a:gd name="connsiteY1027" fmla="*/ 86787 h 614713"/>
              <a:gd name="connsiteX1028" fmla="*/ 122766 w 736968"/>
              <a:gd name="connsiteY1028" fmla="*/ 251080 h 614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</a:cxnLst>
            <a:rect l="l" t="t" r="r" b="b"/>
            <a:pathLst>
              <a:path w="736968" h="614713">
                <a:moveTo>
                  <a:pt x="586884" y="559057"/>
                </a:moveTo>
                <a:cubicBezTo>
                  <a:pt x="587228" y="558979"/>
                  <a:pt x="587699" y="559357"/>
                  <a:pt x="587869" y="559556"/>
                </a:cubicBezTo>
                <a:cubicBezTo>
                  <a:pt x="574446" y="573299"/>
                  <a:pt x="557232" y="582717"/>
                  <a:pt x="540711" y="587411"/>
                </a:cubicBezTo>
                <a:cubicBezTo>
                  <a:pt x="528458" y="590894"/>
                  <a:pt x="516112" y="591475"/>
                  <a:pt x="503480" y="590061"/>
                </a:cubicBezTo>
                <a:cubicBezTo>
                  <a:pt x="484042" y="587886"/>
                  <a:pt x="466897" y="580106"/>
                  <a:pt x="450805" y="569540"/>
                </a:cubicBezTo>
                <a:cubicBezTo>
                  <a:pt x="441173" y="563213"/>
                  <a:pt x="431644" y="556736"/>
                  <a:pt x="422114" y="550259"/>
                </a:cubicBezTo>
                <a:cubicBezTo>
                  <a:pt x="411169" y="542813"/>
                  <a:pt x="399093" y="541447"/>
                  <a:pt x="386381" y="543521"/>
                </a:cubicBezTo>
                <a:cubicBezTo>
                  <a:pt x="379494" y="544267"/>
                  <a:pt x="384717" y="547575"/>
                  <a:pt x="385772" y="548099"/>
                </a:cubicBezTo>
                <a:cubicBezTo>
                  <a:pt x="402850" y="556455"/>
                  <a:pt x="418923" y="566464"/>
                  <a:pt x="433943" y="578037"/>
                </a:cubicBezTo>
                <a:cubicBezTo>
                  <a:pt x="444150" y="585522"/>
                  <a:pt x="462359" y="603058"/>
                  <a:pt x="462359" y="603058"/>
                </a:cubicBezTo>
                <a:lnTo>
                  <a:pt x="448738" y="614714"/>
                </a:lnTo>
                <a:cubicBezTo>
                  <a:pt x="448738" y="614714"/>
                  <a:pt x="438342" y="603078"/>
                  <a:pt x="433814" y="598553"/>
                </a:cubicBezTo>
                <a:cubicBezTo>
                  <a:pt x="403930" y="567457"/>
                  <a:pt x="377469" y="553786"/>
                  <a:pt x="371602" y="550414"/>
                </a:cubicBezTo>
                <a:cubicBezTo>
                  <a:pt x="370573" y="549823"/>
                  <a:pt x="369587" y="549256"/>
                  <a:pt x="368540" y="549256"/>
                </a:cubicBezTo>
                <a:cubicBezTo>
                  <a:pt x="367494" y="549256"/>
                  <a:pt x="366508" y="549823"/>
                  <a:pt x="365479" y="550414"/>
                </a:cubicBezTo>
                <a:cubicBezTo>
                  <a:pt x="359612" y="553786"/>
                  <a:pt x="333151" y="567457"/>
                  <a:pt x="303259" y="598553"/>
                </a:cubicBezTo>
                <a:cubicBezTo>
                  <a:pt x="298738" y="603078"/>
                  <a:pt x="288343" y="614714"/>
                  <a:pt x="288343" y="614714"/>
                </a:cubicBezTo>
                <a:lnTo>
                  <a:pt x="274713" y="603058"/>
                </a:lnTo>
                <a:cubicBezTo>
                  <a:pt x="274713" y="603058"/>
                  <a:pt x="292931" y="585522"/>
                  <a:pt x="303139" y="578037"/>
                </a:cubicBezTo>
                <a:cubicBezTo>
                  <a:pt x="318157" y="566464"/>
                  <a:pt x="334231" y="556455"/>
                  <a:pt x="351309" y="548099"/>
                </a:cubicBezTo>
                <a:cubicBezTo>
                  <a:pt x="352364" y="547575"/>
                  <a:pt x="357587" y="544267"/>
                  <a:pt x="350700" y="543521"/>
                </a:cubicBezTo>
                <a:cubicBezTo>
                  <a:pt x="337988" y="541447"/>
                  <a:pt x="325911" y="542813"/>
                  <a:pt x="314967" y="550259"/>
                </a:cubicBezTo>
                <a:cubicBezTo>
                  <a:pt x="305437" y="556736"/>
                  <a:pt x="295900" y="563213"/>
                  <a:pt x="286267" y="569540"/>
                </a:cubicBezTo>
                <a:cubicBezTo>
                  <a:pt x="270184" y="580106"/>
                  <a:pt x="253039" y="587886"/>
                  <a:pt x="233594" y="590061"/>
                </a:cubicBezTo>
                <a:cubicBezTo>
                  <a:pt x="220968" y="591475"/>
                  <a:pt x="208625" y="590894"/>
                  <a:pt x="196368" y="587411"/>
                </a:cubicBezTo>
                <a:cubicBezTo>
                  <a:pt x="179848" y="582717"/>
                  <a:pt x="162591" y="573241"/>
                  <a:pt x="149168" y="559498"/>
                </a:cubicBezTo>
                <a:cubicBezTo>
                  <a:pt x="149339" y="559299"/>
                  <a:pt x="149854" y="558979"/>
                  <a:pt x="150197" y="559057"/>
                </a:cubicBezTo>
                <a:cubicBezTo>
                  <a:pt x="151338" y="559565"/>
                  <a:pt x="152040" y="559924"/>
                  <a:pt x="153148" y="560500"/>
                </a:cubicBezTo>
                <a:cubicBezTo>
                  <a:pt x="173099" y="570756"/>
                  <a:pt x="194121" y="571948"/>
                  <a:pt x="215727" y="567791"/>
                </a:cubicBezTo>
                <a:cubicBezTo>
                  <a:pt x="230480" y="564952"/>
                  <a:pt x="244187" y="559052"/>
                  <a:pt x="257919" y="553190"/>
                </a:cubicBezTo>
                <a:cubicBezTo>
                  <a:pt x="267757" y="549000"/>
                  <a:pt x="277475" y="544378"/>
                  <a:pt x="287605" y="541036"/>
                </a:cubicBezTo>
                <a:cubicBezTo>
                  <a:pt x="313860" y="532384"/>
                  <a:pt x="340467" y="532485"/>
                  <a:pt x="367185" y="539248"/>
                </a:cubicBezTo>
                <a:cubicBezTo>
                  <a:pt x="367623" y="539369"/>
                  <a:pt x="368077" y="539427"/>
                  <a:pt x="368541" y="539485"/>
                </a:cubicBezTo>
                <a:cubicBezTo>
                  <a:pt x="368995" y="539427"/>
                  <a:pt x="369459" y="539369"/>
                  <a:pt x="369896" y="539248"/>
                </a:cubicBezTo>
                <a:cubicBezTo>
                  <a:pt x="396614" y="532485"/>
                  <a:pt x="423220" y="532384"/>
                  <a:pt x="449476" y="541036"/>
                </a:cubicBezTo>
                <a:cubicBezTo>
                  <a:pt x="459606" y="544378"/>
                  <a:pt x="469324" y="549000"/>
                  <a:pt x="479162" y="553190"/>
                </a:cubicBezTo>
                <a:cubicBezTo>
                  <a:pt x="492885" y="559052"/>
                  <a:pt x="506603" y="564952"/>
                  <a:pt x="521354" y="567791"/>
                </a:cubicBezTo>
                <a:cubicBezTo>
                  <a:pt x="542961" y="571948"/>
                  <a:pt x="563982" y="570756"/>
                  <a:pt x="583936" y="560500"/>
                </a:cubicBezTo>
                <a:cubicBezTo>
                  <a:pt x="585041" y="559924"/>
                  <a:pt x="585745" y="559565"/>
                  <a:pt x="586884" y="559057"/>
                </a:cubicBezTo>
                <a:close/>
                <a:moveTo>
                  <a:pt x="649912" y="501893"/>
                </a:moveTo>
                <a:cubicBezTo>
                  <a:pt x="638483" y="510661"/>
                  <a:pt x="631127" y="513563"/>
                  <a:pt x="621647" y="516814"/>
                </a:cubicBezTo>
                <a:cubicBezTo>
                  <a:pt x="607401" y="521697"/>
                  <a:pt x="592048" y="522685"/>
                  <a:pt x="577167" y="523465"/>
                </a:cubicBezTo>
                <a:cubicBezTo>
                  <a:pt x="557499" y="524492"/>
                  <a:pt x="538519" y="525340"/>
                  <a:pt x="519133" y="528484"/>
                </a:cubicBezTo>
                <a:lnTo>
                  <a:pt x="518822" y="528537"/>
                </a:lnTo>
                <a:cubicBezTo>
                  <a:pt x="517605" y="528731"/>
                  <a:pt x="517048" y="528217"/>
                  <a:pt x="517440" y="527801"/>
                </a:cubicBezTo>
                <a:cubicBezTo>
                  <a:pt x="517513" y="527728"/>
                  <a:pt x="517639" y="527636"/>
                  <a:pt x="517731" y="527602"/>
                </a:cubicBezTo>
                <a:cubicBezTo>
                  <a:pt x="535018" y="521275"/>
                  <a:pt x="546758" y="507885"/>
                  <a:pt x="555603" y="491071"/>
                </a:cubicBezTo>
                <a:cubicBezTo>
                  <a:pt x="561727" y="479427"/>
                  <a:pt x="571755" y="456676"/>
                  <a:pt x="574543" y="452957"/>
                </a:cubicBezTo>
                <a:cubicBezTo>
                  <a:pt x="574601" y="452880"/>
                  <a:pt x="574534" y="452126"/>
                  <a:pt x="574354" y="451980"/>
                </a:cubicBezTo>
                <a:cubicBezTo>
                  <a:pt x="573040" y="452409"/>
                  <a:pt x="554017" y="468587"/>
                  <a:pt x="545381" y="476599"/>
                </a:cubicBezTo>
                <a:cubicBezTo>
                  <a:pt x="534664" y="486546"/>
                  <a:pt x="524578" y="497174"/>
                  <a:pt x="513857" y="507120"/>
                </a:cubicBezTo>
                <a:cubicBezTo>
                  <a:pt x="497103" y="523102"/>
                  <a:pt x="473020" y="530121"/>
                  <a:pt x="464298" y="532384"/>
                </a:cubicBezTo>
                <a:cubicBezTo>
                  <a:pt x="464100" y="532432"/>
                  <a:pt x="463705" y="532582"/>
                  <a:pt x="463611" y="532694"/>
                </a:cubicBezTo>
                <a:cubicBezTo>
                  <a:pt x="463354" y="533028"/>
                  <a:pt x="463225" y="533333"/>
                  <a:pt x="463174" y="533478"/>
                </a:cubicBezTo>
                <a:cubicBezTo>
                  <a:pt x="463157" y="533541"/>
                  <a:pt x="463183" y="533585"/>
                  <a:pt x="463242" y="533590"/>
                </a:cubicBezTo>
                <a:lnTo>
                  <a:pt x="463637" y="533687"/>
                </a:lnTo>
                <a:cubicBezTo>
                  <a:pt x="470404" y="535227"/>
                  <a:pt x="489951" y="539471"/>
                  <a:pt x="499979" y="542145"/>
                </a:cubicBezTo>
                <a:cubicBezTo>
                  <a:pt x="515399" y="546272"/>
                  <a:pt x="530858" y="549736"/>
                  <a:pt x="546836" y="550860"/>
                </a:cubicBezTo>
                <a:cubicBezTo>
                  <a:pt x="564147" y="552076"/>
                  <a:pt x="581376" y="550259"/>
                  <a:pt x="597470" y="544267"/>
                </a:cubicBezTo>
                <a:cubicBezTo>
                  <a:pt x="615765" y="537456"/>
                  <a:pt x="638313" y="521363"/>
                  <a:pt x="651188" y="502082"/>
                </a:cubicBezTo>
                <a:cubicBezTo>
                  <a:pt x="651222" y="502033"/>
                  <a:pt x="651256" y="501946"/>
                  <a:pt x="651222" y="501927"/>
                </a:cubicBezTo>
                <a:cubicBezTo>
                  <a:pt x="650664" y="501636"/>
                  <a:pt x="650014" y="501825"/>
                  <a:pt x="649912" y="501893"/>
                </a:cubicBezTo>
                <a:close/>
                <a:moveTo>
                  <a:pt x="708819" y="411663"/>
                </a:moveTo>
                <a:cubicBezTo>
                  <a:pt x="708286" y="412348"/>
                  <a:pt x="698655" y="424953"/>
                  <a:pt x="675040" y="441106"/>
                </a:cubicBezTo>
                <a:cubicBezTo>
                  <a:pt x="663582" y="449084"/>
                  <a:pt x="652938" y="454166"/>
                  <a:pt x="640345" y="460001"/>
                </a:cubicBezTo>
                <a:cubicBezTo>
                  <a:pt x="624634" y="467293"/>
                  <a:pt x="611096" y="473951"/>
                  <a:pt x="597736" y="485005"/>
                </a:cubicBezTo>
                <a:cubicBezTo>
                  <a:pt x="596868" y="485718"/>
                  <a:pt x="596146" y="486255"/>
                  <a:pt x="595273" y="486900"/>
                </a:cubicBezTo>
                <a:cubicBezTo>
                  <a:pt x="594803" y="487244"/>
                  <a:pt x="594337" y="486657"/>
                  <a:pt x="594851" y="486061"/>
                </a:cubicBezTo>
                <a:cubicBezTo>
                  <a:pt x="595506" y="485306"/>
                  <a:pt x="615164" y="465194"/>
                  <a:pt x="621075" y="422571"/>
                </a:cubicBezTo>
                <a:cubicBezTo>
                  <a:pt x="623131" y="407696"/>
                  <a:pt x="623422" y="391629"/>
                  <a:pt x="628252" y="377293"/>
                </a:cubicBezTo>
                <a:cubicBezTo>
                  <a:pt x="628387" y="376838"/>
                  <a:pt x="628116" y="376351"/>
                  <a:pt x="627951" y="376127"/>
                </a:cubicBezTo>
                <a:cubicBezTo>
                  <a:pt x="627927" y="376093"/>
                  <a:pt x="627796" y="376179"/>
                  <a:pt x="627772" y="376213"/>
                </a:cubicBezTo>
                <a:cubicBezTo>
                  <a:pt x="613326" y="392717"/>
                  <a:pt x="601300" y="418390"/>
                  <a:pt x="595695" y="434440"/>
                </a:cubicBezTo>
                <a:cubicBezTo>
                  <a:pt x="591724" y="445802"/>
                  <a:pt x="587932" y="457224"/>
                  <a:pt x="583824" y="468535"/>
                </a:cubicBezTo>
                <a:cubicBezTo>
                  <a:pt x="578248" y="483882"/>
                  <a:pt x="570965" y="498289"/>
                  <a:pt x="559147" y="509968"/>
                </a:cubicBezTo>
                <a:cubicBezTo>
                  <a:pt x="558973" y="510148"/>
                  <a:pt x="558081" y="511083"/>
                  <a:pt x="558081" y="511083"/>
                </a:cubicBezTo>
                <a:cubicBezTo>
                  <a:pt x="558081" y="511083"/>
                  <a:pt x="557935" y="511354"/>
                  <a:pt x="557887" y="511785"/>
                </a:cubicBezTo>
                <a:cubicBezTo>
                  <a:pt x="557887" y="511824"/>
                  <a:pt x="557945" y="511911"/>
                  <a:pt x="557979" y="511901"/>
                </a:cubicBezTo>
                <a:cubicBezTo>
                  <a:pt x="559671" y="511611"/>
                  <a:pt x="560777" y="511451"/>
                  <a:pt x="561863" y="511218"/>
                </a:cubicBezTo>
                <a:cubicBezTo>
                  <a:pt x="575023" y="508501"/>
                  <a:pt x="588101" y="505357"/>
                  <a:pt x="601334" y="503152"/>
                </a:cubicBezTo>
                <a:cubicBezTo>
                  <a:pt x="623456" y="499471"/>
                  <a:pt x="642784" y="491623"/>
                  <a:pt x="660605" y="477953"/>
                </a:cubicBezTo>
                <a:cubicBezTo>
                  <a:pt x="678483" y="464242"/>
                  <a:pt x="693612" y="448270"/>
                  <a:pt x="703485" y="427832"/>
                </a:cubicBezTo>
                <a:cubicBezTo>
                  <a:pt x="706050" y="422520"/>
                  <a:pt x="708460" y="417319"/>
                  <a:pt x="710046" y="411501"/>
                </a:cubicBezTo>
                <a:cubicBezTo>
                  <a:pt x="709711" y="411372"/>
                  <a:pt x="709178" y="411397"/>
                  <a:pt x="708819" y="411663"/>
                </a:cubicBezTo>
                <a:close/>
                <a:moveTo>
                  <a:pt x="734621" y="310240"/>
                </a:moveTo>
                <a:cubicBezTo>
                  <a:pt x="728943" y="328329"/>
                  <a:pt x="718672" y="342974"/>
                  <a:pt x="703698" y="358724"/>
                </a:cubicBezTo>
                <a:cubicBezTo>
                  <a:pt x="691954" y="370831"/>
                  <a:pt x="669357" y="393728"/>
                  <a:pt x="658917" y="409606"/>
                </a:cubicBezTo>
                <a:cubicBezTo>
                  <a:pt x="658626" y="410052"/>
                  <a:pt x="657846" y="409855"/>
                  <a:pt x="658137" y="409050"/>
                </a:cubicBezTo>
                <a:cubicBezTo>
                  <a:pt x="663160" y="395228"/>
                  <a:pt x="665308" y="370780"/>
                  <a:pt x="662297" y="351834"/>
                </a:cubicBezTo>
                <a:cubicBezTo>
                  <a:pt x="659722" y="335673"/>
                  <a:pt x="652638" y="318038"/>
                  <a:pt x="650887" y="298261"/>
                </a:cubicBezTo>
                <a:cubicBezTo>
                  <a:pt x="650873" y="298167"/>
                  <a:pt x="650897" y="298149"/>
                  <a:pt x="650863" y="298055"/>
                </a:cubicBezTo>
                <a:cubicBezTo>
                  <a:pt x="650761" y="297798"/>
                  <a:pt x="650320" y="297198"/>
                  <a:pt x="650029" y="297173"/>
                </a:cubicBezTo>
                <a:cubicBezTo>
                  <a:pt x="650024" y="297233"/>
                  <a:pt x="649835" y="297516"/>
                  <a:pt x="649360" y="299049"/>
                </a:cubicBezTo>
                <a:cubicBezTo>
                  <a:pt x="645965" y="310541"/>
                  <a:pt x="641718" y="324936"/>
                  <a:pt x="641014" y="338304"/>
                </a:cubicBezTo>
                <a:cubicBezTo>
                  <a:pt x="640156" y="354431"/>
                  <a:pt x="643201" y="375168"/>
                  <a:pt x="641873" y="391766"/>
                </a:cubicBezTo>
                <a:cubicBezTo>
                  <a:pt x="640331" y="410943"/>
                  <a:pt x="639017" y="429915"/>
                  <a:pt x="630216" y="447310"/>
                </a:cubicBezTo>
                <a:cubicBezTo>
                  <a:pt x="630172" y="447396"/>
                  <a:pt x="630148" y="447498"/>
                  <a:pt x="630114" y="447593"/>
                </a:cubicBezTo>
                <a:cubicBezTo>
                  <a:pt x="629934" y="448056"/>
                  <a:pt x="630424" y="448913"/>
                  <a:pt x="630424" y="448913"/>
                </a:cubicBezTo>
                <a:cubicBezTo>
                  <a:pt x="630424" y="448913"/>
                  <a:pt x="630502" y="448895"/>
                  <a:pt x="630536" y="448870"/>
                </a:cubicBezTo>
                <a:cubicBezTo>
                  <a:pt x="637591" y="444371"/>
                  <a:pt x="657705" y="432520"/>
                  <a:pt x="670967" y="423677"/>
                </a:cubicBezTo>
                <a:cubicBezTo>
                  <a:pt x="687522" y="412631"/>
                  <a:pt x="702161" y="399504"/>
                  <a:pt x="713615" y="382991"/>
                </a:cubicBezTo>
                <a:cubicBezTo>
                  <a:pt x="727910" y="362357"/>
                  <a:pt x="736216" y="337507"/>
                  <a:pt x="735795" y="312194"/>
                </a:cubicBezTo>
                <a:cubicBezTo>
                  <a:pt x="735775" y="311337"/>
                  <a:pt x="735717" y="309829"/>
                  <a:pt x="735625" y="309641"/>
                </a:cubicBezTo>
                <a:cubicBezTo>
                  <a:pt x="735436" y="309564"/>
                  <a:pt x="734665" y="310112"/>
                  <a:pt x="734621" y="310240"/>
                </a:cubicBezTo>
                <a:close/>
                <a:moveTo>
                  <a:pt x="691954" y="321158"/>
                </a:moveTo>
                <a:cubicBezTo>
                  <a:pt x="691896" y="321397"/>
                  <a:pt x="691692" y="321500"/>
                  <a:pt x="691619" y="321526"/>
                </a:cubicBezTo>
                <a:cubicBezTo>
                  <a:pt x="691212" y="321646"/>
                  <a:pt x="691013" y="321148"/>
                  <a:pt x="691023" y="321037"/>
                </a:cubicBezTo>
                <a:cubicBezTo>
                  <a:pt x="691663" y="315913"/>
                  <a:pt x="691707" y="309589"/>
                  <a:pt x="691358" y="304773"/>
                </a:cubicBezTo>
                <a:cubicBezTo>
                  <a:pt x="689976" y="285827"/>
                  <a:pt x="678532" y="270138"/>
                  <a:pt x="668499" y="254370"/>
                </a:cubicBezTo>
                <a:cubicBezTo>
                  <a:pt x="663267" y="246144"/>
                  <a:pt x="654199" y="231766"/>
                  <a:pt x="650329" y="222083"/>
                </a:cubicBezTo>
                <a:cubicBezTo>
                  <a:pt x="650296" y="221997"/>
                  <a:pt x="649534" y="221517"/>
                  <a:pt x="649301" y="221620"/>
                </a:cubicBezTo>
                <a:cubicBezTo>
                  <a:pt x="649200" y="223317"/>
                  <a:pt x="649549" y="228895"/>
                  <a:pt x="649927" y="232502"/>
                </a:cubicBezTo>
                <a:cubicBezTo>
                  <a:pt x="652739" y="259624"/>
                  <a:pt x="661385" y="286179"/>
                  <a:pt x="670332" y="311920"/>
                </a:cubicBezTo>
                <a:cubicBezTo>
                  <a:pt x="676321" y="329152"/>
                  <a:pt x="679312" y="343917"/>
                  <a:pt x="677470" y="362134"/>
                </a:cubicBezTo>
                <a:cubicBezTo>
                  <a:pt x="677271" y="363651"/>
                  <a:pt x="677223" y="363813"/>
                  <a:pt x="677853" y="364277"/>
                </a:cubicBezTo>
                <a:cubicBezTo>
                  <a:pt x="677882" y="364294"/>
                  <a:pt x="677916" y="364233"/>
                  <a:pt x="677930" y="364260"/>
                </a:cubicBezTo>
                <a:cubicBezTo>
                  <a:pt x="684050" y="355442"/>
                  <a:pt x="695959" y="343068"/>
                  <a:pt x="703296" y="334140"/>
                </a:cubicBezTo>
                <a:cubicBezTo>
                  <a:pt x="711248" y="324473"/>
                  <a:pt x="751292" y="278869"/>
                  <a:pt x="731566" y="215331"/>
                </a:cubicBezTo>
                <a:cubicBezTo>
                  <a:pt x="730373" y="211500"/>
                  <a:pt x="728948" y="208184"/>
                  <a:pt x="728463" y="207464"/>
                </a:cubicBezTo>
                <a:cubicBezTo>
                  <a:pt x="728152" y="207472"/>
                  <a:pt x="727619" y="208261"/>
                  <a:pt x="727561" y="208467"/>
                </a:cubicBezTo>
                <a:cubicBezTo>
                  <a:pt x="727682" y="254174"/>
                  <a:pt x="705551" y="273797"/>
                  <a:pt x="696313" y="305065"/>
                </a:cubicBezTo>
                <a:cubicBezTo>
                  <a:pt x="694553" y="311020"/>
                  <a:pt x="693166" y="316547"/>
                  <a:pt x="691954" y="321158"/>
                </a:cubicBezTo>
                <a:close/>
                <a:moveTo>
                  <a:pt x="657467" y="179092"/>
                </a:moveTo>
                <a:cubicBezTo>
                  <a:pt x="650208" y="172828"/>
                  <a:pt x="639409" y="161680"/>
                  <a:pt x="633091" y="151962"/>
                </a:cubicBezTo>
                <a:cubicBezTo>
                  <a:pt x="633047" y="151885"/>
                  <a:pt x="632994" y="151834"/>
                  <a:pt x="632946" y="151782"/>
                </a:cubicBezTo>
                <a:cubicBezTo>
                  <a:pt x="632858" y="151697"/>
                  <a:pt x="632766" y="151620"/>
                  <a:pt x="632669" y="151568"/>
                </a:cubicBezTo>
                <a:cubicBezTo>
                  <a:pt x="632276" y="151320"/>
                  <a:pt x="631767" y="151294"/>
                  <a:pt x="631631" y="151363"/>
                </a:cubicBezTo>
                <a:cubicBezTo>
                  <a:pt x="631340" y="151311"/>
                  <a:pt x="631098" y="151328"/>
                  <a:pt x="631117" y="151397"/>
                </a:cubicBezTo>
                <a:cubicBezTo>
                  <a:pt x="631510" y="153299"/>
                  <a:pt x="637809" y="173462"/>
                  <a:pt x="641873" y="182854"/>
                </a:cubicBezTo>
                <a:cubicBezTo>
                  <a:pt x="647750" y="196410"/>
                  <a:pt x="657181" y="207772"/>
                  <a:pt x="666026" y="219443"/>
                </a:cubicBezTo>
                <a:cubicBezTo>
                  <a:pt x="666661" y="220292"/>
                  <a:pt x="667306" y="221131"/>
                  <a:pt x="667941" y="221989"/>
                </a:cubicBezTo>
                <a:cubicBezTo>
                  <a:pt x="676815" y="233908"/>
                  <a:pt x="691013" y="259306"/>
                  <a:pt x="694437" y="272340"/>
                </a:cubicBezTo>
                <a:cubicBezTo>
                  <a:pt x="694529" y="272708"/>
                  <a:pt x="695319" y="273051"/>
                  <a:pt x="695353" y="272897"/>
                </a:cubicBezTo>
                <a:cubicBezTo>
                  <a:pt x="696595" y="268244"/>
                  <a:pt x="702336" y="250172"/>
                  <a:pt x="706589" y="237969"/>
                </a:cubicBezTo>
                <a:cubicBezTo>
                  <a:pt x="707481" y="235433"/>
                  <a:pt x="715011" y="210934"/>
                  <a:pt x="716529" y="200335"/>
                </a:cubicBezTo>
                <a:cubicBezTo>
                  <a:pt x="720825" y="170266"/>
                  <a:pt x="710904" y="131251"/>
                  <a:pt x="693336" y="109931"/>
                </a:cubicBezTo>
                <a:cubicBezTo>
                  <a:pt x="693045" y="110034"/>
                  <a:pt x="692798" y="110814"/>
                  <a:pt x="692846" y="110986"/>
                </a:cubicBezTo>
                <a:cubicBezTo>
                  <a:pt x="693176" y="111988"/>
                  <a:pt x="693404" y="112759"/>
                  <a:pt x="693695" y="113762"/>
                </a:cubicBezTo>
                <a:cubicBezTo>
                  <a:pt x="694083" y="115073"/>
                  <a:pt x="694451" y="116393"/>
                  <a:pt x="694762" y="117738"/>
                </a:cubicBezTo>
                <a:cubicBezTo>
                  <a:pt x="699339" y="137327"/>
                  <a:pt x="697807" y="151149"/>
                  <a:pt x="695557" y="167807"/>
                </a:cubicBezTo>
                <a:cubicBezTo>
                  <a:pt x="693768" y="181088"/>
                  <a:pt x="691193" y="194233"/>
                  <a:pt x="691876" y="207627"/>
                </a:cubicBezTo>
                <a:cubicBezTo>
                  <a:pt x="691993" y="209863"/>
                  <a:pt x="693365" y="226350"/>
                  <a:pt x="693157" y="226975"/>
                </a:cubicBezTo>
                <a:cubicBezTo>
                  <a:pt x="692924" y="227712"/>
                  <a:pt x="692255" y="227146"/>
                  <a:pt x="692177" y="226761"/>
                </a:cubicBezTo>
                <a:cubicBezTo>
                  <a:pt x="692153" y="226641"/>
                  <a:pt x="690019" y="220635"/>
                  <a:pt x="687871" y="215605"/>
                </a:cubicBezTo>
                <a:cubicBezTo>
                  <a:pt x="686984" y="213419"/>
                  <a:pt x="686082" y="211354"/>
                  <a:pt x="685325" y="209863"/>
                </a:cubicBezTo>
                <a:cubicBezTo>
                  <a:pt x="678275" y="195879"/>
                  <a:pt x="669158" y="188621"/>
                  <a:pt x="657467" y="179092"/>
                </a:cubicBezTo>
                <a:close/>
                <a:moveTo>
                  <a:pt x="638090" y="57360"/>
                </a:moveTo>
                <a:cubicBezTo>
                  <a:pt x="643725" y="62853"/>
                  <a:pt x="648109" y="68989"/>
                  <a:pt x="651173" y="76187"/>
                </a:cubicBezTo>
                <a:cubicBezTo>
                  <a:pt x="656017" y="87540"/>
                  <a:pt x="657443" y="104611"/>
                  <a:pt x="660571" y="117524"/>
                </a:cubicBezTo>
                <a:cubicBezTo>
                  <a:pt x="662486" y="125364"/>
                  <a:pt x="663660" y="130917"/>
                  <a:pt x="666414" y="139820"/>
                </a:cubicBezTo>
                <a:cubicBezTo>
                  <a:pt x="666661" y="140600"/>
                  <a:pt x="665847" y="140960"/>
                  <a:pt x="665434" y="140214"/>
                </a:cubicBezTo>
                <a:cubicBezTo>
                  <a:pt x="665366" y="140111"/>
                  <a:pt x="665299" y="140017"/>
                  <a:pt x="665221" y="139923"/>
                </a:cubicBezTo>
                <a:cubicBezTo>
                  <a:pt x="656163" y="127661"/>
                  <a:pt x="644928" y="120009"/>
                  <a:pt x="628911" y="109914"/>
                </a:cubicBezTo>
                <a:cubicBezTo>
                  <a:pt x="619402" y="103676"/>
                  <a:pt x="612153" y="98030"/>
                  <a:pt x="605267" y="88698"/>
                </a:cubicBezTo>
                <a:cubicBezTo>
                  <a:pt x="604074" y="87095"/>
                  <a:pt x="602847" y="85527"/>
                  <a:pt x="601635" y="83950"/>
                </a:cubicBezTo>
                <a:cubicBezTo>
                  <a:pt x="601533" y="83822"/>
                  <a:pt x="600806" y="83565"/>
                  <a:pt x="600583" y="83650"/>
                </a:cubicBezTo>
                <a:cubicBezTo>
                  <a:pt x="600549" y="84010"/>
                  <a:pt x="600709" y="84722"/>
                  <a:pt x="600854" y="85630"/>
                </a:cubicBezTo>
                <a:cubicBezTo>
                  <a:pt x="602905" y="95939"/>
                  <a:pt x="609820" y="115013"/>
                  <a:pt x="621657" y="126315"/>
                </a:cubicBezTo>
                <a:cubicBezTo>
                  <a:pt x="630172" y="134439"/>
                  <a:pt x="639744" y="141654"/>
                  <a:pt x="648836" y="149169"/>
                </a:cubicBezTo>
                <a:cubicBezTo>
                  <a:pt x="665051" y="162725"/>
                  <a:pt x="676878" y="177361"/>
                  <a:pt x="680685" y="182203"/>
                </a:cubicBezTo>
                <a:lnTo>
                  <a:pt x="680859" y="182391"/>
                </a:lnTo>
                <a:cubicBezTo>
                  <a:pt x="680859" y="182391"/>
                  <a:pt x="681587" y="182853"/>
                  <a:pt x="681567" y="182597"/>
                </a:cubicBezTo>
                <a:cubicBezTo>
                  <a:pt x="681562" y="182536"/>
                  <a:pt x="681562" y="182459"/>
                  <a:pt x="681553" y="182399"/>
                </a:cubicBezTo>
                <a:lnTo>
                  <a:pt x="681567" y="182382"/>
                </a:lnTo>
                <a:cubicBezTo>
                  <a:pt x="681344" y="180009"/>
                  <a:pt x="681262" y="176238"/>
                  <a:pt x="681262" y="171783"/>
                </a:cubicBezTo>
                <a:cubicBezTo>
                  <a:pt x="681267" y="161860"/>
                  <a:pt x="681713" y="148587"/>
                  <a:pt x="682154" y="139452"/>
                </a:cubicBezTo>
                <a:cubicBezTo>
                  <a:pt x="682324" y="135759"/>
                  <a:pt x="682450" y="132048"/>
                  <a:pt x="682435" y="128347"/>
                </a:cubicBezTo>
                <a:cubicBezTo>
                  <a:pt x="682411" y="117318"/>
                  <a:pt x="681175" y="106419"/>
                  <a:pt x="676534" y="95964"/>
                </a:cubicBezTo>
                <a:cubicBezTo>
                  <a:pt x="668994" y="79015"/>
                  <a:pt x="657783" y="65536"/>
                  <a:pt x="641014" y="57198"/>
                </a:cubicBezTo>
                <a:cubicBezTo>
                  <a:pt x="640030" y="56710"/>
                  <a:pt x="638726" y="56213"/>
                  <a:pt x="637887" y="56006"/>
                </a:cubicBezTo>
                <a:cubicBezTo>
                  <a:pt x="637853" y="55998"/>
                  <a:pt x="637732" y="56530"/>
                  <a:pt x="637969" y="57206"/>
                </a:cubicBezTo>
                <a:cubicBezTo>
                  <a:pt x="637989" y="57275"/>
                  <a:pt x="638037" y="57318"/>
                  <a:pt x="638090" y="57360"/>
                </a:cubicBezTo>
                <a:close/>
                <a:moveTo>
                  <a:pt x="568632" y="25321"/>
                </a:moveTo>
                <a:cubicBezTo>
                  <a:pt x="578340" y="33942"/>
                  <a:pt x="586128" y="44147"/>
                  <a:pt x="593421" y="54833"/>
                </a:cubicBezTo>
                <a:cubicBezTo>
                  <a:pt x="600408" y="65081"/>
                  <a:pt x="607323" y="75476"/>
                  <a:pt x="616827" y="83702"/>
                </a:cubicBezTo>
                <a:cubicBezTo>
                  <a:pt x="623107" y="90034"/>
                  <a:pt x="641383" y="104225"/>
                  <a:pt x="645956" y="107764"/>
                </a:cubicBezTo>
                <a:cubicBezTo>
                  <a:pt x="646023" y="107824"/>
                  <a:pt x="646091" y="107892"/>
                  <a:pt x="646154" y="107918"/>
                </a:cubicBezTo>
                <a:cubicBezTo>
                  <a:pt x="646300" y="107977"/>
                  <a:pt x="646538" y="107892"/>
                  <a:pt x="646538" y="107892"/>
                </a:cubicBezTo>
                <a:cubicBezTo>
                  <a:pt x="646538" y="107892"/>
                  <a:pt x="646513" y="107764"/>
                  <a:pt x="646504" y="107686"/>
                </a:cubicBezTo>
                <a:cubicBezTo>
                  <a:pt x="645543" y="102442"/>
                  <a:pt x="637285" y="63976"/>
                  <a:pt x="613181" y="44936"/>
                </a:cubicBezTo>
                <a:cubicBezTo>
                  <a:pt x="600229" y="33745"/>
                  <a:pt x="583024" y="26889"/>
                  <a:pt x="566314" y="22288"/>
                </a:cubicBezTo>
                <a:cubicBezTo>
                  <a:pt x="566145" y="22605"/>
                  <a:pt x="566334" y="23436"/>
                  <a:pt x="566436" y="23419"/>
                </a:cubicBezTo>
                <a:cubicBezTo>
                  <a:pt x="567240" y="24121"/>
                  <a:pt x="567827" y="24610"/>
                  <a:pt x="568632" y="25321"/>
                </a:cubicBezTo>
                <a:close/>
                <a:moveTo>
                  <a:pt x="190133" y="550860"/>
                </a:moveTo>
                <a:cubicBezTo>
                  <a:pt x="206112" y="549736"/>
                  <a:pt x="221569" y="546272"/>
                  <a:pt x="236991" y="542145"/>
                </a:cubicBezTo>
                <a:cubicBezTo>
                  <a:pt x="247017" y="539471"/>
                  <a:pt x="266565" y="535227"/>
                  <a:pt x="273332" y="533687"/>
                </a:cubicBezTo>
                <a:lnTo>
                  <a:pt x="273727" y="533590"/>
                </a:lnTo>
                <a:cubicBezTo>
                  <a:pt x="273787" y="533585"/>
                  <a:pt x="273813" y="533541"/>
                  <a:pt x="273796" y="533478"/>
                </a:cubicBezTo>
                <a:cubicBezTo>
                  <a:pt x="273744" y="533333"/>
                  <a:pt x="273615" y="533028"/>
                  <a:pt x="273358" y="532694"/>
                </a:cubicBezTo>
                <a:cubicBezTo>
                  <a:pt x="273264" y="532582"/>
                  <a:pt x="272869" y="532432"/>
                  <a:pt x="272663" y="532384"/>
                </a:cubicBezTo>
                <a:cubicBezTo>
                  <a:pt x="263949" y="530131"/>
                  <a:pt x="239864" y="523102"/>
                  <a:pt x="223112" y="507120"/>
                </a:cubicBezTo>
                <a:cubicBezTo>
                  <a:pt x="212391" y="497174"/>
                  <a:pt x="202304" y="486546"/>
                  <a:pt x="191591" y="476599"/>
                </a:cubicBezTo>
                <a:cubicBezTo>
                  <a:pt x="182953" y="468587"/>
                  <a:pt x="163929" y="452408"/>
                  <a:pt x="162617" y="451972"/>
                </a:cubicBezTo>
                <a:cubicBezTo>
                  <a:pt x="162436" y="452126"/>
                  <a:pt x="162368" y="452880"/>
                  <a:pt x="162428" y="452957"/>
                </a:cubicBezTo>
                <a:cubicBezTo>
                  <a:pt x="165215" y="456676"/>
                  <a:pt x="175243" y="479427"/>
                  <a:pt x="181367" y="491071"/>
                </a:cubicBezTo>
                <a:cubicBezTo>
                  <a:pt x="190210" y="507885"/>
                  <a:pt x="201952" y="521275"/>
                  <a:pt x="219235" y="527602"/>
                </a:cubicBezTo>
                <a:cubicBezTo>
                  <a:pt x="219330" y="527636"/>
                  <a:pt x="219459" y="527728"/>
                  <a:pt x="219527" y="527801"/>
                </a:cubicBezTo>
                <a:cubicBezTo>
                  <a:pt x="219922" y="528217"/>
                  <a:pt x="219364" y="528731"/>
                  <a:pt x="218146" y="528537"/>
                </a:cubicBezTo>
                <a:lnTo>
                  <a:pt x="217837" y="528484"/>
                </a:lnTo>
                <a:cubicBezTo>
                  <a:pt x="198452" y="525340"/>
                  <a:pt x="179471" y="524492"/>
                  <a:pt x="159803" y="523465"/>
                </a:cubicBezTo>
                <a:cubicBezTo>
                  <a:pt x="144922" y="522685"/>
                  <a:pt x="129569" y="521697"/>
                  <a:pt x="115321" y="516814"/>
                </a:cubicBezTo>
                <a:cubicBezTo>
                  <a:pt x="105844" y="513563"/>
                  <a:pt x="98484" y="510661"/>
                  <a:pt x="87059" y="501893"/>
                </a:cubicBezTo>
                <a:cubicBezTo>
                  <a:pt x="86948" y="501825"/>
                  <a:pt x="86304" y="501636"/>
                  <a:pt x="85747" y="501927"/>
                </a:cubicBezTo>
                <a:cubicBezTo>
                  <a:pt x="85712" y="501946"/>
                  <a:pt x="85747" y="502033"/>
                  <a:pt x="85782" y="502082"/>
                </a:cubicBezTo>
                <a:cubicBezTo>
                  <a:pt x="98656" y="521363"/>
                  <a:pt x="121206" y="537456"/>
                  <a:pt x="139501" y="544267"/>
                </a:cubicBezTo>
                <a:cubicBezTo>
                  <a:pt x="155591" y="550259"/>
                  <a:pt x="172824" y="552076"/>
                  <a:pt x="190133" y="550860"/>
                </a:cubicBezTo>
                <a:close/>
                <a:moveTo>
                  <a:pt x="175105" y="511218"/>
                </a:moveTo>
                <a:cubicBezTo>
                  <a:pt x="176194" y="511451"/>
                  <a:pt x="177301" y="511611"/>
                  <a:pt x="178991" y="511901"/>
                </a:cubicBezTo>
                <a:cubicBezTo>
                  <a:pt x="179025" y="511911"/>
                  <a:pt x="179085" y="511824"/>
                  <a:pt x="179085" y="511775"/>
                </a:cubicBezTo>
                <a:cubicBezTo>
                  <a:pt x="179033" y="511354"/>
                  <a:pt x="178887" y="511078"/>
                  <a:pt x="178887" y="511078"/>
                </a:cubicBezTo>
                <a:cubicBezTo>
                  <a:pt x="178887" y="511078"/>
                  <a:pt x="177996" y="510148"/>
                  <a:pt x="177816" y="509968"/>
                </a:cubicBezTo>
                <a:cubicBezTo>
                  <a:pt x="166004" y="498279"/>
                  <a:pt x="158731" y="483882"/>
                  <a:pt x="153148" y="468535"/>
                </a:cubicBezTo>
                <a:cubicBezTo>
                  <a:pt x="149039" y="457224"/>
                  <a:pt x="145239" y="445802"/>
                  <a:pt x="141276" y="434439"/>
                </a:cubicBezTo>
                <a:cubicBezTo>
                  <a:pt x="135667" y="418390"/>
                  <a:pt x="123642" y="392726"/>
                  <a:pt x="109197" y="376213"/>
                </a:cubicBezTo>
                <a:cubicBezTo>
                  <a:pt x="109171" y="376179"/>
                  <a:pt x="109043" y="376093"/>
                  <a:pt x="109017" y="376127"/>
                </a:cubicBezTo>
                <a:cubicBezTo>
                  <a:pt x="108855" y="376351"/>
                  <a:pt x="108580" y="376838"/>
                  <a:pt x="108717" y="377284"/>
                </a:cubicBezTo>
                <a:cubicBezTo>
                  <a:pt x="113546" y="391629"/>
                  <a:pt x="113837" y="407696"/>
                  <a:pt x="115896" y="422571"/>
                </a:cubicBezTo>
                <a:cubicBezTo>
                  <a:pt x="121806" y="465194"/>
                  <a:pt x="141465" y="485306"/>
                  <a:pt x="142117" y="486061"/>
                </a:cubicBezTo>
                <a:cubicBezTo>
                  <a:pt x="142632" y="486657"/>
                  <a:pt x="142159" y="487244"/>
                  <a:pt x="141697" y="486900"/>
                </a:cubicBezTo>
                <a:cubicBezTo>
                  <a:pt x="140830" y="486255"/>
                  <a:pt x="140102" y="485722"/>
                  <a:pt x="139235" y="485005"/>
                </a:cubicBezTo>
                <a:cubicBezTo>
                  <a:pt x="125872" y="473951"/>
                  <a:pt x="112336" y="467293"/>
                  <a:pt x="96623" y="460001"/>
                </a:cubicBezTo>
                <a:cubicBezTo>
                  <a:pt x="84032" y="454165"/>
                  <a:pt x="73387" y="449084"/>
                  <a:pt x="61928" y="441106"/>
                </a:cubicBezTo>
                <a:cubicBezTo>
                  <a:pt x="38315" y="424953"/>
                  <a:pt x="28682" y="412348"/>
                  <a:pt x="28142" y="411663"/>
                </a:cubicBezTo>
                <a:cubicBezTo>
                  <a:pt x="27790" y="411397"/>
                  <a:pt x="27258" y="411372"/>
                  <a:pt x="26924" y="411500"/>
                </a:cubicBezTo>
                <a:cubicBezTo>
                  <a:pt x="28519" y="417318"/>
                  <a:pt x="30921" y="422520"/>
                  <a:pt x="33486" y="427832"/>
                </a:cubicBezTo>
                <a:cubicBezTo>
                  <a:pt x="43358" y="448269"/>
                  <a:pt x="58488" y="464234"/>
                  <a:pt x="76363" y="477953"/>
                </a:cubicBezTo>
                <a:cubicBezTo>
                  <a:pt x="94187" y="491618"/>
                  <a:pt x="113512" y="499471"/>
                  <a:pt x="135633" y="503152"/>
                </a:cubicBezTo>
                <a:cubicBezTo>
                  <a:pt x="148867" y="505357"/>
                  <a:pt x="161948" y="508510"/>
                  <a:pt x="175105" y="511218"/>
                </a:cubicBezTo>
                <a:close/>
                <a:moveTo>
                  <a:pt x="66002" y="423677"/>
                </a:moveTo>
                <a:cubicBezTo>
                  <a:pt x="79263" y="432520"/>
                  <a:pt x="99377" y="444371"/>
                  <a:pt x="106435" y="448870"/>
                </a:cubicBezTo>
                <a:cubicBezTo>
                  <a:pt x="106470" y="448895"/>
                  <a:pt x="106547" y="448912"/>
                  <a:pt x="106547" y="448912"/>
                </a:cubicBezTo>
                <a:cubicBezTo>
                  <a:pt x="106547" y="448912"/>
                  <a:pt x="107036" y="448056"/>
                  <a:pt x="106856" y="447593"/>
                </a:cubicBezTo>
                <a:cubicBezTo>
                  <a:pt x="106821" y="447498"/>
                  <a:pt x="106796" y="447396"/>
                  <a:pt x="106752" y="447310"/>
                </a:cubicBezTo>
                <a:cubicBezTo>
                  <a:pt x="97952" y="429915"/>
                  <a:pt x="96640" y="410943"/>
                  <a:pt x="95096" y="391766"/>
                </a:cubicBezTo>
                <a:cubicBezTo>
                  <a:pt x="93767" y="375168"/>
                  <a:pt x="96812" y="354431"/>
                  <a:pt x="95954" y="338304"/>
                </a:cubicBezTo>
                <a:cubicBezTo>
                  <a:pt x="95242" y="324936"/>
                  <a:pt x="90996" y="310541"/>
                  <a:pt x="87608" y="299049"/>
                </a:cubicBezTo>
                <a:cubicBezTo>
                  <a:pt x="87137" y="297516"/>
                  <a:pt x="86948" y="297233"/>
                  <a:pt x="86939" y="297173"/>
                </a:cubicBezTo>
                <a:cubicBezTo>
                  <a:pt x="86648" y="297198"/>
                  <a:pt x="86210" y="297798"/>
                  <a:pt x="86107" y="298055"/>
                </a:cubicBezTo>
                <a:cubicBezTo>
                  <a:pt x="86073" y="298149"/>
                  <a:pt x="86099" y="298167"/>
                  <a:pt x="86081" y="298261"/>
                </a:cubicBezTo>
                <a:cubicBezTo>
                  <a:pt x="84332" y="318038"/>
                  <a:pt x="77238" y="335673"/>
                  <a:pt x="74674" y="351834"/>
                </a:cubicBezTo>
                <a:cubicBezTo>
                  <a:pt x="71663" y="370780"/>
                  <a:pt x="73807" y="395228"/>
                  <a:pt x="78834" y="409050"/>
                </a:cubicBezTo>
                <a:cubicBezTo>
                  <a:pt x="79125" y="409855"/>
                  <a:pt x="78336" y="410052"/>
                  <a:pt x="78053" y="409606"/>
                </a:cubicBezTo>
                <a:cubicBezTo>
                  <a:pt x="67614" y="393728"/>
                  <a:pt x="45014" y="370831"/>
                  <a:pt x="33271" y="358724"/>
                </a:cubicBezTo>
                <a:cubicBezTo>
                  <a:pt x="18295" y="342974"/>
                  <a:pt x="8028" y="328329"/>
                  <a:pt x="2350" y="310240"/>
                </a:cubicBezTo>
                <a:cubicBezTo>
                  <a:pt x="2307" y="310112"/>
                  <a:pt x="1535" y="309564"/>
                  <a:pt x="1355" y="309641"/>
                </a:cubicBezTo>
                <a:cubicBezTo>
                  <a:pt x="1252" y="309829"/>
                  <a:pt x="1192" y="311337"/>
                  <a:pt x="1174" y="312194"/>
                </a:cubicBezTo>
                <a:cubicBezTo>
                  <a:pt x="754" y="337507"/>
                  <a:pt x="9058" y="362357"/>
                  <a:pt x="23356" y="382991"/>
                </a:cubicBezTo>
                <a:cubicBezTo>
                  <a:pt x="34806" y="399503"/>
                  <a:pt x="49448" y="412631"/>
                  <a:pt x="66002" y="423677"/>
                </a:cubicBezTo>
                <a:close/>
                <a:moveTo>
                  <a:pt x="59037" y="364260"/>
                </a:moveTo>
                <a:cubicBezTo>
                  <a:pt x="59055" y="364233"/>
                  <a:pt x="59088" y="364294"/>
                  <a:pt x="59115" y="364285"/>
                </a:cubicBezTo>
                <a:cubicBezTo>
                  <a:pt x="59749" y="363813"/>
                  <a:pt x="59698" y="363651"/>
                  <a:pt x="59501" y="362134"/>
                </a:cubicBezTo>
                <a:cubicBezTo>
                  <a:pt x="57657" y="343925"/>
                  <a:pt x="60650" y="329152"/>
                  <a:pt x="66637" y="311920"/>
                </a:cubicBezTo>
                <a:cubicBezTo>
                  <a:pt x="75583" y="286178"/>
                  <a:pt x="84229" y="259623"/>
                  <a:pt x="87042" y="232511"/>
                </a:cubicBezTo>
                <a:cubicBezTo>
                  <a:pt x="87420" y="228895"/>
                  <a:pt x="87771" y="223317"/>
                  <a:pt x="87668" y="221620"/>
                </a:cubicBezTo>
                <a:cubicBezTo>
                  <a:pt x="87437" y="221517"/>
                  <a:pt x="86673" y="221997"/>
                  <a:pt x="86639" y="222091"/>
                </a:cubicBezTo>
                <a:cubicBezTo>
                  <a:pt x="82770" y="231766"/>
                  <a:pt x="73705" y="246153"/>
                  <a:pt x="68472" y="254370"/>
                </a:cubicBezTo>
                <a:cubicBezTo>
                  <a:pt x="58437" y="270138"/>
                  <a:pt x="46986" y="285827"/>
                  <a:pt x="45614" y="304773"/>
                </a:cubicBezTo>
                <a:cubicBezTo>
                  <a:pt x="45262" y="309589"/>
                  <a:pt x="45305" y="315913"/>
                  <a:pt x="45948" y="321037"/>
                </a:cubicBezTo>
                <a:cubicBezTo>
                  <a:pt x="45957" y="321148"/>
                  <a:pt x="45760" y="321646"/>
                  <a:pt x="45348" y="321526"/>
                </a:cubicBezTo>
                <a:cubicBezTo>
                  <a:pt x="45279" y="321500"/>
                  <a:pt x="45073" y="321397"/>
                  <a:pt x="45014" y="321158"/>
                </a:cubicBezTo>
                <a:cubicBezTo>
                  <a:pt x="43804" y="316547"/>
                  <a:pt x="42415" y="311020"/>
                  <a:pt x="40648" y="305065"/>
                </a:cubicBezTo>
                <a:cubicBezTo>
                  <a:pt x="31419" y="273797"/>
                  <a:pt x="9289" y="254174"/>
                  <a:pt x="9409" y="208467"/>
                </a:cubicBezTo>
                <a:cubicBezTo>
                  <a:pt x="9349" y="208261"/>
                  <a:pt x="8817" y="207472"/>
                  <a:pt x="8509" y="207464"/>
                </a:cubicBezTo>
                <a:cubicBezTo>
                  <a:pt x="8019" y="208184"/>
                  <a:pt x="6596" y="211500"/>
                  <a:pt x="5403" y="215331"/>
                </a:cubicBezTo>
                <a:cubicBezTo>
                  <a:pt x="-14325" y="278869"/>
                  <a:pt x="25723" y="324473"/>
                  <a:pt x="33666" y="334140"/>
                </a:cubicBezTo>
                <a:cubicBezTo>
                  <a:pt x="41008" y="343068"/>
                  <a:pt x="52921" y="355442"/>
                  <a:pt x="59037" y="364260"/>
                </a:cubicBezTo>
                <a:close/>
                <a:moveTo>
                  <a:pt x="30372" y="237961"/>
                </a:moveTo>
                <a:cubicBezTo>
                  <a:pt x="34643" y="250172"/>
                  <a:pt x="40373" y="268243"/>
                  <a:pt x="41617" y="272905"/>
                </a:cubicBezTo>
                <a:cubicBezTo>
                  <a:pt x="41651" y="273051"/>
                  <a:pt x="42440" y="272708"/>
                  <a:pt x="42535" y="272340"/>
                </a:cubicBezTo>
                <a:cubicBezTo>
                  <a:pt x="45957" y="259306"/>
                  <a:pt x="60152" y="233908"/>
                  <a:pt x="69030" y="221988"/>
                </a:cubicBezTo>
                <a:cubicBezTo>
                  <a:pt x="69664" y="221131"/>
                  <a:pt x="70308" y="220292"/>
                  <a:pt x="70943" y="219443"/>
                </a:cubicBezTo>
                <a:cubicBezTo>
                  <a:pt x="79786" y="207772"/>
                  <a:pt x="89221" y="196410"/>
                  <a:pt x="95096" y="182853"/>
                </a:cubicBezTo>
                <a:cubicBezTo>
                  <a:pt x="99162" y="173462"/>
                  <a:pt x="105458" y="153299"/>
                  <a:pt x="105861" y="151397"/>
                </a:cubicBezTo>
                <a:cubicBezTo>
                  <a:pt x="105869" y="151328"/>
                  <a:pt x="105629" y="151311"/>
                  <a:pt x="105338" y="151354"/>
                </a:cubicBezTo>
                <a:cubicBezTo>
                  <a:pt x="105200" y="151294"/>
                  <a:pt x="104694" y="151320"/>
                  <a:pt x="104300" y="151568"/>
                </a:cubicBezTo>
                <a:cubicBezTo>
                  <a:pt x="104205" y="151620"/>
                  <a:pt x="104111" y="151697"/>
                  <a:pt x="104025" y="151782"/>
                </a:cubicBezTo>
                <a:cubicBezTo>
                  <a:pt x="103973" y="151825"/>
                  <a:pt x="103922" y="151885"/>
                  <a:pt x="103879" y="151962"/>
                </a:cubicBezTo>
                <a:cubicBezTo>
                  <a:pt x="97558" y="161680"/>
                  <a:pt x="86759" y="172828"/>
                  <a:pt x="79503" y="179092"/>
                </a:cubicBezTo>
                <a:cubicBezTo>
                  <a:pt x="67812" y="188621"/>
                  <a:pt x="58694" y="195879"/>
                  <a:pt x="51644" y="209863"/>
                </a:cubicBezTo>
                <a:cubicBezTo>
                  <a:pt x="50889" y="211354"/>
                  <a:pt x="49988" y="213419"/>
                  <a:pt x="49096" y="215596"/>
                </a:cubicBezTo>
                <a:cubicBezTo>
                  <a:pt x="46952" y="220635"/>
                  <a:pt x="44816" y="226641"/>
                  <a:pt x="44790" y="226761"/>
                </a:cubicBezTo>
                <a:cubicBezTo>
                  <a:pt x="44713" y="227146"/>
                  <a:pt x="44044" y="227712"/>
                  <a:pt x="43804" y="226975"/>
                </a:cubicBezTo>
                <a:cubicBezTo>
                  <a:pt x="43606" y="226350"/>
                  <a:pt x="44979" y="209863"/>
                  <a:pt x="45099" y="207627"/>
                </a:cubicBezTo>
                <a:cubicBezTo>
                  <a:pt x="45768" y="194233"/>
                  <a:pt x="43203" y="181088"/>
                  <a:pt x="41411" y="167807"/>
                </a:cubicBezTo>
                <a:cubicBezTo>
                  <a:pt x="39164" y="151149"/>
                  <a:pt x="37628" y="137327"/>
                  <a:pt x="42200" y="117729"/>
                </a:cubicBezTo>
                <a:cubicBezTo>
                  <a:pt x="42508" y="116401"/>
                  <a:pt x="42886" y="115073"/>
                  <a:pt x="43272" y="113762"/>
                </a:cubicBezTo>
                <a:cubicBezTo>
                  <a:pt x="43564" y="112759"/>
                  <a:pt x="43795" y="111988"/>
                  <a:pt x="44121" y="110986"/>
                </a:cubicBezTo>
                <a:cubicBezTo>
                  <a:pt x="44172" y="110814"/>
                  <a:pt x="43924" y="110034"/>
                  <a:pt x="43632" y="109931"/>
                </a:cubicBezTo>
                <a:cubicBezTo>
                  <a:pt x="26066" y="131251"/>
                  <a:pt x="16142" y="170266"/>
                  <a:pt x="20440" y="200335"/>
                </a:cubicBezTo>
                <a:cubicBezTo>
                  <a:pt x="21958" y="210934"/>
                  <a:pt x="29488" y="235433"/>
                  <a:pt x="30372" y="237961"/>
                </a:cubicBezTo>
                <a:close/>
                <a:moveTo>
                  <a:pt x="55709" y="171783"/>
                </a:moveTo>
                <a:cubicBezTo>
                  <a:pt x="55709" y="176238"/>
                  <a:pt x="55624" y="180009"/>
                  <a:pt x="55401" y="182382"/>
                </a:cubicBezTo>
                <a:lnTo>
                  <a:pt x="55418" y="182399"/>
                </a:lnTo>
                <a:cubicBezTo>
                  <a:pt x="55409" y="182459"/>
                  <a:pt x="55409" y="182537"/>
                  <a:pt x="55401" y="182597"/>
                </a:cubicBezTo>
                <a:cubicBezTo>
                  <a:pt x="55375" y="182853"/>
                  <a:pt x="56113" y="182391"/>
                  <a:pt x="56113" y="182391"/>
                </a:cubicBezTo>
                <a:lnTo>
                  <a:pt x="56284" y="182203"/>
                </a:lnTo>
                <a:cubicBezTo>
                  <a:pt x="60092" y="177361"/>
                  <a:pt x="71912" y="162725"/>
                  <a:pt x="88132" y="149169"/>
                </a:cubicBezTo>
                <a:cubicBezTo>
                  <a:pt x="97224" y="141654"/>
                  <a:pt x="106796" y="134439"/>
                  <a:pt x="115313" y="126315"/>
                </a:cubicBezTo>
                <a:cubicBezTo>
                  <a:pt x="127150" y="115013"/>
                  <a:pt x="134063" y="95939"/>
                  <a:pt x="136113" y="85630"/>
                </a:cubicBezTo>
                <a:cubicBezTo>
                  <a:pt x="136259" y="84722"/>
                  <a:pt x="136422" y="84010"/>
                  <a:pt x="136387" y="83650"/>
                </a:cubicBezTo>
                <a:cubicBezTo>
                  <a:pt x="136165" y="83565"/>
                  <a:pt x="135435" y="83822"/>
                  <a:pt x="135332" y="83950"/>
                </a:cubicBezTo>
                <a:cubicBezTo>
                  <a:pt x="134123" y="85527"/>
                  <a:pt x="132896" y="87095"/>
                  <a:pt x="131713" y="88698"/>
                </a:cubicBezTo>
                <a:cubicBezTo>
                  <a:pt x="124816" y="98030"/>
                  <a:pt x="117568" y="103676"/>
                  <a:pt x="108056" y="109914"/>
                </a:cubicBezTo>
                <a:cubicBezTo>
                  <a:pt x="92042" y="120009"/>
                  <a:pt x="80806" y="127661"/>
                  <a:pt x="71748" y="139923"/>
                </a:cubicBezTo>
                <a:cubicBezTo>
                  <a:pt x="71680" y="140017"/>
                  <a:pt x="71602" y="140111"/>
                  <a:pt x="71534" y="140214"/>
                </a:cubicBezTo>
                <a:cubicBezTo>
                  <a:pt x="71122" y="140960"/>
                  <a:pt x="70308" y="140600"/>
                  <a:pt x="70557" y="139820"/>
                </a:cubicBezTo>
                <a:cubicBezTo>
                  <a:pt x="73310" y="130917"/>
                  <a:pt x="74485" y="125364"/>
                  <a:pt x="76397" y="117524"/>
                </a:cubicBezTo>
                <a:cubicBezTo>
                  <a:pt x="79528" y="104611"/>
                  <a:pt x="80952" y="87540"/>
                  <a:pt x="85799" y="76187"/>
                </a:cubicBezTo>
                <a:cubicBezTo>
                  <a:pt x="88860" y="68989"/>
                  <a:pt x="93243" y="62853"/>
                  <a:pt x="98870" y="57360"/>
                </a:cubicBezTo>
                <a:cubicBezTo>
                  <a:pt x="98930" y="57318"/>
                  <a:pt x="98982" y="57275"/>
                  <a:pt x="99008" y="57207"/>
                </a:cubicBezTo>
                <a:cubicBezTo>
                  <a:pt x="99239" y="56530"/>
                  <a:pt x="99119" y="55998"/>
                  <a:pt x="99085" y="56016"/>
                </a:cubicBezTo>
                <a:cubicBezTo>
                  <a:pt x="98244" y="56213"/>
                  <a:pt x="96932" y="56710"/>
                  <a:pt x="95954" y="57198"/>
                </a:cubicBezTo>
                <a:cubicBezTo>
                  <a:pt x="79185" y="65536"/>
                  <a:pt x="67975" y="79015"/>
                  <a:pt x="60436" y="95964"/>
                </a:cubicBezTo>
                <a:cubicBezTo>
                  <a:pt x="55795" y="106419"/>
                  <a:pt x="54560" y="117318"/>
                  <a:pt x="54534" y="128347"/>
                </a:cubicBezTo>
                <a:cubicBezTo>
                  <a:pt x="54526" y="132048"/>
                  <a:pt x="54646" y="135759"/>
                  <a:pt x="54817" y="139452"/>
                </a:cubicBezTo>
                <a:cubicBezTo>
                  <a:pt x="55255" y="148595"/>
                  <a:pt x="55700" y="161860"/>
                  <a:pt x="55709" y="171783"/>
                </a:cubicBezTo>
                <a:close/>
                <a:moveTo>
                  <a:pt x="90430" y="107892"/>
                </a:moveTo>
                <a:cubicBezTo>
                  <a:pt x="90430" y="107892"/>
                  <a:pt x="90670" y="107977"/>
                  <a:pt x="90816" y="107918"/>
                </a:cubicBezTo>
                <a:cubicBezTo>
                  <a:pt x="90876" y="107892"/>
                  <a:pt x="90944" y="107815"/>
                  <a:pt x="91014" y="107764"/>
                </a:cubicBezTo>
                <a:cubicBezTo>
                  <a:pt x="95585" y="104225"/>
                  <a:pt x="113854" y="90034"/>
                  <a:pt x="120142" y="83702"/>
                </a:cubicBezTo>
                <a:cubicBezTo>
                  <a:pt x="129645" y="75467"/>
                  <a:pt x="136559" y="65081"/>
                  <a:pt x="143550" y="54833"/>
                </a:cubicBezTo>
                <a:cubicBezTo>
                  <a:pt x="150832" y="44147"/>
                  <a:pt x="158628" y="33942"/>
                  <a:pt x="168338" y="25321"/>
                </a:cubicBezTo>
                <a:cubicBezTo>
                  <a:pt x="169135" y="24610"/>
                  <a:pt x="169727" y="24130"/>
                  <a:pt x="170533" y="23410"/>
                </a:cubicBezTo>
                <a:cubicBezTo>
                  <a:pt x="170628" y="23436"/>
                  <a:pt x="170825" y="22605"/>
                  <a:pt x="170654" y="22288"/>
                </a:cubicBezTo>
                <a:cubicBezTo>
                  <a:pt x="153945" y="26889"/>
                  <a:pt x="136739" y="33745"/>
                  <a:pt x="123788" y="44936"/>
                </a:cubicBezTo>
                <a:cubicBezTo>
                  <a:pt x="99685" y="63976"/>
                  <a:pt x="91425" y="102442"/>
                  <a:pt x="90465" y="107686"/>
                </a:cubicBezTo>
                <a:cubicBezTo>
                  <a:pt x="90456" y="107764"/>
                  <a:pt x="90430" y="107892"/>
                  <a:pt x="90430" y="107892"/>
                </a:cubicBezTo>
                <a:close/>
                <a:moveTo>
                  <a:pt x="361962" y="317499"/>
                </a:moveTo>
                <a:cubicBezTo>
                  <a:pt x="363849" y="314662"/>
                  <a:pt x="359140" y="312871"/>
                  <a:pt x="357913" y="317798"/>
                </a:cubicBezTo>
                <a:cubicBezTo>
                  <a:pt x="356764" y="322383"/>
                  <a:pt x="360066" y="320326"/>
                  <a:pt x="361962" y="317499"/>
                </a:cubicBezTo>
                <a:close/>
                <a:moveTo>
                  <a:pt x="413348" y="198801"/>
                </a:moveTo>
                <a:cubicBezTo>
                  <a:pt x="411522" y="197850"/>
                  <a:pt x="404007" y="207001"/>
                  <a:pt x="405209" y="208483"/>
                </a:cubicBezTo>
                <a:cubicBezTo>
                  <a:pt x="405749" y="209075"/>
                  <a:pt x="414009" y="199238"/>
                  <a:pt x="413348" y="198801"/>
                </a:cubicBezTo>
                <a:close/>
                <a:moveTo>
                  <a:pt x="414961" y="197181"/>
                </a:moveTo>
                <a:cubicBezTo>
                  <a:pt x="416093" y="197772"/>
                  <a:pt x="421077" y="195065"/>
                  <a:pt x="420150" y="194336"/>
                </a:cubicBezTo>
                <a:cubicBezTo>
                  <a:pt x="419232" y="193599"/>
                  <a:pt x="413374" y="190892"/>
                  <a:pt x="413254" y="192545"/>
                </a:cubicBezTo>
                <a:cubicBezTo>
                  <a:pt x="413083" y="195236"/>
                  <a:pt x="413820" y="196590"/>
                  <a:pt x="414961" y="197181"/>
                </a:cubicBezTo>
                <a:close/>
                <a:moveTo>
                  <a:pt x="505468" y="276444"/>
                </a:moveTo>
                <a:cubicBezTo>
                  <a:pt x="503111" y="276547"/>
                  <a:pt x="500556" y="279958"/>
                  <a:pt x="501274" y="280001"/>
                </a:cubicBezTo>
                <a:cubicBezTo>
                  <a:pt x="502971" y="280086"/>
                  <a:pt x="504265" y="281303"/>
                  <a:pt x="505633" y="281003"/>
                </a:cubicBezTo>
                <a:cubicBezTo>
                  <a:pt x="508135" y="280446"/>
                  <a:pt x="507830" y="276350"/>
                  <a:pt x="505468" y="276444"/>
                </a:cubicBezTo>
                <a:close/>
                <a:moveTo>
                  <a:pt x="472669" y="191097"/>
                </a:moveTo>
                <a:cubicBezTo>
                  <a:pt x="470636" y="191149"/>
                  <a:pt x="470121" y="193359"/>
                  <a:pt x="472077" y="194362"/>
                </a:cubicBezTo>
                <a:cubicBezTo>
                  <a:pt x="472952" y="194816"/>
                  <a:pt x="475739" y="194405"/>
                  <a:pt x="477018" y="193599"/>
                </a:cubicBezTo>
                <a:cubicBezTo>
                  <a:pt x="478364" y="192751"/>
                  <a:pt x="479934" y="191697"/>
                  <a:pt x="479642" y="189640"/>
                </a:cubicBezTo>
                <a:cubicBezTo>
                  <a:pt x="479470" y="188389"/>
                  <a:pt x="476554" y="184859"/>
                  <a:pt x="478081" y="183505"/>
                </a:cubicBezTo>
                <a:cubicBezTo>
                  <a:pt x="479728" y="182031"/>
                  <a:pt x="481392" y="184319"/>
                  <a:pt x="483004" y="183693"/>
                </a:cubicBezTo>
                <a:cubicBezTo>
                  <a:pt x="484971" y="182931"/>
                  <a:pt x="484789" y="181808"/>
                  <a:pt x="484849" y="180138"/>
                </a:cubicBezTo>
                <a:cubicBezTo>
                  <a:pt x="484927" y="177824"/>
                  <a:pt x="484000" y="174782"/>
                  <a:pt x="481315" y="174782"/>
                </a:cubicBezTo>
                <a:cubicBezTo>
                  <a:pt x="479316" y="174782"/>
                  <a:pt x="475843" y="180129"/>
                  <a:pt x="475688" y="180454"/>
                </a:cubicBezTo>
                <a:cubicBezTo>
                  <a:pt x="475422" y="181037"/>
                  <a:pt x="474865" y="182991"/>
                  <a:pt x="475722" y="184979"/>
                </a:cubicBezTo>
                <a:cubicBezTo>
                  <a:pt x="476915" y="187747"/>
                  <a:pt x="476451" y="190994"/>
                  <a:pt x="472669" y="191097"/>
                </a:cubicBezTo>
                <a:close/>
                <a:moveTo>
                  <a:pt x="517125" y="191466"/>
                </a:moveTo>
                <a:cubicBezTo>
                  <a:pt x="517067" y="192700"/>
                  <a:pt x="520631" y="201286"/>
                  <a:pt x="520995" y="203625"/>
                </a:cubicBezTo>
                <a:cubicBezTo>
                  <a:pt x="521354" y="205964"/>
                  <a:pt x="522091" y="212974"/>
                  <a:pt x="523977" y="212254"/>
                </a:cubicBezTo>
                <a:cubicBezTo>
                  <a:pt x="525170" y="211791"/>
                  <a:pt x="525058" y="207498"/>
                  <a:pt x="524801" y="205836"/>
                </a:cubicBezTo>
                <a:cubicBezTo>
                  <a:pt x="524040" y="200960"/>
                  <a:pt x="523051" y="196745"/>
                  <a:pt x="521252" y="191268"/>
                </a:cubicBezTo>
                <a:cubicBezTo>
                  <a:pt x="520297" y="188355"/>
                  <a:pt x="516165" y="178844"/>
                  <a:pt x="514793" y="179177"/>
                </a:cubicBezTo>
                <a:cubicBezTo>
                  <a:pt x="513576" y="179469"/>
                  <a:pt x="516844" y="186101"/>
                  <a:pt x="517324" y="188261"/>
                </a:cubicBezTo>
                <a:cubicBezTo>
                  <a:pt x="517639" y="189666"/>
                  <a:pt x="517193" y="190223"/>
                  <a:pt x="517125" y="191466"/>
                </a:cubicBezTo>
                <a:close/>
                <a:moveTo>
                  <a:pt x="493631" y="76958"/>
                </a:moveTo>
                <a:cubicBezTo>
                  <a:pt x="495828" y="77789"/>
                  <a:pt x="495818" y="73693"/>
                  <a:pt x="492089" y="70668"/>
                </a:cubicBezTo>
                <a:cubicBezTo>
                  <a:pt x="488380" y="67652"/>
                  <a:pt x="483442" y="69118"/>
                  <a:pt x="484780" y="70609"/>
                </a:cubicBezTo>
                <a:cubicBezTo>
                  <a:pt x="485989" y="71945"/>
                  <a:pt x="491687" y="76213"/>
                  <a:pt x="493631" y="76958"/>
                </a:cubicBezTo>
                <a:close/>
                <a:moveTo>
                  <a:pt x="392480" y="47935"/>
                </a:moveTo>
                <a:cubicBezTo>
                  <a:pt x="388071" y="45090"/>
                  <a:pt x="391759" y="41166"/>
                  <a:pt x="388234" y="38527"/>
                </a:cubicBezTo>
                <a:cubicBezTo>
                  <a:pt x="385764" y="36675"/>
                  <a:pt x="378842" y="38509"/>
                  <a:pt x="377126" y="40703"/>
                </a:cubicBezTo>
                <a:cubicBezTo>
                  <a:pt x="374150" y="44550"/>
                  <a:pt x="380969" y="43273"/>
                  <a:pt x="383440" y="44370"/>
                </a:cubicBezTo>
                <a:cubicBezTo>
                  <a:pt x="386202" y="45587"/>
                  <a:pt x="392129" y="50677"/>
                  <a:pt x="393183" y="49649"/>
                </a:cubicBezTo>
                <a:cubicBezTo>
                  <a:pt x="394230" y="48612"/>
                  <a:pt x="392968" y="48389"/>
                  <a:pt x="392480" y="47935"/>
                </a:cubicBezTo>
                <a:close/>
                <a:moveTo>
                  <a:pt x="419275" y="34465"/>
                </a:moveTo>
                <a:cubicBezTo>
                  <a:pt x="413339" y="31757"/>
                  <a:pt x="390987" y="31876"/>
                  <a:pt x="391570" y="37686"/>
                </a:cubicBezTo>
                <a:cubicBezTo>
                  <a:pt x="392051" y="42648"/>
                  <a:pt x="404480" y="37986"/>
                  <a:pt x="407696" y="37712"/>
                </a:cubicBezTo>
                <a:cubicBezTo>
                  <a:pt x="410921" y="37430"/>
                  <a:pt x="424516" y="37155"/>
                  <a:pt x="419275" y="34465"/>
                </a:cubicBezTo>
                <a:close/>
                <a:moveTo>
                  <a:pt x="353873" y="294294"/>
                </a:moveTo>
                <a:cubicBezTo>
                  <a:pt x="353581" y="293188"/>
                  <a:pt x="351643" y="293368"/>
                  <a:pt x="352124" y="294388"/>
                </a:cubicBezTo>
                <a:cubicBezTo>
                  <a:pt x="352604" y="295407"/>
                  <a:pt x="351540" y="296444"/>
                  <a:pt x="352535" y="297721"/>
                </a:cubicBezTo>
                <a:cubicBezTo>
                  <a:pt x="353839" y="299118"/>
                  <a:pt x="356652" y="298947"/>
                  <a:pt x="358068" y="297790"/>
                </a:cubicBezTo>
                <a:cubicBezTo>
                  <a:pt x="358883" y="296907"/>
                  <a:pt x="358368" y="295236"/>
                  <a:pt x="357750" y="294911"/>
                </a:cubicBezTo>
                <a:cubicBezTo>
                  <a:pt x="356678" y="294379"/>
                  <a:pt x="354165" y="295399"/>
                  <a:pt x="353873" y="294294"/>
                </a:cubicBezTo>
                <a:close/>
                <a:moveTo>
                  <a:pt x="345262" y="249872"/>
                </a:moveTo>
                <a:cubicBezTo>
                  <a:pt x="347106" y="249872"/>
                  <a:pt x="347038" y="248492"/>
                  <a:pt x="348109" y="248544"/>
                </a:cubicBezTo>
                <a:cubicBezTo>
                  <a:pt x="349190" y="248587"/>
                  <a:pt x="348307" y="249941"/>
                  <a:pt x="350176" y="249941"/>
                </a:cubicBezTo>
                <a:cubicBezTo>
                  <a:pt x="352029" y="249941"/>
                  <a:pt x="353977" y="245168"/>
                  <a:pt x="348015" y="245168"/>
                </a:cubicBezTo>
                <a:cubicBezTo>
                  <a:pt x="343160" y="245168"/>
                  <a:pt x="343804" y="249804"/>
                  <a:pt x="345262" y="249871"/>
                </a:cubicBezTo>
                <a:close/>
                <a:moveTo>
                  <a:pt x="352998" y="254807"/>
                </a:moveTo>
                <a:cubicBezTo>
                  <a:pt x="349293" y="253856"/>
                  <a:pt x="350048" y="255965"/>
                  <a:pt x="347775" y="256213"/>
                </a:cubicBezTo>
                <a:cubicBezTo>
                  <a:pt x="344009" y="256625"/>
                  <a:pt x="347355" y="253436"/>
                  <a:pt x="345502" y="251971"/>
                </a:cubicBezTo>
                <a:cubicBezTo>
                  <a:pt x="344687" y="251329"/>
                  <a:pt x="342474" y="254550"/>
                  <a:pt x="342311" y="256564"/>
                </a:cubicBezTo>
                <a:cubicBezTo>
                  <a:pt x="342208" y="257532"/>
                  <a:pt x="342183" y="260814"/>
                  <a:pt x="343778" y="260917"/>
                </a:cubicBezTo>
                <a:cubicBezTo>
                  <a:pt x="345373" y="261020"/>
                  <a:pt x="353762" y="261980"/>
                  <a:pt x="356558" y="262614"/>
                </a:cubicBezTo>
                <a:cubicBezTo>
                  <a:pt x="359758" y="263351"/>
                  <a:pt x="356430" y="255691"/>
                  <a:pt x="352998" y="254807"/>
                </a:cubicBezTo>
                <a:close/>
                <a:moveTo>
                  <a:pt x="311699" y="299290"/>
                </a:moveTo>
                <a:cubicBezTo>
                  <a:pt x="312840" y="299290"/>
                  <a:pt x="313663" y="295245"/>
                  <a:pt x="312960" y="293257"/>
                </a:cubicBezTo>
                <a:cubicBezTo>
                  <a:pt x="312248" y="291269"/>
                  <a:pt x="308577" y="292760"/>
                  <a:pt x="308251" y="293685"/>
                </a:cubicBezTo>
                <a:cubicBezTo>
                  <a:pt x="307934" y="294619"/>
                  <a:pt x="310550" y="299290"/>
                  <a:pt x="311699" y="299290"/>
                </a:cubicBezTo>
                <a:close/>
                <a:moveTo>
                  <a:pt x="257567" y="298887"/>
                </a:moveTo>
                <a:cubicBezTo>
                  <a:pt x="257731" y="297147"/>
                  <a:pt x="257585" y="292057"/>
                  <a:pt x="256366" y="291072"/>
                </a:cubicBezTo>
                <a:cubicBezTo>
                  <a:pt x="255149" y="290095"/>
                  <a:pt x="255312" y="291937"/>
                  <a:pt x="254437" y="291835"/>
                </a:cubicBezTo>
                <a:cubicBezTo>
                  <a:pt x="253760" y="291757"/>
                  <a:pt x="253819" y="289392"/>
                  <a:pt x="252961" y="289401"/>
                </a:cubicBezTo>
                <a:cubicBezTo>
                  <a:pt x="252104" y="289401"/>
                  <a:pt x="253253" y="293445"/>
                  <a:pt x="254171" y="295793"/>
                </a:cubicBezTo>
                <a:cubicBezTo>
                  <a:pt x="255089" y="298149"/>
                  <a:pt x="257353" y="301997"/>
                  <a:pt x="257567" y="298887"/>
                </a:cubicBezTo>
                <a:close/>
                <a:moveTo>
                  <a:pt x="256264" y="286530"/>
                </a:moveTo>
                <a:cubicBezTo>
                  <a:pt x="256547" y="285930"/>
                  <a:pt x="258399" y="277455"/>
                  <a:pt x="258116" y="274216"/>
                </a:cubicBezTo>
                <a:cubicBezTo>
                  <a:pt x="257825" y="270986"/>
                  <a:pt x="256101" y="267935"/>
                  <a:pt x="255664" y="268158"/>
                </a:cubicBezTo>
                <a:cubicBezTo>
                  <a:pt x="255080" y="268458"/>
                  <a:pt x="255929" y="270395"/>
                  <a:pt x="256032" y="273531"/>
                </a:cubicBezTo>
                <a:cubicBezTo>
                  <a:pt x="256187" y="278218"/>
                  <a:pt x="253973" y="282117"/>
                  <a:pt x="253973" y="283660"/>
                </a:cubicBezTo>
                <a:cubicBezTo>
                  <a:pt x="253965" y="285116"/>
                  <a:pt x="255363" y="288415"/>
                  <a:pt x="256264" y="286530"/>
                </a:cubicBezTo>
                <a:close/>
                <a:moveTo>
                  <a:pt x="111728" y="256564"/>
                </a:moveTo>
                <a:cubicBezTo>
                  <a:pt x="111728" y="187978"/>
                  <a:pt x="138429" y="123539"/>
                  <a:pt x="186908" y="75107"/>
                </a:cubicBezTo>
                <a:cubicBezTo>
                  <a:pt x="235378" y="26675"/>
                  <a:pt x="299888" y="0"/>
                  <a:pt x="368541" y="0"/>
                </a:cubicBezTo>
                <a:cubicBezTo>
                  <a:pt x="437193" y="0"/>
                  <a:pt x="501695" y="26675"/>
                  <a:pt x="550172" y="75107"/>
                </a:cubicBezTo>
                <a:cubicBezTo>
                  <a:pt x="598653" y="123539"/>
                  <a:pt x="625352" y="187978"/>
                  <a:pt x="625352" y="256564"/>
                </a:cubicBezTo>
                <a:cubicBezTo>
                  <a:pt x="625352" y="325150"/>
                  <a:pt x="598653" y="389598"/>
                  <a:pt x="550172" y="438021"/>
                </a:cubicBezTo>
                <a:cubicBezTo>
                  <a:pt x="501695" y="486454"/>
                  <a:pt x="437193" y="513127"/>
                  <a:pt x="368541" y="513127"/>
                </a:cubicBezTo>
                <a:cubicBezTo>
                  <a:pt x="299888" y="513127"/>
                  <a:pt x="235378" y="486454"/>
                  <a:pt x="186908" y="438021"/>
                </a:cubicBezTo>
                <a:cubicBezTo>
                  <a:pt x="138429" y="389598"/>
                  <a:pt x="111728" y="325150"/>
                  <a:pt x="111728" y="256564"/>
                </a:cubicBezTo>
                <a:close/>
                <a:moveTo>
                  <a:pt x="190836" y="426350"/>
                </a:moveTo>
                <a:lnTo>
                  <a:pt x="218738" y="398475"/>
                </a:lnTo>
                <a:cubicBezTo>
                  <a:pt x="213248" y="392691"/>
                  <a:pt x="208093" y="386590"/>
                  <a:pt x="203299" y="380215"/>
                </a:cubicBezTo>
                <a:cubicBezTo>
                  <a:pt x="201137" y="379358"/>
                  <a:pt x="198941" y="378159"/>
                  <a:pt x="197432" y="376291"/>
                </a:cubicBezTo>
                <a:cubicBezTo>
                  <a:pt x="195047" y="373317"/>
                  <a:pt x="193795" y="368964"/>
                  <a:pt x="192663" y="368964"/>
                </a:cubicBezTo>
                <a:cubicBezTo>
                  <a:pt x="191522" y="368973"/>
                  <a:pt x="192569" y="371732"/>
                  <a:pt x="190030" y="372100"/>
                </a:cubicBezTo>
                <a:cubicBezTo>
                  <a:pt x="186573" y="372605"/>
                  <a:pt x="181693" y="364020"/>
                  <a:pt x="179788" y="360892"/>
                </a:cubicBezTo>
                <a:cubicBezTo>
                  <a:pt x="177541" y="357207"/>
                  <a:pt x="173853" y="357173"/>
                  <a:pt x="172043" y="353719"/>
                </a:cubicBezTo>
                <a:cubicBezTo>
                  <a:pt x="171520" y="352726"/>
                  <a:pt x="170267" y="349675"/>
                  <a:pt x="169110" y="351483"/>
                </a:cubicBezTo>
                <a:cubicBezTo>
                  <a:pt x="167197" y="354551"/>
                  <a:pt x="160635" y="344799"/>
                  <a:pt x="158963" y="345468"/>
                </a:cubicBezTo>
                <a:cubicBezTo>
                  <a:pt x="157239" y="346136"/>
                  <a:pt x="158757" y="348167"/>
                  <a:pt x="157788" y="349023"/>
                </a:cubicBezTo>
                <a:cubicBezTo>
                  <a:pt x="155910" y="350695"/>
                  <a:pt x="150385" y="341552"/>
                  <a:pt x="148318" y="342486"/>
                </a:cubicBezTo>
                <a:cubicBezTo>
                  <a:pt x="146380" y="343368"/>
                  <a:pt x="145934" y="344542"/>
                  <a:pt x="145822" y="346968"/>
                </a:cubicBezTo>
                <a:cubicBezTo>
                  <a:pt x="145719" y="349487"/>
                  <a:pt x="148842" y="355965"/>
                  <a:pt x="147743" y="356470"/>
                </a:cubicBezTo>
                <a:cubicBezTo>
                  <a:pt x="146183" y="357181"/>
                  <a:pt x="138197" y="336865"/>
                  <a:pt x="139938" y="335939"/>
                </a:cubicBezTo>
                <a:cubicBezTo>
                  <a:pt x="140916" y="335417"/>
                  <a:pt x="140762" y="336865"/>
                  <a:pt x="141868" y="336205"/>
                </a:cubicBezTo>
                <a:cubicBezTo>
                  <a:pt x="143009" y="335519"/>
                  <a:pt x="141070" y="334114"/>
                  <a:pt x="140548" y="331911"/>
                </a:cubicBezTo>
                <a:cubicBezTo>
                  <a:pt x="139999" y="329607"/>
                  <a:pt x="138000" y="329555"/>
                  <a:pt x="137828" y="327019"/>
                </a:cubicBezTo>
                <a:cubicBezTo>
                  <a:pt x="137674" y="324491"/>
                  <a:pt x="141285" y="325339"/>
                  <a:pt x="141243" y="324105"/>
                </a:cubicBezTo>
                <a:cubicBezTo>
                  <a:pt x="141199" y="322872"/>
                  <a:pt x="141525" y="321466"/>
                  <a:pt x="142545" y="320584"/>
                </a:cubicBezTo>
                <a:cubicBezTo>
                  <a:pt x="143738" y="319555"/>
                  <a:pt x="146526" y="320634"/>
                  <a:pt x="147126" y="317070"/>
                </a:cubicBezTo>
                <a:cubicBezTo>
                  <a:pt x="147641" y="314028"/>
                  <a:pt x="149176" y="316848"/>
                  <a:pt x="149494" y="319109"/>
                </a:cubicBezTo>
                <a:cubicBezTo>
                  <a:pt x="149863" y="321731"/>
                  <a:pt x="156570" y="322391"/>
                  <a:pt x="156896" y="320592"/>
                </a:cubicBezTo>
                <a:cubicBezTo>
                  <a:pt x="157093" y="319452"/>
                  <a:pt x="154185" y="319495"/>
                  <a:pt x="154185" y="318484"/>
                </a:cubicBezTo>
                <a:cubicBezTo>
                  <a:pt x="154176" y="316547"/>
                  <a:pt x="157873" y="318398"/>
                  <a:pt x="160395" y="318621"/>
                </a:cubicBezTo>
                <a:cubicBezTo>
                  <a:pt x="161493" y="318715"/>
                  <a:pt x="163475" y="316942"/>
                  <a:pt x="165979" y="318235"/>
                </a:cubicBezTo>
                <a:cubicBezTo>
                  <a:pt x="168707" y="319649"/>
                  <a:pt x="170388" y="320335"/>
                  <a:pt x="172198" y="320626"/>
                </a:cubicBezTo>
                <a:cubicBezTo>
                  <a:pt x="166125" y="302109"/>
                  <a:pt x="162599" y="282443"/>
                  <a:pt x="162068" y="262048"/>
                </a:cubicBezTo>
                <a:lnTo>
                  <a:pt x="122766" y="262048"/>
                </a:lnTo>
                <a:cubicBezTo>
                  <a:pt x="124113" y="323823"/>
                  <a:pt x="148121" y="381774"/>
                  <a:pt x="190836" y="426350"/>
                </a:cubicBezTo>
                <a:close/>
                <a:moveTo>
                  <a:pt x="352955" y="198903"/>
                </a:moveTo>
                <a:cubicBezTo>
                  <a:pt x="353230" y="199323"/>
                  <a:pt x="350382" y="201911"/>
                  <a:pt x="348924" y="204422"/>
                </a:cubicBezTo>
                <a:cubicBezTo>
                  <a:pt x="353470" y="202717"/>
                  <a:pt x="358196" y="201620"/>
                  <a:pt x="363051" y="201149"/>
                </a:cubicBezTo>
                <a:lnTo>
                  <a:pt x="363051" y="161783"/>
                </a:lnTo>
                <a:cubicBezTo>
                  <a:pt x="340973" y="163051"/>
                  <a:pt x="320894" y="171877"/>
                  <a:pt x="305369" y="185707"/>
                </a:cubicBezTo>
                <a:lnTo>
                  <a:pt x="333185" y="213496"/>
                </a:lnTo>
                <a:cubicBezTo>
                  <a:pt x="336385" y="210875"/>
                  <a:pt x="339858" y="208604"/>
                  <a:pt x="343598" y="206727"/>
                </a:cubicBezTo>
                <a:cubicBezTo>
                  <a:pt x="344567" y="206247"/>
                  <a:pt x="345544" y="205802"/>
                  <a:pt x="346531" y="205382"/>
                </a:cubicBezTo>
                <a:cubicBezTo>
                  <a:pt x="348435" y="202057"/>
                  <a:pt x="352595" y="198355"/>
                  <a:pt x="352955" y="198903"/>
                </a:cubicBezTo>
                <a:close/>
                <a:moveTo>
                  <a:pt x="255835" y="345674"/>
                </a:moveTo>
                <a:cubicBezTo>
                  <a:pt x="255843" y="346453"/>
                  <a:pt x="255809" y="347224"/>
                  <a:pt x="255646" y="347953"/>
                </a:cubicBezTo>
                <a:cubicBezTo>
                  <a:pt x="257687" y="350455"/>
                  <a:pt x="259772" y="352914"/>
                  <a:pt x="261968" y="355279"/>
                </a:cubicBezTo>
                <a:lnTo>
                  <a:pt x="289835" y="327438"/>
                </a:lnTo>
                <a:cubicBezTo>
                  <a:pt x="276720" y="312914"/>
                  <a:pt x="267577" y="294756"/>
                  <a:pt x="264095" y="274679"/>
                </a:cubicBezTo>
                <a:cubicBezTo>
                  <a:pt x="263263" y="274902"/>
                  <a:pt x="262517" y="274791"/>
                  <a:pt x="262053" y="273985"/>
                </a:cubicBezTo>
                <a:cubicBezTo>
                  <a:pt x="261488" y="273008"/>
                  <a:pt x="262311" y="272014"/>
                  <a:pt x="263512" y="271020"/>
                </a:cubicBezTo>
                <a:cubicBezTo>
                  <a:pt x="263109" y="268064"/>
                  <a:pt x="262817" y="265073"/>
                  <a:pt x="262663" y="262048"/>
                </a:cubicBezTo>
                <a:lnTo>
                  <a:pt x="244110" y="262048"/>
                </a:lnTo>
                <a:cubicBezTo>
                  <a:pt x="244299" y="264996"/>
                  <a:pt x="245482" y="269246"/>
                  <a:pt x="243535" y="270729"/>
                </a:cubicBezTo>
                <a:cubicBezTo>
                  <a:pt x="241931" y="271945"/>
                  <a:pt x="239658" y="270712"/>
                  <a:pt x="238208" y="270909"/>
                </a:cubicBezTo>
                <a:cubicBezTo>
                  <a:pt x="234649" y="271388"/>
                  <a:pt x="233834" y="275681"/>
                  <a:pt x="234777" y="278595"/>
                </a:cubicBezTo>
                <a:cubicBezTo>
                  <a:pt x="235395" y="280558"/>
                  <a:pt x="236252" y="282074"/>
                  <a:pt x="235910" y="284191"/>
                </a:cubicBezTo>
                <a:cubicBezTo>
                  <a:pt x="235592" y="286179"/>
                  <a:pt x="234511" y="287729"/>
                  <a:pt x="237659" y="289392"/>
                </a:cubicBezTo>
                <a:cubicBezTo>
                  <a:pt x="240541" y="290901"/>
                  <a:pt x="245208" y="296813"/>
                  <a:pt x="244822" y="297832"/>
                </a:cubicBezTo>
                <a:cubicBezTo>
                  <a:pt x="244324" y="299144"/>
                  <a:pt x="241459" y="296607"/>
                  <a:pt x="241280" y="298981"/>
                </a:cubicBezTo>
                <a:cubicBezTo>
                  <a:pt x="241168" y="300437"/>
                  <a:pt x="245508" y="298569"/>
                  <a:pt x="245259" y="303505"/>
                </a:cubicBezTo>
                <a:cubicBezTo>
                  <a:pt x="245113" y="306375"/>
                  <a:pt x="245834" y="309520"/>
                  <a:pt x="246666" y="311492"/>
                </a:cubicBezTo>
                <a:cubicBezTo>
                  <a:pt x="248381" y="315596"/>
                  <a:pt x="250354" y="318304"/>
                  <a:pt x="250182" y="322931"/>
                </a:cubicBezTo>
                <a:cubicBezTo>
                  <a:pt x="250046" y="326770"/>
                  <a:pt x="249368" y="330952"/>
                  <a:pt x="251049" y="334568"/>
                </a:cubicBezTo>
                <a:cubicBezTo>
                  <a:pt x="252782" y="338287"/>
                  <a:pt x="255818" y="341294"/>
                  <a:pt x="255835" y="345674"/>
                </a:cubicBezTo>
                <a:close/>
                <a:moveTo>
                  <a:pt x="232668" y="279444"/>
                </a:moveTo>
                <a:cubicBezTo>
                  <a:pt x="230377" y="276821"/>
                  <a:pt x="234186" y="269366"/>
                  <a:pt x="234752" y="267901"/>
                </a:cubicBezTo>
                <a:cubicBezTo>
                  <a:pt x="235361" y="266350"/>
                  <a:pt x="238818" y="264354"/>
                  <a:pt x="239855" y="262048"/>
                </a:cubicBezTo>
                <a:lnTo>
                  <a:pt x="223344" y="262048"/>
                </a:lnTo>
                <a:cubicBezTo>
                  <a:pt x="223661" y="270678"/>
                  <a:pt x="224751" y="279161"/>
                  <a:pt x="226534" y="287455"/>
                </a:cubicBezTo>
                <a:cubicBezTo>
                  <a:pt x="230498" y="288904"/>
                  <a:pt x="238115" y="285673"/>
                  <a:pt x="232668" y="279444"/>
                </a:cubicBezTo>
                <a:close/>
                <a:moveTo>
                  <a:pt x="222306" y="385519"/>
                </a:moveTo>
                <a:cubicBezTo>
                  <a:pt x="222186" y="385587"/>
                  <a:pt x="222049" y="385639"/>
                  <a:pt x="221912" y="385691"/>
                </a:cubicBezTo>
                <a:cubicBezTo>
                  <a:pt x="223413" y="387395"/>
                  <a:pt x="224940" y="389075"/>
                  <a:pt x="226501" y="390720"/>
                </a:cubicBezTo>
                <a:lnTo>
                  <a:pt x="229649" y="387576"/>
                </a:lnTo>
                <a:cubicBezTo>
                  <a:pt x="226697" y="385716"/>
                  <a:pt x="223979" y="384542"/>
                  <a:pt x="222306" y="385519"/>
                </a:cubicBezTo>
                <a:close/>
                <a:moveTo>
                  <a:pt x="289835" y="185690"/>
                </a:moveTo>
                <a:lnTo>
                  <a:pt x="262045" y="157926"/>
                </a:lnTo>
                <a:cubicBezTo>
                  <a:pt x="239135" y="182588"/>
                  <a:pt x="224691" y="215193"/>
                  <a:pt x="223352" y="251080"/>
                </a:cubicBezTo>
                <a:lnTo>
                  <a:pt x="242823" y="251080"/>
                </a:lnTo>
                <a:cubicBezTo>
                  <a:pt x="246083" y="245836"/>
                  <a:pt x="244976" y="241842"/>
                  <a:pt x="246066" y="238792"/>
                </a:cubicBezTo>
                <a:cubicBezTo>
                  <a:pt x="247112" y="235887"/>
                  <a:pt x="248827" y="233222"/>
                  <a:pt x="250440" y="230609"/>
                </a:cubicBezTo>
                <a:cubicBezTo>
                  <a:pt x="251872" y="228304"/>
                  <a:pt x="253502" y="225707"/>
                  <a:pt x="256504" y="225690"/>
                </a:cubicBezTo>
                <a:cubicBezTo>
                  <a:pt x="262851" y="225656"/>
                  <a:pt x="264429" y="222339"/>
                  <a:pt x="268452" y="220498"/>
                </a:cubicBezTo>
                <a:cubicBezTo>
                  <a:pt x="272475" y="218655"/>
                  <a:pt x="279594" y="217567"/>
                  <a:pt x="278788" y="215467"/>
                </a:cubicBezTo>
                <a:cubicBezTo>
                  <a:pt x="278239" y="214054"/>
                  <a:pt x="263932" y="219597"/>
                  <a:pt x="263623" y="218518"/>
                </a:cubicBezTo>
                <a:cubicBezTo>
                  <a:pt x="263083" y="216624"/>
                  <a:pt x="268135" y="216804"/>
                  <a:pt x="270262" y="214884"/>
                </a:cubicBezTo>
                <a:cubicBezTo>
                  <a:pt x="270682" y="214491"/>
                  <a:pt x="271094" y="214251"/>
                  <a:pt x="271488" y="214054"/>
                </a:cubicBezTo>
                <a:cubicBezTo>
                  <a:pt x="276086" y="203616"/>
                  <a:pt x="282288" y="194045"/>
                  <a:pt x="289835" y="185690"/>
                </a:cubicBezTo>
                <a:close/>
                <a:moveTo>
                  <a:pt x="284826" y="211672"/>
                </a:moveTo>
                <a:cubicBezTo>
                  <a:pt x="285203" y="211508"/>
                  <a:pt x="285581" y="211329"/>
                  <a:pt x="285975" y="211106"/>
                </a:cubicBezTo>
                <a:cubicBezTo>
                  <a:pt x="290744" y="208381"/>
                  <a:pt x="297014" y="208903"/>
                  <a:pt x="299682" y="210060"/>
                </a:cubicBezTo>
                <a:cubicBezTo>
                  <a:pt x="303121" y="211560"/>
                  <a:pt x="307521" y="215382"/>
                  <a:pt x="309520" y="216907"/>
                </a:cubicBezTo>
                <a:cubicBezTo>
                  <a:pt x="310387" y="217567"/>
                  <a:pt x="310798" y="216341"/>
                  <a:pt x="314847" y="215733"/>
                </a:cubicBezTo>
                <a:cubicBezTo>
                  <a:pt x="316536" y="215485"/>
                  <a:pt x="316923" y="217181"/>
                  <a:pt x="319333" y="217524"/>
                </a:cubicBezTo>
                <a:cubicBezTo>
                  <a:pt x="320302" y="217661"/>
                  <a:pt x="321099" y="217704"/>
                  <a:pt x="321829" y="217652"/>
                </a:cubicBezTo>
                <a:lnTo>
                  <a:pt x="297606" y="193462"/>
                </a:lnTo>
                <a:cubicBezTo>
                  <a:pt x="292674" y="198989"/>
                  <a:pt x="288377" y="205107"/>
                  <a:pt x="284826" y="211672"/>
                </a:cubicBezTo>
                <a:close/>
                <a:moveTo>
                  <a:pt x="257550" y="241568"/>
                </a:moveTo>
                <a:cubicBezTo>
                  <a:pt x="254471" y="241251"/>
                  <a:pt x="251349" y="242528"/>
                  <a:pt x="249694" y="245202"/>
                </a:cubicBezTo>
                <a:cubicBezTo>
                  <a:pt x="248536" y="247053"/>
                  <a:pt x="248210" y="249126"/>
                  <a:pt x="248604" y="251080"/>
                </a:cubicBezTo>
                <a:lnTo>
                  <a:pt x="262663" y="251080"/>
                </a:lnTo>
                <a:cubicBezTo>
                  <a:pt x="262800" y="248424"/>
                  <a:pt x="263040" y="245793"/>
                  <a:pt x="263366" y="243196"/>
                </a:cubicBezTo>
                <a:cubicBezTo>
                  <a:pt x="261555" y="242254"/>
                  <a:pt x="259403" y="241757"/>
                  <a:pt x="257550" y="241568"/>
                </a:cubicBezTo>
                <a:close/>
                <a:moveTo>
                  <a:pt x="297615" y="319675"/>
                </a:moveTo>
                <a:lnTo>
                  <a:pt x="325448" y="291860"/>
                </a:lnTo>
                <a:cubicBezTo>
                  <a:pt x="323175" y="289100"/>
                  <a:pt x="321185" y="286110"/>
                  <a:pt x="319469" y="282948"/>
                </a:cubicBezTo>
                <a:lnTo>
                  <a:pt x="319461" y="282965"/>
                </a:lnTo>
                <a:cubicBezTo>
                  <a:pt x="319024" y="283471"/>
                  <a:pt x="318655" y="283985"/>
                  <a:pt x="318432" y="284474"/>
                </a:cubicBezTo>
                <a:cubicBezTo>
                  <a:pt x="317858" y="285716"/>
                  <a:pt x="318603" y="289855"/>
                  <a:pt x="316880" y="291629"/>
                </a:cubicBezTo>
                <a:cubicBezTo>
                  <a:pt x="314658" y="293925"/>
                  <a:pt x="308689" y="286573"/>
                  <a:pt x="306801" y="285965"/>
                </a:cubicBezTo>
                <a:cubicBezTo>
                  <a:pt x="304237" y="285159"/>
                  <a:pt x="303010" y="287978"/>
                  <a:pt x="303147" y="288792"/>
                </a:cubicBezTo>
                <a:cubicBezTo>
                  <a:pt x="303490" y="290909"/>
                  <a:pt x="303062" y="291757"/>
                  <a:pt x="302135" y="291946"/>
                </a:cubicBezTo>
                <a:cubicBezTo>
                  <a:pt x="301208" y="292126"/>
                  <a:pt x="296543" y="288955"/>
                  <a:pt x="298627" y="288158"/>
                </a:cubicBezTo>
                <a:cubicBezTo>
                  <a:pt x="301055" y="287242"/>
                  <a:pt x="297992" y="285150"/>
                  <a:pt x="296946" y="284336"/>
                </a:cubicBezTo>
                <a:cubicBezTo>
                  <a:pt x="295145" y="282948"/>
                  <a:pt x="292332" y="284242"/>
                  <a:pt x="291010" y="282400"/>
                </a:cubicBezTo>
                <a:cubicBezTo>
                  <a:pt x="289595" y="280420"/>
                  <a:pt x="286928" y="278998"/>
                  <a:pt x="286104" y="278758"/>
                </a:cubicBezTo>
                <a:cubicBezTo>
                  <a:pt x="285546" y="278595"/>
                  <a:pt x="282810" y="277438"/>
                  <a:pt x="281018" y="278381"/>
                </a:cubicBezTo>
                <a:cubicBezTo>
                  <a:pt x="279611" y="279135"/>
                  <a:pt x="278093" y="277601"/>
                  <a:pt x="277038" y="276573"/>
                </a:cubicBezTo>
                <a:cubicBezTo>
                  <a:pt x="276455" y="276007"/>
                  <a:pt x="275871" y="275348"/>
                  <a:pt x="275254" y="274705"/>
                </a:cubicBezTo>
                <a:cubicBezTo>
                  <a:pt x="278573" y="291757"/>
                  <a:pt x="286473" y="307190"/>
                  <a:pt x="297615" y="319675"/>
                </a:cubicBezTo>
                <a:close/>
                <a:moveTo>
                  <a:pt x="325474" y="271646"/>
                </a:moveTo>
                <a:cubicBezTo>
                  <a:pt x="325482" y="271406"/>
                  <a:pt x="325500" y="271157"/>
                  <a:pt x="325526" y="270909"/>
                </a:cubicBezTo>
                <a:cubicBezTo>
                  <a:pt x="325534" y="270840"/>
                  <a:pt x="325534" y="270772"/>
                  <a:pt x="325543" y="270712"/>
                </a:cubicBezTo>
                <a:cubicBezTo>
                  <a:pt x="325560" y="270523"/>
                  <a:pt x="325585" y="270335"/>
                  <a:pt x="325602" y="270146"/>
                </a:cubicBezTo>
                <a:cubicBezTo>
                  <a:pt x="325620" y="270069"/>
                  <a:pt x="325628" y="269983"/>
                  <a:pt x="325637" y="269906"/>
                </a:cubicBezTo>
                <a:lnTo>
                  <a:pt x="325688" y="269546"/>
                </a:lnTo>
                <a:cubicBezTo>
                  <a:pt x="325706" y="269478"/>
                  <a:pt x="325714" y="269418"/>
                  <a:pt x="325723" y="269349"/>
                </a:cubicBezTo>
                <a:cubicBezTo>
                  <a:pt x="325731" y="269281"/>
                  <a:pt x="325748" y="269204"/>
                  <a:pt x="325757" y="269135"/>
                </a:cubicBezTo>
                <a:cubicBezTo>
                  <a:pt x="325800" y="268878"/>
                  <a:pt x="325851" y="268629"/>
                  <a:pt x="325911" y="268389"/>
                </a:cubicBezTo>
                <a:lnTo>
                  <a:pt x="325911" y="268372"/>
                </a:lnTo>
                <a:cubicBezTo>
                  <a:pt x="325963" y="268141"/>
                  <a:pt x="326023" y="267910"/>
                  <a:pt x="326092" y="267695"/>
                </a:cubicBezTo>
                <a:cubicBezTo>
                  <a:pt x="326109" y="267618"/>
                  <a:pt x="326134" y="267558"/>
                  <a:pt x="326152" y="267490"/>
                </a:cubicBezTo>
                <a:cubicBezTo>
                  <a:pt x="326203" y="267336"/>
                  <a:pt x="326246" y="267190"/>
                  <a:pt x="326306" y="267044"/>
                </a:cubicBezTo>
                <a:lnTo>
                  <a:pt x="326383" y="266838"/>
                </a:lnTo>
                <a:cubicBezTo>
                  <a:pt x="326443" y="266701"/>
                  <a:pt x="326495" y="266573"/>
                  <a:pt x="326563" y="266453"/>
                </a:cubicBezTo>
                <a:lnTo>
                  <a:pt x="326641" y="266290"/>
                </a:lnTo>
                <a:cubicBezTo>
                  <a:pt x="326734" y="266127"/>
                  <a:pt x="326829" y="265973"/>
                  <a:pt x="326932" y="265845"/>
                </a:cubicBezTo>
                <a:cubicBezTo>
                  <a:pt x="327292" y="265390"/>
                  <a:pt x="327773" y="265305"/>
                  <a:pt x="328339" y="265382"/>
                </a:cubicBezTo>
                <a:cubicBezTo>
                  <a:pt x="329316" y="265519"/>
                  <a:pt x="330543" y="266153"/>
                  <a:pt x="331735" y="266213"/>
                </a:cubicBezTo>
                <a:cubicBezTo>
                  <a:pt x="332593" y="266256"/>
                  <a:pt x="333433" y="266007"/>
                  <a:pt x="334163" y="265064"/>
                </a:cubicBezTo>
                <a:cubicBezTo>
                  <a:pt x="334497" y="264636"/>
                  <a:pt x="334806" y="264148"/>
                  <a:pt x="335029" y="263668"/>
                </a:cubicBezTo>
                <a:cubicBezTo>
                  <a:pt x="335261" y="263188"/>
                  <a:pt x="335406" y="262717"/>
                  <a:pt x="335415" y="262331"/>
                </a:cubicBezTo>
                <a:cubicBezTo>
                  <a:pt x="335415" y="262143"/>
                  <a:pt x="335389" y="261971"/>
                  <a:pt x="335321" y="261825"/>
                </a:cubicBezTo>
                <a:cubicBezTo>
                  <a:pt x="335115" y="261405"/>
                  <a:pt x="334548" y="261269"/>
                  <a:pt x="333433" y="261654"/>
                </a:cubicBezTo>
                <a:cubicBezTo>
                  <a:pt x="333202" y="261732"/>
                  <a:pt x="332979" y="261809"/>
                  <a:pt x="332748" y="261869"/>
                </a:cubicBezTo>
                <a:cubicBezTo>
                  <a:pt x="332284" y="261997"/>
                  <a:pt x="331830" y="262083"/>
                  <a:pt x="331392" y="262100"/>
                </a:cubicBezTo>
                <a:cubicBezTo>
                  <a:pt x="331169" y="262108"/>
                  <a:pt x="330963" y="262100"/>
                  <a:pt x="330758" y="262065"/>
                </a:cubicBezTo>
                <a:cubicBezTo>
                  <a:pt x="330140" y="261980"/>
                  <a:pt x="329600" y="261706"/>
                  <a:pt x="329188" y="261148"/>
                </a:cubicBezTo>
                <a:cubicBezTo>
                  <a:pt x="329059" y="260960"/>
                  <a:pt x="328939" y="260746"/>
                  <a:pt x="328836" y="260488"/>
                </a:cubicBezTo>
                <a:cubicBezTo>
                  <a:pt x="328708" y="260163"/>
                  <a:pt x="328553" y="259880"/>
                  <a:pt x="328373" y="259631"/>
                </a:cubicBezTo>
                <a:cubicBezTo>
                  <a:pt x="327679" y="258621"/>
                  <a:pt x="326658" y="258115"/>
                  <a:pt x="325594" y="257481"/>
                </a:cubicBezTo>
                <a:cubicBezTo>
                  <a:pt x="325062" y="257164"/>
                  <a:pt x="324522" y="256830"/>
                  <a:pt x="323999" y="256376"/>
                </a:cubicBezTo>
                <a:cubicBezTo>
                  <a:pt x="323742" y="256153"/>
                  <a:pt x="323484" y="255904"/>
                  <a:pt x="323244" y="255622"/>
                </a:cubicBezTo>
                <a:cubicBezTo>
                  <a:pt x="323047" y="255399"/>
                  <a:pt x="322858" y="255185"/>
                  <a:pt x="322661" y="254979"/>
                </a:cubicBezTo>
                <a:cubicBezTo>
                  <a:pt x="322583" y="254902"/>
                  <a:pt x="322506" y="254834"/>
                  <a:pt x="322429" y="254765"/>
                </a:cubicBezTo>
                <a:cubicBezTo>
                  <a:pt x="322300" y="254636"/>
                  <a:pt x="322180" y="254516"/>
                  <a:pt x="322043" y="254396"/>
                </a:cubicBezTo>
                <a:cubicBezTo>
                  <a:pt x="321949" y="254310"/>
                  <a:pt x="321846" y="254225"/>
                  <a:pt x="321751" y="254148"/>
                </a:cubicBezTo>
                <a:cubicBezTo>
                  <a:pt x="321640" y="254054"/>
                  <a:pt x="321528" y="253967"/>
                  <a:pt x="321417" y="253882"/>
                </a:cubicBezTo>
                <a:cubicBezTo>
                  <a:pt x="321297" y="253788"/>
                  <a:pt x="321185" y="253711"/>
                  <a:pt x="321065" y="253625"/>
                </a:cubicBezTo>
                <a:cubicBezTo>
                  <a:pt x="320970" y="253565"/>
                  <a:pt x="320868" y="253497"/>
                  <a:pt x="320765" y="253436"/>
                </a:cubicBezTo>
                <a:cubicBezTo>
                  <a:pt x="320636" y="253351"/>
                  <a:pt x="320508" y="253274"/>
                  <a:pt x="320370" y="253205"/>
                </a:cubicBezTo>
                <a:lnTo>
                  <a:pt x="320113" y="253077"/>
                </a:lnTo>
                <a:cubicBezTo>
                  <a:pt x="319967" y="253008"/>
                  <a:pt x="319813" y="252939"/>
                  <a:pt x="319667" y="252880"/>
                </a:cubicBezTo>
                <a:cubicBezTo>
                  <a:pt x="319598" y="252854"/>
                  <a:pt x="319530" y="252837"/>
                  <a:pt x="319461" y="252811"/>
                </a:cubicBezTo>
                <a:cubicBezTo>
                  <a:pt x="319290" y="252759"/>
                  <a:pt x="319118" y="252700"/>
                  <a:pt x="318947" y="252665"/>
                </a:cubicBezTo>
                <a:lnTo>
                  <a:pt x="318843" y="252648"/>
                </a:lnTo>
                <a:cubicBezTo>
                  <a:pt x="317531" y="252400"/>
                  <a:pt x="316159" y="252742"/>
                  <a:pt x="314829" y="254028"/>
                </a:cubicBezTo>
                <a:lnTo>
                  <a:pt x="314778" y="254071"/>
                </a:lnTo>
                <a:cubicBezTo>
                  <a:pt x="314572" y="254276"/>
                  <a:pt x="314358" y="254508"/>
                  <a:pt x="314152" y="254765"/>
                </a:cubicBezTo>
                <a:lnTo>
                  <a:pt x="314083" y="254842"/>
                </a:lnTo>
                <a:cubicBezTo>
                  <a:pt x="313878" y="255107"/>
                  <a:pt x="313671" y="255381"/>
                  <a:pt x="313466" y="255699"/>
                </a:cubicBezTo>
                <a:cubicBezTo>
                  <a:pt x="313457" y="255724"/>
                  <a:pt x="313440" y="255750"/>
                  <a:pt x="313414" y="255776"/>
                </a:cubicBezTo>
                <a:cubicBezTo>
                  <a:pt x="313208" y="256101"/>
                  <a:pt x="313002" y="256453"/>
                  <a:pt x="312797" y="256830"/>
                </a:cubicBezTo>
                <a:cubicBezTo>
                  <a:pt x="312368" y="257619"/>
                  <a:pt x="311956" y="258501"/>
                  <a:pt x="311562" y="259546"/>
                </a:cubicBezTo>
                <a:cubicBezTo>
                  <a:pt x="308371" y="267892"/>
                  <a:pt x="304674" y="265339"/>
                  <a:pt x="305283" y="268313"/>
                </a:cubicBezTo>
                <a:cubicBezTo>
                  <a:pt x="305351" y="268663"/>
                  <a:pt x="306252" y="268904"/>
                  <a:pt x="307556" y="269006"/>
                </a:cubicBezTo>
                <a:cubicBezTo>
                  <a:pt x="308079" y="269049"/>
                  <a:pt x="308671" y="269075"/>
                  <a:pt x="309288" y="269075"/>
                </a:cubicBezTo>
                <a:cubicBezTo>
                  <a:pt x="309915" y="269075"/>
                  <a:pt x="310584" y="269058"/>
                  <a:pt x="311253" y="269015"/>
                </a:cubicBezTo>
                <a:cubicBezTo>
                  <a:pt x="311931" y="268981"/>
                  <a:pt x="312616" y="268921"/>
                  <a:pt x="313285" y="268835"/>
                </a:cubicBezTo>
                <a:cubicBezTo>
                  <a:pt x="313620" y="268792"/>
                  <a:pt x="313946" y="268741"/>
                  <a:pt x="314264" y="268690"/>
                </a:cubicBezTo>
                <a:cubicBezTo>
                  <a:pt x="314460" y="268663"/>
                  <a:pt x="314640" y="268629"/>
                  <a:pt x="314829" y="268595"/>
                </a:cubicBezTo>
                <a:cubicBezTo>
                  <a:pt x="315010" y="268561"/>
                  <a:pt x="315189" y="268527"/>
                  <a:pt x="315370" y="268484"/>
                </a:cubicBezTo>
                <a:lnTo>
                  <a:pt x="315841" y="268381"/>
                </a:lnTo>
                <a:cubicBezTo>
                  <a:pt x="316048" y="268330"/>
                  <a:pt x="316236" y="268270"/>
                  <a:pt x="316425" y="268218"/>
                </a:cubicBezTo>
                <a:cubicBezTo>
                  <a:pt x="316545" y="268184"/>
                  <a:pt x="316665" y="268149"/>
                  <a:pt x="316768" y="268115"/>
                </a:cubicBezTo>
                <a:cubicBezTo>
                  <a:pt x="317068" y="268021"/>
                  <a:pt x="317343" y="267918"/>
                  <a:pt x="317583" y="267806"/>
                </a:cubicBezTo>
                <a:cubicBezTo>
                  <a:pt x="318011" y="267610"/>
                  <a:pt x="318449" y="267438"/>
                  <a:pt x="318878" y="267292"/>
                </a:cubicBezTo>
                <a:lnTo>
                  <a:pt x="318921" y="267284"/>
                </a:lnTo>
                <a:cubicBezTo>
                  <a:pt x="319332" y="267147"/>
                  <a:pt x="319744" y="267044"/>
                  <a:pt x="320139" y="266976"/>
                </a:cubicBezTo>
                <a:cubicBezTo>
                  <a:pt x="320970" y="266822"/>
                  <a:pt x="321734" y="266830"/>
                  <a:pt x="322335" y="267044"/>
                </a:cubicBezTo>
                <a:cubicBezTo>
                  <a:pt x="322772" y="267198"/>
                  <a:pt x="323673" y="267575"/>
                  <a:pt x="324316" y="268509"/>
                </a:cubicBezTo>
                <a:cubicBezTo>
                  <a:pt x="324848" y="269272"/>
                  <a:pt x="325354" y="270592"/>
                  <a:pt x="325474" y="271646"/>
                </a:cubicBezTo>
                <a:close/>
                <a:moveTo>
                  <a:pt x="363051" y="150797"/>
                </a:moveTo>
                <a:lnTo>
                  <a:pt x="363051" y="111517"/>
                </a:lnTo>
                <a:cubicBezTo>
                  <a:pt x="327120" y="112854"/>
                  <a:pt x="294484" y="127284"/>
                  <a:pt x="269798" y="150172"/>
                </a:cubicBezTo>
                <a:lnTo>
                  <a:pt x="297598" y="177935"/>
                </a:lnTo>
                <a:cubicBezTo>
                  <a:pt x="315130" y="162134"/>
                  <a:pt x="337945" y="152083"/>
                  <a:pt x="363051" y="150797"/>
                </a:cubicBezTo>
                <a:close/>
                <a:moveTo>
                  <a:pt x="363051" y="100540"/>
                </a:moveTo>
                <a:lnTo>
                  <a:pt x="363051" y="61260"/>
                </a:lnTo>
                <a:cubicBezTo>
                  <a:pt x="313268" y="62639"/>
                  <a:pt x="268075" y="82699"/>
                  <a:pt x="234255" y="114662"/>
                </a:cubicBezTo>
                <a:lnTo>
                  <a:pt x="262045" y="142416"/>
                </a:lnTo>
                <a:cubicBezTo>
                  <a:pt x="288720" y="117550"/>
                  <a:pt x="324093" y="101894"/>
                  <a:pt x="363051" y="100540"/>
                </a:cubicBezTo>
                <a:close/>
                <a:moveTo>
                  <a:pt x="226492" y="122408"/>
                </a:moveTo>
                <a:cubicBezTo>
                  <a:pt x="194507" y="156196"/>
                  <a:pt x="174428" y="201346"/>
                  <a:pt x="173055" y="251080"/>
                </a:cubicBezTo>
                <a:lnTo>
                  <a:pt x="212365" y="251080"/>
                </a:lnTo>
                <a:cubicBezTo>
                  <a:pt x="213721" y="212168"/>
                  <a:pt x="229391" y="176830"/>
                  <a:pt x="254282" y="150172"/>
                </a:cubicBezTo>
                <a:lnTo>
                  <a:pt x="226492" y="122408"/>
                </a:lnTo>
                <a:close/>
                <a:moveTo>
                  <a:pt x="173055" y="262048"/>
                </a:moveTo>
                <a:cubicBezTo>
                  <a:pt x="173613" y="282417"/>
                  <a:pt x="177318" y="302005"/>
                  <a:pt x="183683" y="320369"/>
                </a:cubicBezTo>
                <a:cubicBezTo>
                  <a:pt x="183914" y="320352"/>
                  <a:pt x="184129" y="320343"/>
                  <a:pt x="184360" y="320335"/>
                </a:cubicBezTo>
                <a:cubicBezTo>
                  <a:pt x="188349" y="320146"/>
                  <a:pt x="193684" y="320275"/>
                  <a:pt x="196197" y="318338"/>
                </a:cubicBezTo>
                <a:cubicBezTo>
                  <a:pt x="200065" y="315356"/>
                  <a:pt x="196488" y="304688"/>
                  <a:pt x="198916" y="300241"/>
                </a:cubicBezTo>
                <a:cubicBezTo>
                  <a:pt x="201909" y="294739"/>
                  <a:pt x="209389" y="281688"/>
                  <a:pt x="211636" y="281603"/>
                </a:cubicBezTo>
                <a:cubicBezTo>
                  <a:pt x="213626" y="281526"/>
                  <a:pt x="213540" y="283008"/>
                  <a:pt x="214552" y="283248"/>
                </a:cubicBezTo>
                <a:cubicBezTo>
                  <a:pt x="213360" y="276290"/>
                  <a:pt x="212614" y="269221"/>
                  <a:pt x="212373" y="262048"/>
                </a:cubicBezTo>
                <a:lnTo>
                  <a:pt x="173055" y="262048"/>
                </a:lnTo>
                <a:close/>
                <a:moveTo>
                  <a:pt x="363051" y="462837"/>
                </a:moveTo>
                <a:cubicBezTo>
                  <a:pt x="310241" y="461458"/>
                  <a:pt x="262302" y="440172"/>
                  <a:pt x="226492" y="406230"/>
                </a:cubicBezTo>
                <a:lnTo>
                  <a:pt x="198590" y="434105"/>
                </a:lnTo>
                <a:cubicBezTo>
                  <a:pt x="243209" y="476770"/>
                  <a:pt x="301218" y="500754"/>
                  <a:pt x="363051" y="502101"/>
                </a:cubicBezTo>
                <a:lnTo>
                  <a:pt x="363051" y="462837"/>
                </a:lnTo>
                <a:close/>
                <a:moveTo>
                  <a:pt x="363051" y="412597"/>
                </a:moveTo>
                <a:cubicBezTo>
                  <a:pt x="328176" y="411397"/>
                  <a:pt x="295334" y="398836"/>
                  <a:pt x="268735" y="376718"/>
                </a:cubicBezTo>
                <a:cubicBezTo>
                  <a:pt x="269335" y="377447"/>
                  <a:pt x="269859" y="378150"/>
                  <a:pt x="270262" y="378827"/>
                </a:cubicBezTo>
                <a:cubicBezTo>
                  <a:pt x="272072" y="381945"/>
                  <a:pt x="278367" y="388287"/>
                  <a:pt x="274362" y="390823"/>
                </a:cubicBezTo>
                <a:cubicBezTo>
                  <a:pt x="271034" y="392923"/>
                  <a:pt x="265519" y="391509"/>
                  <a:pt x="262431" y="391457"/>
                </a:cubicBezTo>
                <a:cubicBezTo>
                  <a:pt x="259026" y="391414"/>
                  <a:pt x="254077" y="396496"/>
                  <a:pt x="251161" y="397002"/>
                </a:cubicBezTo>
                <a:cubicBezTo>
                  <a:pt x="247447" y="397635"/>
                  <a:pt x="245319" y="397353"/>
                  <a:pt x="241845" y="395947"/>
                </a:cubicBezTo>
                <a:cubicBezTo>
                  <a:pt x="240988" y="395596"/>
                  <a:pt x="239907" y="394919"/>
                  <a:pt x="238680" y="394054"/>
                </a:cubicBezTo>
                <a:lnTo>
                  <a:pt x="234255" y="398475"/>
                </a:lnTo>
                <a:cubicBezTo>
                  <a:pt x="268075" y="430429"/>
                  <a:pt x="313268" y="450489"/>
                  <a:pt x="363051" y="451869"/>
                </a:cubicBezTo>
                <a:lnTo>
                  <a:pt x="363051" y="412597"/>
                </a:lnTo>
                <a:close/>
                <a:moveTo>
                  <a:pt x="363051" y="398792"/>
                </a:moveTo>
                <a:cubicBezTo>
                  <a:pt x="357519" y="399204"/>
                  <a:pt x="349156" y="399067"/>
                  <a:pt x="347174" y="397704"/>
                </a:cubicBezTo>
                <a:cubicBezTo>
                  <a:pt x="343049" y="394850"/>
                  <a:pt x="338134" y="392049"/>
                  <a:pt x="337576" y="389838"/>
                </a:cubicBezTo>
                <a:cubicBezTo>
                  <a:pt x="336581" y="385913"/>
                  <a:pt x="331204" y="382966"/>
                  <a:pt x="331204" y="379289"/>
                </a:cubicBezTo>
                <a:cubicBezTo>
                  <a:pt x="331204" y="375202"/>
                  <a:pt x="336856" y="373865"/>
                  <a:pt x="335346" y="369718"/>
                </a:cubicBezTo>
                <a:cubicBezTo>
                  <a:pt x="334137" y="366419"/>
                  <a:pt x="337353" y="362288"/>
                  <a:pt x="343238" y="359409"/>
                </a:cubicBezTo>
                <a:cubicBezTo>
                  <a:pt x="325989" y="355168"/>
                  <a:pt x="310387" y="346719"/>
                  <a:pt x="297598" y="335193"/>
                </a:cubicBezTo>
                <a:lnTo>
                  <a:pt x="269747" y="363017"/>
                </a:lnTo>
                <a:cubicBezTo>
                  <a:pt x="295342" y="386770"/>
                  <a:pt x="328098" y="400309"/>
                  <a:pt x="363051" y="401603"/>
                </a:cubicBezTo>
                <a:lnTo>
                  <a:pt x="363051" y="398792"/>
                </a:lnTo>
                <a:close/>
                <a:moveTo>
                  <a:pt x="371551" y="346307"/>
                </a:moveTo>
                <a:cubicBezTo>
                  <a:pt x="375737" y="345604"/>
                  <a:pt x="380180" y="344396"/>
                  <a:pt x="383954" y="344020"/>
                </a:cubicBezTo>
                <a:cubicBezTo>
                  <a:pt x="388088" y="343608"/>
                  <a:pt x="383782" y="349487"/>
                  <a:pt x="386235" y="349726"/>
                </a:cubicBezTo>
                <a:cubicBezTo>
                  <a:pt x="389169" y="350018"/>
                  <a:pt x="401228" y="352074"/>
                  <a:pt x="402078" y="349341"/>
                </a:cubicBezTo>
                <a:cubicBezTo>
                  <a:pt x="402773" y="347096"/>
                  <a:pt x="402936" y="346085"/>
                  <a:pt x="405526" y="345528"/>
                </a:cubicBezTo>
                <a:cubicBezTo>
                  <a:pt x="410406" y="344465"/>
                  <a:pt x="414274" y="344619"/>
                  <a:pt x="418409" y="341466"/>
                </a:cubicBezTo>
                <a:cubicBezTo>
                  <a:pt x="419901" y="340326"/>
                  <a:pt x="422981" y="339915"/>
                  <a:pt x="423864" y="338227"/>
                </a:cubicBezTo>
                <a:cubicBezTo>
                  <a:pt x="424747" y="336539"/>
                  <a:pt x="423229" y="328552"/>
                  <a:pt x="420253" y="329855"/>
                </a:cubicBezTo>
                <a:cubicBezTo>
                  <a:pt x="418803" y="330498"/>
                  <a:pt x="417054" y="332563"/>
                  <a:pt x="413957" y="334123"/>
                </a:cubicBezTo>
                <a:cubicBezTo>
                  <a:pt x="411153" y="335528"/>
                  <a:pt x="409162" y="336170"/>
                  <a:pt x="407173" y="333505"/>
                </a:cubicBezTo>
                <a:cubicBezTo>
                  <a:pt x="405354" y="331080"/>
                  <a:pt x="408236" y="329178"/>
                  <a:pt x="409729" y="327550"/>
                </a:cubicBezTo>
                <a:cubicBezTo>
                  <a:pt x="412036" y="325021"/>
                  <a:pt x="414128" y="322460"/>
                  <a:pt x="416694" y="322460"/>
                </a:cubicBezTo>
                <a:cubicBezTo>
                  <a:pt x="417689" y="322460"/>
                  <a:pt x="422989" y="319829"/>
                  <a:pt x="422543" y="317421"/>
                </a:cubicBezTo>
                <a:cubicBezTo>
                  <a:pt x="421960" y="314302"/>
                  <a:pt x="415801" y="317704"/>
                  <a:pt x="414369" y="316419"/>
                </a:cubicBezTo>
                <a:cubicBezTo>
                  <a:pt x="413374" y="315536"/>
                  <a:pt x="414352" y="313291"/>
                  <a:pt x="413579" y="312948"/>
                </a:cubicBezTo>
                <a:cubicBezTo>
                  <a:pt x="412859" y="312614"/>
                  <a:pt x="410587" y="315716"/>
                  <a:pt x="412345" y="317396"/>
                </a:cubicBezTo>
                <a:cubicBezTo>
                  <a:pt x="413254" y="318269"/>
                  <a:pt x="410869" y="320703"/>
                  <a:pt x="408194" y="318955"/>
                </a:cubicBezTo>
                <a:cubicBezTo>
                  <a:pt x="406135" y="317593"/>
                  <a:pt x="405603" y="325090"/>
                  <a:pt x="405783" y="326462"/>
                </a:cubicBezTo>
                <a:cubicBezTo>
                  <a:pt x="405964" y="327833"/>
                  <a:pt x="408802" y="327455"/>
                  <a:pt x="406916" y="329923"/>
                </a:cubicBezTo>
                <a:cubicBezTo>
                  <a:pt x="405020" y="332408"/>
                  <a:pt x="404317" y="330566"/>
                  <a:pt x="402918" y="331783"/>
                </a:cubicBezTo>
                <a:cubicBezTo>
                  <a:pt x="401237" y="333257"/>
                  <a:pt x="400860" y="333822"/>
                  <a:pt x="402918" y="335956"/>
                </a:cubicBezTo>
                <a:cubicBezTo>
                  <a:pt x="404565" y="337652"/>
                  <a:pt x="401949" y="340875"/>
                  <a:pt x="401340" y="337858"/>
                </a:cubicBezTo>
                <a:cubicBezTo>
                  <a:pt x="400937" y="335853"/>
                  <a:pt x="396717" y="336462"/>
                  <a:pt x="395920" y="334191"/>
                </a:cubicBezTo>
                <a:cubicBezTo>
                  <a:pt x="395096" y="331852"/>
                  <a:pt x="391665" y="332083"/>
                  <a:pt x="387496" y="329949"/>
                </a:cubicBezTo>
                <a:cubicBezTo>
                  <a:pt x="384340" y="328329"/>
                  <a:pt x="384743" y="333111"/>
                  <a:pt x="390095" y="334328"/>
                </a:cubicBezTo>
                <a:cubicBezTo>
                  <a:pt x="394641" y="335365"/>
                  <a:pt x="394410" y="335904"/>
                  <a:pt x="393106" y="338749"/>
                </a:cubicBezTo>
                <a:cubicBezTo>
                  <a:pt x="392042" y="341080"/>
                  <a:pt x="392248" y="336958"/>
                  <a:pt x="386844" y="335528"/>
                </a:cubicBezTo>
                <a:cubicBezTo>
                  <a:pt x="383370" y="334610"/>
                  <a:pt x="383208" y="332760"/>
                  <a:pt x="380471" y="332794"/>
                </a:cubicBezTo>
                <a:cubicBezTo>
                  <a:pt x="377701" y="332820"/>
                  <a:pt x="378610" y="335442"/>
                  <a:pt x="375685" y="334756"/>
                </a:cubicBezTo>
                <a:cubicBezTo>
                  <a:pt x="373472" y="334233"/>
                  <a:pt x="373129" y="337215"/>
                  <a:pt x="371088" y="338081"/>
                </a:cubicBezTo>
                <a:cubicBezTo>
                  <a:pt x="368600" y="339144"/>
                  <a:pt x="368747" y="343642"/>
                  <a:pt x="366216" y="344885"/>
                </a:cubicBezTo>
                <a:cubicBezTo>
                  <a:pt x="362451" y="346727"/>
                  <a:pt x="354731" y="345339"/>
                  <a:pt x="355083" y="341612"/>
                </a:cubicBezTo>
                <a:cubicBezTo>
                  <a:pt x="355435" y="337884"/>
                  <a:pt x="355606" y="335099"/>
                  <a:pt x="357768" y="333788"/>
                </a:cubicBezTo>
                <a:cubicBezTo>
                  <a:pt x="359671" y="332648"/>
                  <a:pt x="362811" y="335990"/>
                  <a:pt x="365453" y="334808"/>
                </a:cubicBezTo>
                <a:cubicBezTo>
                  <a:pt x="368215" y="333582"/>
                  <a:pt x="367520" y="330643"/>
                  <a:pt x="365847" y="328758"/>
                </a:cubicBezTo>
                <a:cubicBezTo>
                  <a:pt x="365350" y="328115"/>
                  <a:pt x="363326" y="327113"/>
                  <a:pt x="363368" y="326479"/>
                </a:cubicBezTo>
                <a:cubicBezTo>
                  <a:pt x="363411" y="325699"/>
                  <a:pt x="367348" y="325330"/>
                  <a:pt x="369338" y="323994"/>
                </a:cubicBezTo>
                <a:cubicBezTo>
                  <a:pt x="371337" y="322657"/>
                  <a:pt x="373481" y="319092"/>
                  <a:pt x="374502" y="318295"/>
                </a:cubicBezTo>
                <a:cubicBezTo>
                  <a:pt x="375591" y="317447"/>
                  <a:pt x="377727" y="317233"/>
                  <a:pt x="377924" y="316444"/>
                </a:cubicBezTo>
                <a:cubicBezTo>
                  <a:pt x="378199" y="315442"/>
                  <a:pt x="376414" y="313616"/>
                  <a:pt x="376586" y="312391"/>
                </a:cubicBezTo>
                <a:cubicBezTo>
                  <a:pt x="376758" y="311166"/>
                  <a:pt x="377186" y="310223"/>
                  <a:pt x="378139" y="310292"/>
                </a:cubicBezTo>
                <a:cubicBezTo>
                  <a:pt x="379091" y="310369"/>
                  <a:pt x="380223" y="313111"/>
                  <a:pt x="379614" y="313771"/>
                </a:cubicBezTo>
                <a:cubicBezTo>
                  <a:pt x="378919" y="314516"/>
                  <a:pt x="380111" y="315776"/>
                  <a:pt x="381407" y="315245"/>
                </a:cubicBezTo>
                <a:cubicBezTo>
                  <a:pt x="382710" y="314713"/>
                  <a:pt x="387333" y="312905"/>
                  <a:pt x="388680" y="312554"/>
                </a:cubicBezTo>
                <a:cubicBezTo>
                  <a:pt x="390507" y="312066"/>
                  <a:pt x="388226" y="307935"/>
                  <a:pt x="388818" y="307198"/>
                </a:cubicBezTo>
                <a:cubicBezTo>
                  <a:pt x="389375" y="306504"/>
                  <a:pt x="389915" y="307421"/>
                  <a:pt x="390619" y="306718"/>
                </a:cubicBezTo>
                <a:cubicBezTo>
                  <a:pt x="391322" y="306016"/>
                  <a:pt x="389177" y="305322"/>
                  <a:pt x="389521" y="303822"/>
                </a:cubicBezTo>
                <a:cubicBezTo>
                  <a:pt x="389769" y="302691"/>
                  <a:pt x="394607" y="301380"/>
                  <a:pt x="393278" y="300523"/>
                </a:cubicBezTo>
                <a:cubicBezTo>
                  <a:pt x="391948" y="299658"/>
                  <a:pt x="390156" y="302160"/>
                  <a:pt x="389092" y="302631"/>
                </a:cubicBezTo>
                <a:cubicBezTo>
                  <a:pt x="386681" y="303694"/>
                  <a:pt x="385507" y="301063"/>
                  <a:pt x="385583" y="299066"/>
                </a:cubicBezTo>
                <a:cubicBezTo>
                  <a:pt x="385626" y="298098"/>
                  <a:pt x="386939" y="294670"/>
                  <a:pt x="385789" y="294002"/>
                </a:cubicBezTo>
                <a:cubicBezTo>
                  <a:pt x="384194" y="293085"/>
                  <a:pt x="383928" y="297164"/>
                  <a:pt x="383680" y="297961"/>
                </a:cubicBezTo>
                <a:cubicBezTo>
                  <a:pt x="383294" y="299169"/>
                  <a:pt x="382265" y="300694"/>
                  <a:pt x="384031" y="303985"/>
                </a:cubicBezTo>
                <a:cubicBezTo>
                  <a:pt x="384983" y="305759"/>
                  <a:pt x="384495" y="311765"/>
                  <a:pt x="382642" y="312425"/>
                </a:cubicBezTo>
                <a:cubicBezTo>
                  <a:pt x="380669" y="313136"/>
                  <a:pt x="379803" y="309375"/>
                  <a:pt x="378877" y="307824"/>
                </a:cubicBezTo>
                <a:cubicBezTo>
                  <a:pt x="378722" y="307558"/>
                  <a:pt x="378559" y="307361"/>
                  <a:pt x="378388" y="307267"/>
                </a:cubicBezTo>
                <a:lnTo>
                  <a:pt x="378336" y="307241"/>
                </a:lnTo>
                <a:cubicBezTo>
                  <a:pt x="378259" y="307207"/>
                  <a:pt x="378182" y="307190"/>
                  <a:pt x="378096" y="307198"/>
                </a:cubicBezTo>
                <a:lnTo>
                  <a:pt x="378087" y="307198"/>
                </a:lnTo>
                <a:cubicBezTo>
                  <a:pt x="378001" y="307207"/>
                  <a:pt x="377915" y="307259"/>
                  <a:pt x="377830" y="307327"/>
                </a:cubicBezTo>
                <a:lnTo>
                  <a:pt x="377761" y="307387"/>
                </a:lnTo>
                <a:cubicBezTo>
                  <a:pt x="377667" y="307472"/>
                  <a:pt x="377581" y="307575"/>
                  <a:pt x="377478" y="307729"/>
                </a:cubicBezTo>
                <a:cubicBezTo>
                  <a:pt x="377324" y="307970"/>
                  <a:pt x="377075" y="308389"/>
                  <a:pt x="376870" y="308749"/>
                </a:cubicBezTo>
                <a:cubicBezTo>
                  <a:pt x="376724" y="309006"/>
                  <a:pt x="376432" y="309615"/>
                  <a:pt x="376063" y="310669"/>
                </a:cubicBezTo>
                <a:cubicBezTo>
                  <a:pt x="375831" y="311337"/>
                  <a:pt x="375411" y="311740"/>
                  <a:pt x="374665" y="311903"/>
                </a:cubicBezTo>
                <a:cubicBezTo>
                  <a:pt x="372649" y="312126"/>
                  <a:pt x="370616" y="312262"/>
                  <a:pt x="368541" y="312262"/>
                </a:cubicBezTo>
                <a:cubicBezTo>
                  <a:pt x="367743" y="312262"/>
                  <a:pt x="366945" y="312245"/>
                  <a:pt x="366156" y="312211"/>
                </a:cubicBezTo>
                <a:cubicBezTo>
                  <a:pt x="366491" y="313445"/>
                  <a:pt x="366843" y="314782"/>
                  <a:pt x="367297" y="315648"/>
                </a:cubicBezTo>
                <a:cubicBezTo>
                  <a:pt x="368387" y="317704"/>
                  <a:pt x="370470" y="319366"/>
                  <a:pt x="370119" y="320883"/>
                </a:cubicBezTo>
                <a:cubicBezTo>
                  <a:pt x="369767" y="322408"/>
                  <a:pt x="363403" y="323788"/>
                  <a:pt x="362879" y="322674"/>
                </a:cubicBezTo>
                <a:cubicBezTo>
                  <a:pt x="362228" y="321286"/>
                  <a:pt x="364483" y="318501"/>
                  <a:pt x="364303" y="317241"/>
                </a:cubicBezTo>
                <a:cubicBezTo>
                  <a:pt x="363978" y="314945"/>
                  <a:pt x="362819" y="313574"/>
                  <a:pt x="362965" y="311980"/>
                </a:cubicBezTo>
                <a:cubicBezTo>
                  <a:pt x="351738" y="310857"/>
                  <a:pt x="341479" y="306410"/>
                  <a:pt x="333211" y="299615"/>
                </a:cubicBezTo>
                <a:lnTo>
                  <a:pt x="305369" y="327430"/>
                </a:lnTo>
                <a:cubicBezTo>
                  <a:pt x="319101" y="339649"/>
                  <a:pt x="336376" y="347970"/>
                  <a:pt x="355452" y="350609"/>
                </a:cubicBezTo>
                <a:cubicBezTo>
                  <a:pt x="358145" y="348964"/>
                  <a:pt x="359251" y="346024"/>
                  <a:pt x="361379" y="347618"/>
                </a:cubicBezTo>
                <a:cubicBezTo>
                  <a:pt x="364767" y="350172"/>
                  <a:pt x="368850" y="346762"/>
                  <a:pt x="371552" y="346307"/>
                </a:cubicBezTo>
                <a:close/>
                <a:moveTo>
                  <a:pt x="374030" y="412589"/>
                </a:moveTo>
                <a:lnTo>
                  <a:pt x="374030" y="451869"/>
                </a:lnTo>
                <a:cubicBezTo>
                  <a:pt x="389949" y="451423"/>
                  <a:pt x="405406" y="449067"/>
                  <a:pt x="420176" y="445022"/>
                </a:cubicBezTo>
                <a:cubicBezTo>
                  <a:pt x="417105" y="442417"/>
                  <a:pt x="415707" y="438193"/>
                  <a:pt x="411908" y="436890"/>
                </a:cubicBezTo>
                <a:cubicBezTo>
                  <a:pt x="405371" y="434645"/>
                  <a:pt x="403613" y="430626"/>
                  <a:pt x="407147" y="424799"/>
                </a:cubicBezTo>
                <a:cubicBezTo>
                  <a:pt x="409060" y="421654"/>
                  <a:pt x="408305" y="420412"/>
                  <a:pt x="406066" y="417061"/>
                </a:cubicBezTo>
                <a:cubicBezTo>
                  <a:pt x="403339" y="412983"/>
                  <a:pt x="399813" y="411115"/>
                  <a:pt x="397257" y="410009"/>
                </a:cubicBezTo>
                <a:cubicBezTo>
                  <a:pt x="389683" y="411423"/>
                  <a:pt x="381939" y="412314"/>
                  <a:pt x="374030" y="412589"/>
                </a:cubicBezTo>
                <a:close/>
                <a:moveTo>
                  <a:pt x="392901" y="399667"/>
                </a:moveTo>
                <a:cubicBezTo>
                  <a:pt x="391614" y="398278"/>
                  <a:pt x="389006" y="398176"/>
                  <a:pt x="387162" y="398672"/>
                </a:cubicBezTo>
                <a:cubicBezTo>
                  <a:pt x="380772" y="400404"/>
                  <a:pt x="382908" y="395330"/>
                  <a:pt x="374030" y="396624"/>
                </a:cubicBezTo>
                <a:lnTo>
                  <a:pt x="374030" y="401620"/>
                </a:lnTo>
                <a:cubicBezTo>
                  <a:pt x="380437" y="401380"/>
                  <a:pt x="386733" y="400703"/>
                  <a:pt x="392901" y="399667"/>
                </a:cubicBezTo>
                <a:close/>
                <a:moveTo>
                  <a:pt x="538481" y="434105"/>
                </a:moveTo>
                <a:lnTo>
                  <a:pt x="510579" y="406230"/>
                </a:lnTo>
                <a:cubicBezTo>
                  <a:pt x="496197" y="419863"/>
                  <a:pt x="479848" y="431449"/>
                  <a:pt x="462016" y="440532"/>
                </a:cubicBezTo>
                <a:cubicBezTo>
                  <a:pt x="456140" y="444962"/>
                  <a:pt x="448961" y="448184"/>
                  <a:pt x="443532" y="450643"/>
                </a:cubicBezTo>
                <a:cubicBezTo>
                  <a:pt x="441259" y="451672"/>
                  <a:pt x="438797" y="453017"/>
                  <a:pt x="436215" y="453017"/>
                </a:cubicBezTo>
                <a:cubicBezTo>
                  <a:pt x="435383" y="453017"/>
                  <a:pt x="434663" y="452743"/>
                  <a:pt x="433943" y="452298"/>
                </a:cubicBezTo>
                <a:cubicBezTo>
                  <a:pt x="415029" y="458621"/>
                  <a:pt x="394915" y="462289"/>
                  <a:pt x="374030" y="462837"/>
                </a:cubicBezTo>
                <a:lnTo>
                  <a:pt x="374030" y="502101"/>
                </a:lnTo>
                <a:cubicBezTo>
                  <a:pt x="435864" y="500754"/>
                  <a:pt x="493874" y="476770"/>
                  <a:pt x="538481" y="434105"/>
                </a:cubicBezTo>
                <a:close/>
                <a:moveTo>
                  <a:pt x="483477" y="150112"/>
                </a:moveTo>
                <a:cubicBezTo>
                  <a:pt x="483425" y="150343"/>
                  <a:pt x="483305" y="150471"/>
                  <a:pt x="483159" y="150566"/>
                </a:cubicBezTo>
                <a:cubicBezTo>
                  <a:pt x="489636" y="157550"/>
                  <a:pt x="495460" y="165133"/>
                  <a:pt x="500590" y="173205"/>
                </a:cubicBezTo>
                <a:cubicBezTo>
                  <a:pt x="501186" y="172443"/>
                  <a:pt x="501662" y="171765"/>
                  <a:pt x="502491" y="172717"/>
                </a:cubicBezTo>
                <a:cubicBezTo>
                  <a:pt x="503882" y="174301"/>
                  <a:pt x="501041" y="177181"/>
                  <a:pt x="505158" y="176427"/>
                </a:cubicBezTo>
                <a:cubicBezTo>
                  <a:pt x="507640" y="175973"/>
                  <a:pt x="507131" y="179143"/>
                  <a:pt x="505124" y="180840"/>
                </a:cubicBezTo>
                <a:cubicBezTo>
                  <a:pt x="506394" y="183128"/>
                  <a:pt x="507621" y="185442"/>
                  <a:pt x="508780" y="187789"/>
                </a:cubicBezTo>
                <a:cubicBezTo>
                  <a:pt x="510230" y="188441"/>
                  <a:pt x="511326" y="189229"/>
                  <a:pt x="511549" y="190172"/>
                </a:cubicBezTo>
                <a:cubicBezTo>
                  <a:pt x="512203" y="192931"/>
                  <a:pt x="513469" y="195990"/>
                  <a:pt x="513779" y="199041"/>
                </a:cubicBezTo>
                <a:cubicBezTo>
                  <a:pt x="515743" y="203984"/>
                  <a:pt x="517474" y="209049"/>
                  <a:pt x="518944" y="214225"/>
                </a:cubicBezTo>
                <a:cubicBezTo>
                  <a:pt x="520966" y="212494"/>
                  <a:pt x="523250" y="213436"/>
                  <a:pt x="523487" y="216324"/>
                </a:cubicBezTo>
                <a:cubicBezTo>
                  <a:pt x="523730" y="219212"/>
                  <a:pt x="522813" y="222339"/>
                  <a:pt x="521552" y="224928"/>
                </a:cubicBezTo>
                <a:cubicBezTo>
                  <a:pt x="523308" y="233419"/>
                  <a:pt x="524409" y="242151"/>
                  <a:pt x="524714" y="251080"/>
                </a:cubicBezTo>
                <a:lnTo>
                  <a:pt x="564026" y="251080"/>
                </a:lnTo>
                <a:cubicBezTo>
                  <a:pt x="563313" y="225656"/>
                  <a:pt x="557610" y="200506"/>
                  <a:pt x="547393" y="177396"/>
                </a:cubicBezTo>
                <a:cubicBezTo>
                  <a:pt x="546613" y="178021"/>
                  <a:pt x="545565" y="178072"/>
                  <a:pt x="544246" y="179744"/>
                </a:cubicBezTo>
                <a:cubicBezTo>
                  <a:pt x="542258" y="182254"/>
                  <a:pt x="539038" y="179118"/>
                  <a:pt x="537273" y="176924"/>
                </a:cubicBezTo>
                <a:cubicBezTo>
                  <a:pt x="533981" y="172862"/>
                  <a:pt x="526227" y="161440"/>
                  <a:pt x="522736" y="160866"/>
                </a:cubicBezTo>
                <a:cubicBezTo>
                  <a:pt x="519816" y="160386"/>
                  <a:pt x="517639" y="156599"/>
                  <a:pt x="514570" y="155973"/>
                </a:cubicBezTo>
                <a:cubicBezTo>
                  <a:pt x="511505" y="155347"/>
                  <a:pt x="507679" y="153625"/>
                  <a:pt x="507185" y="150386"/>
                </a:cubicBezTo>
                <a:cubicBezTo>
                  <a:pt x="506661" y="147070"/>
                  <a:pt x="505454" y="145707"/>
                  <a:pt x="502045" y="145176"/>
                </a:cubicBezTo>
                <a:cubicBezTo>
                  <a:pt x="498194" y="144585"/>
                  <a:pt x="495508" y="143059"/>
                  <a:pt x="492797" y="140180"/>
                </a:cubicBezTo>
                <a:lnTo>
                  <a:pt x="483391" y="149581"/>
                </a:lnTo>
                <a:cubicBezTo>
                  <a:pt x="483468" y="149786"/>
                  <a:pt x="483511" y="149966"/>
                  <a:pt x="483477" y="150112"/>
                </a:cubicBezTo>
                <a:close/>
                <a:moveTo>
                  <a:pt x="508426" y="388570"/>
                </a:moveTo>
                <a:lnTo>
                  <a:pt x="510579" y="390720"/>
                </a:lnTo>
                <a:cubicBezTo>
                  <a:pt x="542573" y="356941"/>
                  <a:pt x="562653" y="311791"/>
                  <a:pt x="564026" y="262048"/>
                </a:cubicBezTo>
                <a:lnTo>
                  <a:pt x="524714" y="262048"/>
                </a:lnTo>
                <a:cubicBezTo>
                  <a:pt x="523361" y="300969"/>
                  <a:pt x="507689" y="336307"/>
                  <a:pt x="482799" y="362966"/>
                </a:cubicBezTo>
                <a:lnTo>
                  <a:pt x="496987" y="377138"/>
                </a:lnTo>
                <a:cubicBezTo>
                  <a:pt x="497089" y="376941"/>
                  <a:pt x="497181" y="376745"/>
                  <a:pt x="497278" y="376547"/>
                </a:cubicBezTo>
                <a:cubicBezTo>
                  <a:pt x="498451" y="374062"/>
                  <a:pt x="497947" y="370814"/>
                  <a:pt x="498141" y="368535"/>
                </a:cubicBezTo>
                <a:cubicBezTo>
                  <a:pt x="498262" y="367045"/>
                  <a:pt x="503674" y="367404"/>
                  <a:pt x="504062" y="369863"/>
                </a:cubicBezTo>
                <a:cubicBezTo>
                  <a:pt x="504387" y="371937"/>
                  <a:pt x="505458" y="373462"/>
                  <a:pt x="507340" y="378613"/>
                </a:cubicBezTo>
                <a:cubicBezTo>
                  <a:pt x="508693" y="382323"/>
                  <a:pt x="509338" y="385733"/>
                  <a:pt x="508426" y="388570"/>
                </a:cubicBezTo>
                <a:close/>
                <a:moveTo>
                  <a:pt x="478578" y="413077"/>
                </a:moveTo>
                <a:cubicBezTo>
                  <a:pt x="477541" y="415571"/>
                  <a:pt x="472283" y="420061"/>
                  <a:pt x="473193" y="421535"/>
                </a:cubicBezTo>
                <a:cubicBezTo>
                  <a:pt x="483802" y="414791"/>
                  <a:pt x="493724" y="407070"/>
                  <a:pt x="502825" y="398475"/>
                </a:cubicBezTo>
                <a:lnTo>
                  <a:pt x="475036" y="370720"/>
                </a:lnTo>
                <a:cubicBezTo>
                  <a:pt x="473098" y="372528"/>
                  <a:pt x="471099" y="374268"/>
                  <a:pt x="469067" y="375982"/>
                </a:cubicBezTo>
                <a:cubicBezTo>
                  <a:pt x="468586" y="379161"/>
                  <a:pt x="469023" y="381654"/>
                  <a:pt x="472935" y="382863"/>
                </a:cubicBezTo>
                <a:cubicBezTo>
                  <a:pt x="477155" y="384165"/>
                  <a:pt x="484197" y="388450"/>
                  <a:pt x="482713" y="392606"/>
                </a:cubicBezTo>
                <a:cubicBezTo>
                  <a:pt x="481049" y="396325"/>
                  <a:pt x="476932" y="401894"/>
                  <a:pt x="474942" y="405587"/>
                </a:cubicBezTo>
                <a:cubicBezTo>
                  <a:pt x="473252" y="408741"/>
                  <a:pt x="479831" y="410086"/>
                  <a:pt x="478578" y="413077"/>
                </a:cubicBezTo>
                <a:close/>
                <a:moveTo>
                  <a:pt x="485063" y="250583"/>
                </a:moveTo>
                <a:cubicBezTo>
                  <a:pt x="485005" y="250746"/>
                  <a:pt x="484901" y="250917"/>
                  <a:pt x="484780" y="251080"/>
                </a:cubicBezTo>
                <a:lnTo>
                  <a:pt x="513726" y="251080"/>
                </a:lnTo>
                <a:cubicBezTo>
                  <a:pt x="513576" y="246907"/>
                  <a:pt x="513222" y="242776"/>
                  <a:pt x="512727" y="238689"/>
                </a:cubicBezTo>
                <a:cubicBezTo>
                  <a:pt x="512494" y="239118"/>
                  <a:pt x="512242" y="239546"/>
                  <a:pt x="512048" y="239966"/>
                </a:cubicBezTo>
                <a:cubicBezTo>
                  <a:pt x="509886" y="244456"/>
                  <a:pt x="509561" y="241748"/>
                  <a:pt x="509716" y="239795"/>
                </a:cubicBezTo>
                <a:cubicBezTo>
                  <a:pt x="509920" y="237301"/>
                  <a:pt x="510870" y="234970"/>
                  <a:pt x="511801" y="232417"/>
                </a:cubicBezTo>
                <a:cubicBezTo>
                  <a:pt x="511578" y="231080"/>
                  <a:pt x="511335" y="229760"/>
                  <a:pt x="511069" y="228441"/>
                </a:cubicBezTo>
                <a:cubicBezTo>
                  <a:pt x="510201" y="229675"/>
                  <a:pt x="508950" y="230549"/>
                  <a:pt x="506986" y="231526"/>
                </a:cubicBezTo>
                <a:cubicBezTo>
                  <a:pt x="505711" y="232177"/>
                  <a:pt x="504498" y="235185"/>
                  <a:pt x="504028" y="236333"/>
                </a:cubicBezTo>
                <a:cubicBezTo>
                  <a:pt x="503470" y="237721"/>
                  <a:pt x="500289" y="236007"/>
                  <a:pt x="497671" y="237267"/>
                </a:cubicBezTo>
                <a:cubicBezTo>
                  <a:pt x="493084" y="239478"/>
                  <a:pt x="488380" y="239812"/>
                  <a:pt x="491735" y="244559"/>
                </a:cubicBezTo>
                <a:cubicBezTo>
                  <a:pt x="493879" y="247583"/>
                  <a:pt x="486600" y="246736"/>
                  <a:pt x="485063" y="250583"/>
                </a:cubicBezTo>
                <a:close/>
                <a:moveTo>
                  <a:pt x="475036" y="157926"/>
                </a:moveTo>
                <a:lnTo>
                  <a:pt x="447246" y="185690"/>
                </a:lnTo>
                <a:cubicBezTo>
                  <a:pt x="452023" y="190986"/>
                  <a:pt x="456269" y="196770"/>
                  <a:pt x="459914" y="202948"/>
                </a:cubicBezTo>
                <a:cubicBezTo>
                  <a:pt x="463183" y="203454"/>
                  <a:pt x="467643" y="204765"/>
                  <a:pt x="470516" y="208458"/>
                </a:cubicBezTo>
                <a:cubicBezTo>
                  <a:pt x="472549" y="211080"/>
                  <a:pt x="478416" y="216324"/>
                  <a:pt x="477515" y="218672"/>
                </a:cubicBezTo>
                <a:cubicBezTo>
                  <a:pt x="476966" y="220111"/>
                  <a:pt x="478192" y="221894"/>
                  <a:pt x="479531" y="222836"/>
                </a:cubicBezTo>
                <a:cubicBezTo>
                  <a:pt x="481581" y="224268"/>
                  <a:pt x="483030" y="224234"/>
                  <a:pt x="484154" y="222803"/>
                </a:cubicBezTo>
                <a:cubicBezTo>
                  <a:pt x="486203" y="220189"/>
                  <a:pt x="486494" y="216658"/>
                  <a:pt x="489214" y="214430"/>
                </a:cubicBezTo>
                <a:cubicBezTo>
                  <a:pt x="492540" y="211689"/>
                  <a:pt x="499363" y="219606"/>
                  <a:pt x="499353" y="221054"/>
                </a:cubicBezTo>
                <a:cubicBezTo>
                  <a:pt x="499344" y="222502"/>
                  <a:pt x="497583" y="222845"/>
                  <a:pt x="497079" y="225416"/>
                </a:cubicBezTo>
                <a:cubicBezTo>
                  <a:pt x="496395" y="228929"/>
                  <a:pt x="493374" y="233120"/>
                  <a:pt x="496808" y="234293"/>
                </a:cubicBezTo>
                <a:cubicBezTo>
                  <a:pt x="501807" y="235999"/>
                  <a:pt x="502442" y="234037"/>
                  <a:pt x="504843" y="230523"/>
                </a:cubicBezTo>
                <a:cubicBezTo>
                  <a:pt x="505948" y="228904"/>
                  <a:pt x="505711" y="226290"/>
                  <a:pt x="506899" y="224687"/>
                </a:cubicBezTo>
                <a:cubicBezTo>
                  <a:pt x="507655" y="223676"/>
                  <a:pt x="508780" y="223248"/>
                  <a:pt x="509784" y="222579"/>
                </a:cubicBezTo>
                <a:cubicBezTo>
                  <a:pt x="507907" y="214790"/>
                  <a:pt x="505415" y="207233"/>
                  <a:pt x="502336" y="199992"/>
                </a:cubicBezTo>
                <a:cubicBezTo>
                  <a:pt x="501599" y="199272"/>
                  <a:pt x="500740" y="198681"/>
                  <a:pt x="499669" y="198329"/>
                </a:cubicBezTo>
                <a:cubicBezTo>
                  <a:pt x="497879" y="197738"/>
                  <a:pt x="498888" y="196136"/>
                  <a:pt x="496541" y="195399"/>
                </a:cubicBezTo>
                <a:cubicBezTo>
                  <a:pt x="493845" y="194551"/>
                  <a:pt x="492802" y="193779"/>
                  <a:pt x="492550" y="189057"/>
                </a:cubicBezTo>
                <a:cubicBezTo>
                  <a:pt x="492351" y="185253"/>
                  <a:pt x="495770" y="190309"/>
                  <a:pt x="496619" y="189649"/>
                </a:cubicBezTo>
                <a:cubicBezTo>
                  <a:pt x="496798" y="189503"/>
                  <a:pt x="496958" y="189280"/>
                  <a:pt x="497123" y="189024"/>
                </a:cubicBezTo>
                <a:cubicBezTo>
                  <a:pt x="491129" y="177687"/>
                  <a:pt x="483691" y="167241"/>
                  <a:pt x="475036" y="157926"/>
                </a:cubicBezTo>
                <a:close/>
                <a:moveTo>
                  <a:pt x="441319" y="195622"/>
                </a:moveTo>
                <a:cubicBezTo>
                  <a:pt x="439998" y="195604"/>
                  <a:pt x="438909" y="195347"/>
                  <a:pt x="437949" y="194979"/>
                </a:cubicBezTo>
                <a:lnTo>
                  <a:pt x="428762" y="204148"/>
                </a:lnTo>
                <a:cubicBezTo>
                  <a:pt x="430520" y="204619"/>
                  <a:pt x="432467" y="203968"/>
                  <a:pt x="434663" y="204945"/>
                </a:cubicBezTo>
                <a:cubicBezTo>
                  <a:pt x="437108" y="206016"/>
                  <a:pt x="435915" y="198124"/>
                  <a:pt x="439654" y="198844"/>
                </a:cubicBezTo>
                <a:cubicBezTo>
                  <a:pt x="443472" y="199572"/>
                  <a:pt x="444449" y="202023"/>
                  <a:pt x="441293" y="203214"/>
                </a:cubicBezTo>
                <a:cubicBezTo>
                  <a:pt x="438763" y="204036"/>
                  <a:pt x="441919" y="206144"/>
                  <a:pt x="438857" y="207181"/>
                </a:cubicBezTo>
                <a:cubicBezTo>
                  <a:pt x="436069" y="208132"/>
                  <a:pt x="441122" y="210592"/>
                  <a:pt x="441079" y="211689"/>
                </a:cubicBezTo>
                <a:cubicBezTo>
                  <a:pt x="441027" y="213205"/>
                  <a:pt x="437271" y="213771"/>
                  <a:pt x="442914" y="215510"/>
                </a:cubicBezTo>
                <a:cubicBezTo>
                  <a:pt x="448550" y="217250"/>
                  <a:pt x="442931" y="210771"/>
                  <a:pt x="443789" y="209863"/>
                </a:cubicBezTo>
                <a:cubicBezTo>
                  <a:pt x="444836" y="208758"/>
                  <a:pt x="447846" y="211611"/>
                  <a:pt x="448678" y="210352"/>
                </a:cubicBezTo>
                <a:cubicBezTo>
                  <a:pt x="448987" y="209889"/>
                  <a:pt x="449545" y="209084"/>
                  <a:pt x="450231" y="208158"/>
                </a:cubicBezTo>
                <a:cubicBezTo>
                  <a:pt x="447597" y="203736"/>
                  <a:pt x="444613" y="199538"/>
                  <a:pt x="441319" y="195622"/>
                </a:cubicBezTo>
                <a:close/>
                <a:moveTo>
                  <a:pt x="426995" y="341397"/>
                </a:moveTo>
                <a:cubicBezTo>
                  <a:pt x="427063" y="343325"/>
                  <a:pt x="425116" y="341783"/>
                  <a:pt x="424524" y="342442"/>
                </a:cubicBezTo>
                <a:cubicBezTo>
                  <a:pt x="423933" y="343085"/>
                  <a:pt x="439981" y="350592"/>
                  <a:pt x="442503" y="351020"/>
                </a:cubicBezTo>
                <a:cubicBezTo>
                  <a:pt x="444227" y="351311"/>
                  <a:pt x="447512" y="352537"/>
                  <a:pt x="453319" y="351380"/>
                </a:cubicBezTo>
                <a:cubicBezTo>
                  <a:pt x="457212" y="350609"/>
                  <a:pt x="458293" y="352400"/>
                  <a:pt x="460112" y="352331"/>
                </a:cubicBezTo>
                <a:cubicBezTo>
                  <a:pt x="462702" y="352237"/>
                  <a:pt x="464383" y="348741"/>
                  <a:pt x="465884" y="346590"/>
                </a:cubicBezTo>
                <a:cubicBezTo>
                  <a:pt x="469864" y="340917"/>
                  <a:pt x="469109" y="340155"/>
                  <a:pt x="470164" y="339272"/>
                </a:cubicBezTo>
                <a:cubicBezTo>
                  <a:pt x="471511" y="338141"/>
                  <a:pt x="475422" y="346822"/>
                  <a:pt x="474925" y="352323"/>
                </a:cubicBezTo>
                <a:cubicBezTo>
                  <a:pt x="474839" y="353197"/>
                  <a:pt x="474736" y="354011"/>
                  <a:pt x="474616" y="354791"/>
                </a:cubicBezTo>
                <a:lnTo>
                  <a:pt x="475036" y="355211"/>
                </a:lnTo>
                <a:cubicBezTo>
                  <a:pt x="497947" y="330549"/>
                  <a:pt x="512388" y="297944"/>
                  <a:pt x="513726" y="262048"/>
                </a:cubicBezTo>
                <a:lnTo>
                  <a:pt x="483845" y="262048"/>
                </a:lnTo>
                <a:cubicBezTo>
                  <a:pt x="484875" y="263745"/>
                  <a:pt x="486658" y="265938"/>
                  <a:pt x="488535" y="269811"/>
                </a:cubicBezTo>
                <a:cubicBezTo>
                  <a:pt x="490048" y="272914"/>
                  <a:pt x="490940" y="277841"/>
                  <a:pt x="493476" y="278081"/>
                </a:cubicBezTo>
                <a:cubicBezTo>
                  <a:pt x="497569" y="278466"/>
                  <a:pt x="501778" y="281851"/>
                  <a:pt x="501899" y="284696"/>
                </a:cubicBezTo>
                <a:cubicBezTo>
                  <a:pt x="502142" y="290643"/>
                  <a:pt x="483674" y="292083"/>
                  <a:pt x="481246" y="291320"/>
                </a:cubicBezTo>
                <a:cubicBezTo>
                  <a:pt x="479205" y="290678"/>
                  <a:pt x="477850" y="290541"/>
                  <a:pt x="477713" y="293736"/>
                </a:cubicBezTo>
                <a:cubicBezTo>
                  <a:pt x="477558" y="297361"/>
                  <a:pt x="471039" y="297387"/>
                  <a:pt x="468474" y="299555"/>
                </a:cubicBezTo>
                <a:cubicBezTo>
                  <a:pt x="465593" y="301988"/>
                  <a:pt x="465276" y="306436"/>
                  <a:pt x="463346" y="309537"/>
                </a:cubicBezTo>
                <a:cubicBezTo>
                  <a:pt x="462188" y="311397"/>
                  <a:pt x="455369" y="317832"/>
                  <a:pt x="453507" y="319135"/>
                </a:cubicBezTo>
                <a:cubicBezTo>
                  <a:pt x="449064" y="322237"/>
                  <a:pt x="440701" y="322391"/>
                  <a:pt x="444527" y="324439"/>
                </a:cubicBezTo>
                <a:cubicBezTo>
                  <a:pt x="447254" y="325896"/>
                  <a:pt x="453448" y="326410"/>
                  <a:pt x="452666" y="324971"/>
                </a:cubicBezTo>
                <a:cubicBezTo>
                  <a:pt x="451775" y="323317"/>
                  <a:pt x="453138" y="323163"/>
                  <a:pt x="454185" y="324516"/>
                </a:cubicBezTo>
                <a:cubicBezTo>
                  <a:pt x="454991" y="325536"/>
                  <a:pt x="457899" y="323531"/>
                  <a:pt x="457839" y="321663"/>
                </a:cubicBezTo>
                <a:cubicBezTo>
                  <a:pt x="457779" y="319898"/>
                  <a:pt x="457393" y="317019"/>
                  <a:pt x="459031" y="316907"/>
                </a:cubicBezTo>
                <a:cubicBezTo>
                  <a:pt x="461690" y="316736"/>
                  <a:pt x="464486" y="313788"/>
                  <a:pt x="465807" y="314062"/>
                </a:cubicBezTo>
                <a:cubicBezTo>
                  <a:pt x="467308" y="314371"/>
                  <a:pt x="469341" y="317704"/>
                  <a:pt x="467814" y="327858"/>
                </a:cubicBezTo>
                <a:cubicBezTo>
                  <a:pt x="466304" y="338021"/>
                  <a:pt x="461450" y="345091"/>
                  <a:pt x="459511" y="348278"/>
                </a:cubicBezTo>
                <a:cubicBezTo>
                  <a:pt x="457419" y="351689"/>
                  <a:pt x="455326" y="349084"/>
                  <a:pt x="452521" y="347644"/>
                </a:cubicBezTo>
                <a:cubicBezTo>
                  <a:pt x="448953" y="345810"/>
                  <a:pt x="443575" y="345888"/>
                  <a:pt x="439818" y="344662"/>
                </a:cubicBezTo>
                <a:cubicBezTo>
                  <a:pt x="437828" y="344020"/>
                  <a:pt x="426935" y="339898"/>
                  <a:pt x="426995" y="341397"/>
                </a:cubicBezTo>
                <a:close/>
                <a:moveTo>
                  <a:pt x="614306" y="262048"/>
                </a:moveTo>
                <a:lnTo>
                  <a:pt x="575014" y="262048"/>
                </a:lnTo>
                <a:cubicBezTo>
                  <a:pt x="573622" y="314808"/>
                  <a:pt x="552315" y="362700"/>
                  <a:pt x="518342" y="398475"/>
                </a:cubicBezTo>
                <a:lnTo>
                  <a:pt x="546244" y="426350"/>
                </a:lnTo>
                <a:cubicBezTo>
                  <a:pt x="588960" y="381774"/>
                  <a:pt x="612967" y="323823"/>
                  <a:pt x="614306" y="262048"/>
                </a:cubicBezTo>
                <a:close/>
                <a:moveTo>
                  <a:pt x="546244" y="86787"/>
                </a:moveTo>
                <a:lnTo>
                  <a:pt x="517135" y="115870"/>
                </a:lnTo>
                <a:cubicBezTo>
                  <a:pt x="519802" y="120515"/>
                  <a:pt x="524811" y="126367"/>
                  <a:pt x="531876" y="133556"/>
                </a:cubicBezTo>
                <a:cubicBezTo>
                  <a:pt x="534776" y="136512"/>
                  <a:pt x="537855" y="139409"/>
                  <a:pt x="540440" y="142022"/>
                </a:cubicBezTo>
                <a:cubicBezTo>
                  <a:pt x="542918" y="144516"/>
                  <a:pt x="558793" y="164250"/>
                  <a:pt x="555724" y="167112"/>
                </a:cubicBezTo>
                <a:cubicBezTo>
                  <a:pt x="555501" y="167327"/>
                  <a:pt x="555258" y="167524"/>
                  <a:pt x="555021" y="167721"/>
                </a:cubicBezTo>
                <a:cubicBezTo>
                  <a:pt x="567371" y="193633"/>
                  <a:pt x="574233" y="222194"/>
                  <a:pt x="575004" y="251080"/>
                </a:cubicBezTo>
                <a:lnTo>
                  <a:pt x="614306" y="251080"/>
                </a:lnTo>
                <a:cubicBezTo>
                  <a:pt x="612967" y="189306"/>
                  <a:pt x="588960" y="131354"/>
                  <a:pt x="546244" y="86787"/>
                </a:cubicBezTo>
                <a:close/>
                <a:moveTo>
                  <a:pt x="374030" y="50292"/>
                </a:moveTo>
                <a:cubicBezTo>
                  <a:pt x="406872" y="51140"/>
                  <a:pt x="438402" y="59606"/>
                  <a:pt x="466605" y="74824"/>
                </a:cubicBezTo>
                <a:cubicBezTo>
                  <a:pt x="469238" y="74413"/>
                  <a:pt x="471837" y="74087"/>
                  <a:pt x="473578" y="73274"/>
                </a:cubicBezTo>
                <a:cubicBezTo>
                  <a:pt x="477078" y="71646"/>
                  <a:pt x="483956" y="75347"/>
                  <a:pt x="487274" y="77275"/>
                </a:cubicBezTo>
                <a:cubicBezTo>
                  <a:pt x="490305" y="79023"/>
                  <a:pt x="492652" y="81611"/>
                  <a:pt x="495983" y="83479"/>
                </a:cubicBezTo>
                <a:cubicBezTo>
                  <a:pt x="499387" y="85390"/>
                  <a:pt x="504857" y="90874"/>
                  <a:pt x="506060" y="96401"/>
                </a:cubicBezTo>
                <a:cubicBezTo>
                  <a:pt x="507272" y="101928"/>
                  <a:pt x="510778" y="101551"/>
                  <a:pt x="509027" y="103788"/>
                </a:cubicBezTo>
                <a:cubicBezTo>
                  <a:pt x="508154" y="104902"/>
                  <a:pt x="509493" y="105330"/>
                  <a:pt x="511166" y="106324"/>
                </a:cubicBezTo>
                <a:lnTo>
                  <a:pt x="538490" y="79032"/>
                </a:lnTo>
                <a:cubicBezTo>
                  <a:pt x="493874" y="36358"/>
                  <a:pt x="435864" y="12374"/>
                  <a:pt x="374030" y="11037"/>
                </a:cubicBezTo>
                <a:lnTo>
                  <a:pt x="374030" y="50292"/>
                </a:lnTo>
                <a:close/>
                <a:moveTo>
                  <a:pt x="374030" y="100540"/>
                </a:moveTo>
                <a:cubicBezTo>
                  <a:pt x="407387" y="101697"/>
                  <a:pt x="438094" y="113367"/>
                  <a:pt x="462994" y="132306"/>
                </a:cubicBezTo>
                <a:cubicBezTo>
                  <a:pt x="460181" y="128586"/>
                  <a:pt x="457332" y="124739"/>
                  <a:pt x="456011" y="123325"/>
                </a:cubicBezTo>
                <a:cubicBezTo>
                  <a:pt x="453601" y="120763"/>
                  <a:pt x="444578" y="117609"/>
                  <a:pt x="445488" y="116144"/>
                </a:cubicBezTo>
                <a:cubicBezTo>
                  <a:pt x="446388" y="114670"/>
                  <a:pt x="454416" y="121071"/>
                  <a:pt x="455823" y="119948"/>
                </a:cubicBezTo>
                <a:cubicBezTo>
                  <a:pt x="457513" y="118595"/>
                  <a:pt x="451792" y="111243"/>
                  <a:pt x="452221" y="110960"/>
                </a:cubicBezTo>
                <a:cubicBezTo>
                  <a:pt x="452812" y="110574"/>
                  <a:pt x="459589" y="117113"/>
                  <a:pt x="462916" y="122974"/>
                </a:cubicBezTo>
                <a:cubicBezTo>
                  <a:pt x="464306" y="125039"/>
                  <a:pt x="467994" y="123993"/>
                  <a:pt x="470868" y="125990"/>
                </a:cubicBezTo>
                <a:cubicBezTo>
                  <a:pt x="473398" y="127764"/>
                  <a:pt x="473569" y="130600"/>
                  <a:pt x="475697" y="132425"/>
                </a:cubicBezTo>
                <a:cubicBezTo>
                  <a:pt x="476040" y="132725"/>
                  <a:pt x="480543" y="135322"/>
                  <a:pt x="477927" y="135022"/>
                </a:cubicBezTo>
                <a:cubicBezTo>
                  <a:pt x="477172" y="134936"/>
                  <a:pt x="476014" y="133333"/>
                  <a:pt x="475148" y="134148"/>
                </a:cubicBezTo>
                <a:cubicBezTo>
                  <a:pt x="474607" y="134662"/>
                  <a:pt x="475474" y="137421"/>
                  <a:pt x="477026" y="140437"/>
                </a:cubicBezTo>
                <a:lnTo>
                  <a:pt x="490082" y="127387"/>
                </a:lnTo>
                <a:cubicBezTo>
                  <a:pt x="488186" y="123548"/>
                  <a:pt x="484446" y="118484"/>
                  <a:pt x="481838" y="117841"/>
                </a:cubicBezTo>
                <a:cubicBezTo>
                  <a:pt x="479145" y="117181"/>
                  <a:pt x="477489" y="119443"/>
                  <a:pt x="475637" y="120977"/>
                </a:cubicBezTo>
                <a:cubicBezTo>
                  <a:pt x="473784" y="122511"/>
                  <a:pt x="471468" y="123025"/>
                  <a:pt x="471177" y="121997"/>
                </a:cubicBezTo>
                <a:cubicBezTo>
                  <a:pt x="470851" y="120831"/>
                  <a:pt x="471554" y="117978"/>
                  <a:pt x="471417" y="116778"/>
                </a:cubicBezTo>
                <a:cubicBezTo>
                  <a:pt x="471228" y="115279"/>
                  <a:pt x="470053" y="114096"/>
                  <a:pt x="469658" y="112648"/>
                </a:cubicBezTo>
                <a:cubicBezTo>
                  <a:pt x="468723" y="109238"/>
                  <a:pt x="470113" y="105433"/>
                  <a:pt x="468037" y="103170"/>
                </a:cubicBezTo>
                <a:cubicBezTo>
                  <a:pt x="465756" y="100686"/>
                  <a:pt x="464229" y="96924"/>
                  <a:pt x="462445" y="94071"/>
                </a:cubicBezTo>
                <a:cubicBezTo>
                  <a:pt x="460497" y="90960"/>
                  <a:pt x="456989" y="86153"/>
                  <a:pt x="456783" y="82074"/>
                </a:cubicBezTo>
                <a:cubicBezTo>
                  <a:pt x="431352" y="69229"/>
                  <a:pt x="403244" y="62057"/>
                  <a:pt x="374030" y="61260"/>
                </a:cubicBezTo>
                <a:lnTo>
                  <a:pt x="374030" y="100540"/>
                </a:lnTo>
                <a:close/>
                <a:moveTo>
                  <a:pt x="374030" y="150797"/>
                </a:moveTo>
                <a:cubicBezTo>
                  <a:pt x="399127" y="152083"/>
                  <a:pt x="421951" y="162134"/>
                  <a:pt x="439483" y="177935"/>
                </a:cubicBezTo>
                <a:lnTo>
                  <a:pt x="467283" y="150172"/>
                </a:lnTo>
                <a:cubicBezTo>
                  <a:pt x="442588" y="127284"/>
                  <a:pt x="409960" y="112854"/>
                  <a:pt x="374030" y="111517"/>
                </a:cubicBezTo>
                <a:lnTo>
                  <a:pt x="374030" y="150797"/>
                </a:lnTo>
                <a:close/>
                <a:moveTo>
                  <a:pt x="374030" y="201140"/>
                </a:moveTo>
                <a:cubicBezTo>
                  <a:pt x="377770" y="201509"/>
                  <a:pt x="381449" y="202263"/>
                  <a:pt x="385034" y="203368"/>
                </a:cubicBezTo>
                <a:cubicBezTo>
                  <a:pt x="385969" y="201080"/>
                  <a:pt x="388311" y="199940"/>
                  <a:pt x="390232" y="198638"/>
                </a:cubicBezTo>
                <a:cubicBezTo>
                  <a:pt x="392505" y="197095"/>
                  <a:pt x="394152" y="195356"/>
                  <a:pt x="393826" y="199546"/>
                </a:cubicBezTo>
                <a:cubicBezTo>
                  <a:pt x="393526" y="202494"/>
                  <a:pt x="392299" y="204276"/>
                  <a:pt x="390773" y="205476"/>
                </a:cubicBezTo>
                <a:cubicBezTo>
                  <a:pt x="394624" y="207156"/>
                  <a:pt x="398286" y="209246"/>
                  <a:pt x="401692" y="211766"/>
                </a:cubicBezTo>
                <a:cubicBezTo>
                  <a:pt x="402438" y="212322"/>
                  <a:pt x="403167" y="212905"/>
                  <a:pt x="403888" y="213496"/>
                </a:cubicBezTo>
                <a:lnTo>
                  <a:pt x="407662" y="209726"/>
                </a:lnTo>
                <a:cubicBezTo>
                  <a:pt x="407627" y="209597"/>
                  <a:pt x="407593" y="209469"/>
                  <a:pt x="407593" y="209306"/>
                </a:cubicBezTo>
                <a:cubicBezTo>
                  <a:pt x="407662" y="207164"/>
                  <a:pt x="410767" y="204610"/>
                  <a:pt x="414352" y="203042"/>
                </a:cubicBezTo>
                <a:lnTo>
                  <a:pt x="426608" y="190798"/>
                </a:lnTo>
                <a:cubicBezTo>
                  <a:pt x="426334" y="190738"/>
                  <a:pt x="426034" y="190686"/>
                  <a:pt x="425682" y="190643"/>
                </a:cubicBezTo>
                <a:cubicBezTo>
                  <a:pt x="424036" y="190438"/>
                  <a:pt x="421694" y="193848"/>
                  <a:pt x="420090" y="192905"/>
                </a:cubicBezTo>
                <a:cubicBezTo>
                  <a:pt x="418280" y="191851"/>
                  <a:pt x="425502" y="185493"/>
                  <a:pt x="428728" y="186719"/>
                </a:cubicBezTo>
                <a:cubicBezTo>
                  <a:pt x="429165" y="186881"/>
                  <a:pt x="429645" y="187070"/>
                  <a:pt x="430142" y="187267"/>
                </a:cubicBezTo>
                <a:lnTo>
                  <a:pt x="431703" y="185707"/>
                </a:lnTo>
                <a:cubicBezTo>
                  <a:pt x="416179" y="171877"/>
                  <a:pt x="396108" y="163051"/>
                  <a:pt x="374030" y="161783"/>
                </a:cubicBezTo>
                <a:lnTo>
                  <a:pt x="374030" y="201140"/>
                </a:lnTo>
                <a:close/>
                <a:moveTo>
                  <a:pt x="368541" y="211834"/>
                </a:moveTo>
                <a:cubicBezTo>
                  <a:pt x="363934" y="211834"/>
                  <a:pt x="359466" y="212520"/>
                  <a:pt x="355177" y="213856"/>
                </a:cubicBezTo>
                <a:cubicBezTo>
                  <a:pt x="354611" y="214474"/>
                  <a:pt x="354182" y="214988"/>
                  <a:pt x="354508" y="215450"/>
                </a:cubicBezTo>
                <a:cubicBezTo>
                  <a:pt x="355589" y="217027"/>
                  <a:pt x="358883" y="213719"/>
                  <a:pt x="359320" y="216762"/>
                </a:cubicBezTo>
                <a:cubicBezTo>
                  <a:pt x="359646" y="218972"/>
                  <a:pt x="355675" y="217344"/>
                  <a:pt x="356035" y="218972"/>
                </a:cubicBezTo>
                <a:cubicBezTo>
                  <a:pt x="356326" y="220274"/>
                  <a:pt x="359080" y="219735"/>
                  <a:pt x="359148" y="221526"/>
                </a:cubicBezTo>
                <a:cubicBezTo>
                  <a:pt x="359208" y="223171"/>
                  <a:pt x="357484" y="226401"/>
                  <a:pt x="356155" y="227250"/>
                </a:cubicBezTo>
                <a:cubicBezTo>
                  <a:pt x="354388" y="228381"/>
                  <a:pt x="344970" y="229623"/>
                  <a:pt x="344069" y="231808"/>
                </a:cubicBezTo>
                <a:cubicBezTo>
                  <a:pt x="343280" y="233719"/>
                  <a:pt x="342457" y="235442"/>
                  <a:pt x="340981" y="237010"/>
                </a:cubicBezTo>
                <a:cubicBezTo>
                  <a:pt x="339378" y="238698"/>
                  <a:pt x="331821" y="243179"/>
                  <a:pt x="331804" y="244345"/>
                </a:cubicBezTo>
                <a:cubicBezTo>
                  <a:pt x="331761" y="247096"/>
                  <a:pt x="335432" y="243591"/>
                  <a:pt x="336452" y="242511"/>
                </a:cubicBezTo>
                <a:cubicBezTo>
                  <a:pt x="338074" y="240797"/>
                  <a:pt x="340304" y="240806"/>
                  <a:pt x="342732" y="239418"/>
                </a:cubicBezTo>
                <a:cubicBezTo>
                  <a:pt x="346076" y="237515"/>
                  <a:pt x="347363" y="244174"/>
                  <a:pt x="343778" y="244413"/>
                </a:cubicBezTo>
                <a:cubicBezTo>
                  <a:pt x="341539" y="244567"/>
                  <a:pt x="339652" y="250849"/>
                  <a:pt x="336144" y="249640"/>
                </a:cubicBezTo>
                <a:cubicBezTo>
                  <a:pt x="335261" y="249332"/>
                  <a:pt x="332765" y="247789"/>
                  <a:pt x="332224" y="249384"/>
                </a:cubicBezTo>
                <a:cubicBezTo>
                  <a:pt x="331649" y="251080"/>
                  <a:pt x="337439" y="251346"/>
                  <a:pt x="339258" y="252546"/>
                </a:cubicBezTo>
                <a:cubicBezTo>
                  <a:pt x="343880" y="255596"/>
                  <a:pt x="335749" y="255382"/>
                  <a:pt x="334445" y="256213"/>
                </a:cubicBezTo>
                <a:cubicBezTo>
                  <a:pt x="333159" y="257035"/>
                  <a:pt x="333794" y="258809"/>
                  <a:pt x="335552" y="258090"/>
                </a:cubicBezTo>
                <a:cubicBezTo>
                  <a:pt x="337251" y="257387"/>
                  <a:pt x="339558" y="255613"/>
                  <a:pt x="340612" y="258493"/>
                </a:cubicBezTo>
                <a:cubicBezTo>
                  <a:pt x="342037" y="262391"/>
                  <a:pt x="334188" y="276615"/>
                  <a:pt x="331907" y="275116"/>
                </a:cubicBezTo>
                <a:cubicBezTo>
                  <a:pt x="330663" y="274302"/>
                  <a:pt x="329377" y="275459"/>
                  <a:pt x="328210" y="275956"/>
                </a:cubicBezTo>
                <a:cubicBezTo>
                  <a:pt x="329771" y="279186"/>
                  <a:pt x="331735" y="282185"/>
                  <a:pt x="333991" y="284936"/>
                </a:cubicBezTo>
                <a:cubicBezTo>
                  <a:pt x="335535" y="282391"/>
                  <a:pt x="337971" y="278792"/>
                  <a:pt x="339000" y="278767"/>
                </a:cubicBezTo>
                <a:cubicBezTo>
                  <a:pt x="340458" y="278724"/>
                  <a:pt x="339969" y="277576"/>
                  <a:pt x="340518" y="276547"/>
                </a:cubicBezTo>
                <a:cubicBezTo>
                  <a:pt x="341196" y="275305"/>
                  <a:pt x="342928" y="276607"/>
                  <a:pt x="343049" y="274911"/>
                </a:cubicBezTo>
                <a:cubicBezTo>
                  <a:pt x="343168" y="273222"/>
                  <a:pt x="347492" y="270797"/>
                  <a:pt x="347989" y="268313"/>
                </a:cubicBezTo>
                <a:cubicBezTo>
                  <a:pt x="348246" y="266976"/>
                  <a:pt x="346651" y="265647"/>
                  <a:pt x="347311" y="264542"/>
                </a:cubicBezTo>
                <a:cubicBezTo>
                  <a:pt x="348118" y="263196"/>
                  <a:pt x="348701" y="262991"/>
                  <a:pt x="349568" y="262700"/>
                </a:cubicBezTo>
                <a:cubicBezTo>
                  <a:pt x="350433" y="262400"/>
                  <a:pt x="352484" y="264439"/>
                  <a:pt x="353110" y="263557"/>
                </a:cubicBezTo>
                <a:cubicBezTo>
                  <a:pt x="353736" y="262674"/>
                  <a:pt x="356789" y="263351"/>
                  <a:pt x="359122" y="264825"/>
                </a:cubicBezTo>
                <a:cubicBezTo>
                  <a:pt x="360186" y="265501"/>
                  <a:pt x="362253" y="264722"/>
                  <a:pt x="363523" y="266521"/>
                </a:cubicBezTo>
                <a:cubicBezTo>
                  <a:pt x="365281" y="268998"/>
                  <a:pt x="363437" y="269212"/>
                  <a:pt x="363754" y="269761"/>
                </a:cubicBezTo>
                <a:cubicBezTo>
                  <a:pt x="364063" y="270309"/>
                  <a:pt x="364826" y="269452"/>
                  <a:pt x="365289" y="269906"/>
                </a:cubicBezTo>
                <a:cubicBezTo>
                  <a:pt x="366276" y="270866"/>
                  <a:pt x="360709" y="274123"/>
                  <a:pt x="361344" y="275896"/>
                </a:cubicBezTo>
                <a:cubicBezTo>
                  <a:pt x="361970" y="277661"/>
                  <a:pt x="356627" y="286402"/>
                  <a:pt x="355160" y="287790"/>
                </a:cubicBezTo>
                <a:cubicBezTo>
                  <a:pt x="353144" y="289624"/>
                  <a:pt x="349816" y="287576"/>
                  <a:pt x="348504" y="287953"/>
                </a:cubicBezTo>
                <a:cubicBezTo>
                  <a:pt x="347088" y="288355"/>
                  <a:pt x="346814" y="289563"/>
                  <a:pt x="344635" y="289033"/>
                </a:cubicBezTo>
                <a:cubicBezTo>
                  <a:pt x="342954" y="288629"/>
                  <a:pt x="340939" y="289307"/>
                  <a:pt x="339077" y="290189"/>
                </a:cubicBezTo>
                <a:cubicBezTo>
                  <a:pt x="346952" y="297096"/>
                  <a:pt x="357261" y="301303"/>
                  <a:pt x="368540" y="301303"/>
                </a:cubicBezTo>
                <a:cubicBezTo>
                  <a:pt x="370968" y="301303"/>
                  <a:pt x="373343" y="301081"/>
                  <a:pt x="375660" y="300703"/>
                </a:cubicBezTo>
                <a:cubicBezTo>
                  <a:pt x="377109" y="298843"/>
                  <a:pt x="377709" y="296556"/>
                  <a:pt x="378018" y="294217"/>
                </a:cubicBezTo>
                <a:cubicBezTo>
                  <a:pt x="378199" y="292948"/>
                  <a:pt x="377976" y="291303"/>
                  <a:pt x="378645" y="290172"/>
                </a:cubicBezTo>
                <a:cubicBezTo>
                  <a:pt x="379219" y="289212"/>
                  <a:pt x="382873" y="284722"/>
                  <a:pt x="384331" y="284782"/>
                </a:cubicBezTo>
                <a:cubicBezTo>
                  <a:pt x="385609" y="284833"/>
                  <a:pt x="386484" y="285956"/>
                  <a:pt x="388328" y="285382"/>
                </a:cubicBezTo>
                <a:cubicBezTo>
                  <a:pt x="391905" y="284259"/>
                  <a:pt x="394118" y="285210"/>
                  <a:pt x="394152" y="286753"/>
                </a:cubicBezTo>
                <a:cubicBezTo>
                  <a:pt x="394204" y="288904"/>
                  <a:pt x="389649" y="288287"/>
                  <a:pt x="389838" y="289495"/>
                </a:cubicBezTo>
                <a:cubicBezTo>
                  <a:pt x="389958" y="290343"/>
                  <a:pt x="393260" y="291620"/>
                  <a:pt x="394341" y="290386"/>
                </a:cubicBezTo>
                <a:cubicBezTo>
                  <a:pt x="396365" y="288107"/>
                  <a:pt x="396065" y="285116"/>
                  <a:pt x="395542" y="284465"/>
                </a:cubicBezTo>
                <a:cubicBezTo>
                  <a:pt x="394109" y="282657"/>
                  <a:pt x="394195" y="281911"/>
                  <a:pt x="396254" y="282614"/>
                </a:cubicBezTo>
                <a:cubicBezTo>
                  <a:pt x="397523" y="283051"/>
                  <a:pt x="397514" y="278047"/>
                  <a:pt x="398724" y="276128"/>
                </a:cubicBezTo>
                <a:cubicBezTo>
                  <a:pt x="400371" y="273548"/>
                  <a:pt x="395679" y="275356"/>
                  <a:pt x="393723" y="275630"/>
                </a:cubicBezTo>
                <a:cubicBezTo>
                  <a:pt x="391879" y="275887"/>
                  <a:pt x="390352" y="271954"/>
                  <a:pt x="390310" y="270574"/>
                </a:cubicBezTo>
                <a:cubicBezTo>
                  <a:pt x="390275" y="269580"/>
                  <a:pt x="393809" y="274088"/>
                  <a:pt x="395593" y="274182"/>
                </a:cubicBezTo>
                <a:cubicBezTo>
                  <a:pt x="397609" y="274285"/>
                  <a:pt x="399993" y="271946"/>
                  <a:pt x="400019" y="270232"/>
                </a:cubicBezTo>
                <a:cubicBezTo>
                  <a:pt x="400062" y="268518"/>
                  <a:pt x="396176" y="268287"/>
                  <a:pt x="395585" y="266204"/>
                </a:cubicBezTo>
                <a:cubicBezTo>
                  <a:pt x="395259" y="265064"/>
                  <a:pt x="398741" y="266196"/>
                  <a:pt x="398475" y="265073"/>
                </a:cubicBezTo>
                <a:cubicBezTo>
                  <a:pt x="398252" y="264088"/>
                  <a:pt x="398827" y="261714"/>
                  <a:pt x="396631" y="260772"/>
                </a:cubicBezTo>
                <a:cubicBezTo>
                  <a:pt x="394444" y="259838"/>
                  <a:pt x="392437" y="252837"/>
                  <a:pt x="390686" y="252357"/>
                </a:cubicBezTo>
                <a:cubicBezTo>
                  <a:pt x="389134" y="251937"/>
                  <a:pt x="387839" y="254036"/>
                  <a:pt x="386887" y="254807"/>
                </a:cubicBezTo>
                <a:cubicBezTo>
                  <a:pt x="385944" y="255570"/>
                  <a:pt x="384434" y="254251"/>
                  <a:pt x="385223" y="253522"/>
                </a:cubicBezTo>
                <a:cubicBezTo>
                  <a:pt x="386347" y="252477"/>
                  <a:pt x="388954" y="250232"/>
                  <a:pt x="389495" y="248467"/>
                </a:cubicBezTo>
                <a:cubicBezTo>
                  <a:pt x="390404" y="245501"/>
                  <a:pt x="394220" y="248621"/>
                  <a:pt x="393543" y="244482"/>
                </a:cubicBezTo>
                <a:cubicBezTo>
                  <a:pt x="392814" y="240000"/>
                  <a:pt x="388988" y="240866"/>
                  <a:pt x="390764" y="238707"/>
                </a:cubicBezTo>
                <a:cubicBezTo>
                  <a:pt x="392582" y="236513"/>
                  <a:pt x="391227" y="232940"/>
                  <a:pt x="387531" y="233651"/>
                </a:cubicBezTo>
                <a:cubicBezTo>
                  <a:pt x="385824" y="233977"/>
                  <a:pt x="384031" y="231200"/>
                  <a:pt x="383851" y="228801"/>
                </a:cubicBezTo>
                <a:cubicBezTo>
                  <a:pt x="383739" y="227481"/>
                  <a:pt x="379948" y="227687"/>
                  <a:pt x="380094" y="226290"/>
                </a:cubicBezTo>
                <a:cubicBezTo>
                  <a:pt x="380394" y="223436"/>
                  <a:pt x="376114" y="223137"/>
                  <a:pt x="373498" y="223334"/>
                </a:cubicBezTo>
                <a:cubicBezTo>
                  <a:pt x="370882" y="223522"/>
                  <a:pt x="365821" y="219495"/>
                  <a:pt x="365255" y="218509"/>
                </a:cubicBezTo>
                <a:cubicBezTo>
                  <a:pt x="364698" y="217515"/>
                  <a:pt x="361061" y="219383"/>
                  <a:pt x="362262" y="215545"/>
                </a:cubicBezTo>
                <a:cubicBezTo>
                  <a:pt x="363445" y="211766"/>
                  <a:pt x="367031" y="216230"/>
                  <a:pt x="368540" y="215142"/>
                </a:cubicBezTo>
                <a:cubicBezTo>
                  <a:pt x="370171" y="213977"/>
                  <a:pt x="369664" y="212785"/>
                  <a:pt x="369398" y="211868"/>
                </a:cubicBezTo>
                <a:cubicBezTo>
                  <a:pt x="369107" y="211860"/>
                  <a:pt x="368823" y="211834"/>
                  <a:pt x="368540" y="211834"/>
                </a:cubicBezTo>
                <a:close/>
                <a:moveTo>
                  <a:pt x="198590" y="79032"/>
                </a:moveTo>
                <a:lnTo>
                  <a:pt x="226492" y="106907"/>
                </a:lnTo>
                <a:cubicBezTo>
                  <a:pt x="262302" y="72965"/>
                  <a:pt x="310241" y="51671"/>
                  <a:pt x="363051" y="50292"/>
                </a:cubicBezTo>
                <a:lnTo>
                  <a:pt x="363051" y="11037"/>
                </a:lnTo>
                <a:cubicBezTo>
                  <a:pt x="301217" y="12374"/>
                  <a:pt x="243209" y="36358"/>
                  <a:pt x="198590" y="79032"/>
                </a:cubicBezTo>
                <a:close/>
                <a:moveTo>
                  <a:pt x="122766" y="251080"/>
                </a:moveTo>
                <a:lnTo>
                  <a:pt x="162068" y="251080"/>
                </a:lnTo>
                <a:cubicBezTo>
                  <a:pt x="163449" y="198320"/>
                  <a:pt x="184763" y="150429"/>
                  <a:pt x="218729" y="114662"/>
                </a:cubicBezTo>
                <a:lnTo>
                  <a:pt x="190827" y="86787"/>
                </a:lnTo>
                <a:cubicBezTo>
                  <a:pt x="148121" y="131354"/>
                  <a:pt x="124113" y="189306"/>
                  <a:pt x="122766" y="251080"/>
                </a:cubicBezTo>
                <a:close/>
              </a:path>
            </a:pathLst>
          </a:custGeom>
          <a:solidFill>
            <a:srgbClr val="009EDB"/>
          </a:solidFill>
          <a:ln w="4834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404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30573B9-CD3D-004B-85E1-A772740CB87D}"/>
              </a:ext>
            </a:extLst>
          </p:cNvPr>
          <p:cNvSpPr/>
          <p:nvPr userDrawn="1"/>
        </p:nvSpPr>
        <p:spPr>
          <a:xfrm>
            <a:off x="588892" y="0"/>
            <a:ext cx="11031608" cy="3429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4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5CB6F2-64BF-8E28-028B-71E811B4507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Office for Digital and Emerging Technologi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C114D5-A306-4472-D0E0-EABC6D33D1A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5EDD575-C673-CF4D-BF44-B5D5410D0CF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72351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F9EAABD-BBD1-24D9-E4B7-92CA9322BF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709014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F9EAABD-BBD1-24D9-E4B7-92CA9322BF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5376AEE6-3048-394B-8BA5-7CA1A8121790}"/>
              </a:ext>
            </a:extLst>
          </p:cNvPr>
          <p:cNvSpPr/>
          <p:nvPr userDrawn="1"/>
        </p:nvSpPr>
        <p:spPr>
          <a:xfrm>
            <a:off x="568289" y="-1"/>
            <a:ext cx="11052211" cy="634481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4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5993B0E-2204-8345-A8AE-6FFF197101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37425" y="571500"/>
            <a:ext cx="3382963" cy="2171700"/>
          </a:xfrm>
        </p:spPr>
        <p:txBody>
          <a:bodyPr vert="horz" anchor="b"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007E6AB-DD81-D340-9946-F64C4A13FAE0}"/>
              </a:ext>
            </a:extLst>
          </p:cNvPr>
          <p:cNvSpPr txBox="1">
            <a:spLocks/>
          </p:cNvSpPr>
          <p:nvPr userDrawn="1"/>
        </p:nvSpPr>
        <p:spPr>
          <a:xfrm>
            <a:off x="7337425" y="3543300"/>
            <a:ext cx="3382963" cy="21717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sz="2200" b="1" i="0" u="none" baseline="0">
                <a:latin typeface="Roboto" panose="02000000000000000000" pitchFamily="2" charset="0"/>
              </a:rPr>
              <a:t>Contact: </a:t>
            </a:r>
          </a:p>
          <a:p>
            <a:pPr lvl="0"/>
            <a:endParaRPr lang="en-US" sz="2000" b="0" i="0" baseline="0">
              <a:latin typeface="Roboto" panose="02000000000000000000" pitchFamily="2" charset="0"/>
            </a:endParaRPr>
          </a:p>
          <a:p>
            <a:pPr lvl="0"/>
            <a:r>
              <a:rPr lang="en-US" sz="2000" b="0" i="0" baseline="0">
                <a:latin typeface="Roboto" panose="02000000000000000000" pitchFamily="2" charset="0"/>
              </a:rPr>
              <a:t>Office for Digital and Emerging Technologies</a:t>
            </a:r>
          </a:p>
          <a:p>
            <a:pPr lvl="0"/>
            <a:endParaRPr lang="en-US" sz="2000" b="0" i="0" baseline="0">
              <a:latin typeface="Roboto" panose="02000000000000000000" pitchFamily="2" charset="0"/>
            </a:endParaRPr>
          </a:p>
          <a:p>
            <a:pPr lvl="0"/>
            <a:r>
              <a:rPr lang="en-US" sz="2000" b="0" i="0" baseline="0" err="1">
                <a:latin typeface="Roboto" panose="02000000000000000000" pitchFamily="2" charset="0"/>
              </a:rPr>
              <a:t>un.org</a:t>
            </a:r>
            <a:r>
              <a:rPr lang="en-US" sz="2000" b="0" i="0" baseline="0">
                <a:latin typeface="Roboto" panose="02000000000000000000" pitchFamily="2" charset="0"/>
              </a:rPr>
              <a:t>/</a:t>
            </a:r>
            <a:r>
              <a:rPr lang="en-US" sz="2000" b="0" i="0" baseline="0" err="1">
                <a:latin typeface="Roboto" panose="02000000000000000000" pitchFamily="2" charset="0"/>
              </a:rPr>
              <a:t>techenvoy</a:t>
            </a:r>
            <a:endParaRPr lang="en-US" sz="2000" b="0" i="0" baseline="0">
              <a:latin typeface="Roboto" panose="02000000000000000000" pitchFamily="2" charset="0"/>
            </a:endParaRPr>
          </a:p>
          <a:p>
            <a:pPr lvl="0"/>
            <a:r>
              <a:rPr lang="en-US" sz="2000" b="0" i="0" baseline="0" err="1">
                <a:latin typeface="Roboto" panose="02000000000000000000" pitchFamily="2" charset="0"/>
              </a:rPr>
              <a:t>techenvoy@un.org</a:t>
            </a:r>
            <a:endParaRPr lang="en-US" sz="2000" b="0" i="0" baseline="0">
              <a:latin typeface="Roboto" panose="02000000000000000000" pitchFamily="2" charset="0"/>
            </a:endParaRPr>
          </a:p>
        </p:txBody>
      </p:sp>
      <p:pic>
        <p:nvPicPr>
          <p:cNvPr id="4" name="Picture 3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88DAE361-F8F6-681F-5DDB-BCB423452AE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11552" y="342900"/>
            <a:ext cx="1836233" cy="390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90130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slideLayout" Target="../slideLayouts/slideLayout49.xml"/><Relationship Id="rId39" Type="http://schemas.openxmlformats.org/officeDocument/2006/relationships/image" Target="../media/image13.emf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34" Type="http://schemas.openxmlformats.org/officeDocument/2006/relationships/slideLayout" Target="../slideLayouts/slideLayout57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slideLayout" Target="../slideLayouts/slideLayout48.xml"/><Relationship Id="rId33" Type="http://schemas.openxmlformats.org/officeDocument/2006/relationships/slideLayout" Target="../slideLayouts/slideLayout56.xml"/><Relationship Id="rId38" Type="http://schemas.openxmlformats.org/officeDocument/2006/relationships/oleObject" Target="../embeddings/oleObject10.bin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29" Type="http://schemas.openxmlformats.org/officeDocument/2006/relationships/slideLayout" Target="../slideLayouts/slideLayout52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slideLayout" Target="../slideLayouts/slideLayout47.xml"/><Relationship Id="rId32" Type="http://schemas.openxmlformats.org/officeDocument/2006/relationships/slideLayout" Target="../slideLayouts/slideLayout55.xml"/><Relationship Id="rId37" Type="http://schemas.openxmlformats.org/officeDocument/2006/relationships/tags" Target="../tags/tag12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46.xml"/><Relationship Id="rId28" Type="http://schemas.openxmlformats.org/officeDocument/2006/relationships/slideLayout" Target="../slideLayouts/slideLayout51.xml"/><Relationship Id="rId36" Type="http://schemas.openxmlformats.org/officeDocument/2006/relationships/tags" Target="../tags/tag11.xml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31" Type="http://schemas.openxmlformats.org/officeDocument/2006/relationships/slideLayout" Target="../slideLayouts/slideLayout54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slideLayout" Target="../slideLayouts/slideLayout50.xml"/><Relationship Id="rId30" Type="http://schemas.openxmlformats.org/officeDocument/2006/relationships/slideLayout" Target="../slideLayouts/slideLayout53.xml"/><Relationship Id="rId35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3" Type="http://schemas.openxmlformats.org/officeDocument/2006/relationships/slideLayout" Target="../slideLayouts/slideLayout60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image" Target="../media/image13.emf"/><Relationship Id="rId5" Type="http://schemas.openxmlformats.org/officeDocument/2006/relationships/slideLayout" Target="../slideLayouts/slideLayout62.xml"/><Relationship Id="rId10" Type="http://schemas.openxmlformats.org/officeDocument/2006/relationships/oleObject" Target="../embeddings/oleObject43.bin"/><Relationship Id="rId4" Type="http://schemas.openxmlformats.org/officeDocument/2006/relationships/slideLayout" Target="../slideLayouts/slideLayout61.xml"/><Relationship Id="rId9" Type="http://schemas.openxmlformats.org/officeDocument/2006/relationships/tags" Target="../tags/tag7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6C0C96D-69A5-D7F5-9983-244F3BAB61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22606736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7772400" imgH="10058400" progId="TCLayout.ActiveDocument.1">
                  <p:embed/>
                </p:oleObj>
              </mc:Choice>
              <mc:Fallback>
                <p:oleObj name="think-cell Slide" r:id="rId15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C0C96D-69A5-D7F5-9983-244F3BAB61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4559EFE-6AF5-67D9-599E-03DA81E365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892" y="370095"/>
            <a:ext cx="8775771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12005FC-0C47-372F-0D1B-596BC9408D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88892" y="1954213"/>
            <a:ext cx="8775771" cy="37544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1CE8F93D-4087-E740-6A18-D5F5D86C4C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060095" y="623708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 spc="100" baseline="0">
                <a:solidFill>
                  <a:schemeClr val="tx1">
                    <a:tint val="82000"/>
                  </a:schemeClr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r>
              <a:rPr lang="en-US"/>
              <a:t>Office for Digital and Emerging Technologies</a:t>
            </a: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3F6A6243-3E91-931F-CD0D-6ED2CC560C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1277" y="6237081"/>
            <a:ext cx="4605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>
                    <a:tint val="82000"/>
                  </a:schemeClr>
                </a:solidFill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fld id="{15EDD575-C673-CF4D-BF44-B5D5410D0CF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44195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05" r:id="rId3"/>
    <p:sldLayoutId id="2147483742" r:id="rId4"/>
    <p:sldLayoutId id="2147483717" r:id="rId5"/>
    <p:sldLayoutId id="2147483706" r:id="rId6"/>
    <p:sldLayoutId id="2147483743" r:id="rId7"/>
    <p:sldLayoutId id="2147483727" r:id="rId8"/>
    <p:sldLayoutId id="2147483740" r:id="rId9"/>
    <p:sldLayoutId id="2147483741" r:id="rId10"/>
    <p:sldLayoutId id="2147483744" r:id="rId11"/>
    <p:sldLayoutId id="2147483745" r:id="rId12"/>
  </p:sldLayoutIdLst>
  <p:hf hdr="0" dt="0"/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1600"/>
        </a:spcBef>
        <a:buClr>
          <a:schemeClr val="accent1"/>
        </a:buClr>
        <a:buFont typeface="Arial" panose="020B0604020202020204" pitchFamily="34" charset="0"/>
        <a:buNone/>
        <a:defRPr sz="2400" b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87331" indent="-279393" algn="l" defTabSz="914377" rtl="0" eaLnBrk="1" latinLnBrk="0" hangingPunct="1">
        <a:lnSpc>
          <a:spcPct val="110000"/>
        </a:lnSpc>
        <a:spcBef>
          <a:spcPts val="800"/>
        </a:spcBef>
        <a:buClr>
          <a:schemeClr val="accent1"/>
        </a:buClr>
        <a:buFont typeface="System Font Regular"/>
        <a:buChar char="⁃"/>
        <a:tabLst/>
        <a:defRPr sz="2200" b="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574660" indent="-287331" algn="l" defTabSz="914377" rtl="0" eaLnBrk="1" latinLnBrk="0" hangingPunct="1">
        <a:lnSpc>
          <a:spcPct val="11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tabLst/>
        <a:defRPr sz="2000" b="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861992" indent="-287331" algn="l" defTabSz="914377" rtl="0" eaLnBrk="1" latinLnBrk="0" hangingPunct="1">
        <a:lnSpc>
          <a:spcPct val="110000"/>
        </a:lnSpc>
        <a:spcBef>
          <a:spcPts val="500"/>
        </a:spcBef>
        <a:buClr>
          <a:schemeClr val="accent1"/>
        </a:buClr>
        <a:buFont typeface="System Font Regular"/>
        <a:buChar char="⁃"/>
        <a:tabLst/>
        <a:defRPr sz="1800" b="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260443" indent="-342891" algn="l" defTabSz="914377" rtl="0" eaLnBrk="1" latinLnBrk="0" hangingPunct="1">
        <a:lnSpc>
          <a:spcPct val="11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tabLst/>
        <a:defRPr sz="1600" b="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userDrawn="1">
          <p15:clr>
            <a:srgbClr val="F26B43"/>
          </p15:clr>
        </p15:guide>
        <p15:guide id="2" pos="7680" userDrawn="1">
          <p15:clr>
            <a:srgbClr val="F26B43"/>
          </p15:clr>
        </p15:guide>
        <p15:guide id="3" pos="360" userDrawn="1">
          <p15:clr>
            <a:srgbClr val="F26B43"/>
          </p15:clr>
        </p15:guide>
        <p15:guide id="4" pos="927" userDrawn="1">
          <p15:clr>
            <a:srgbClr val="F26B43"/>
          </p15:clr>
        </p15:guide>
        <p15:guide id="5" pos="1071" userDrawn="1">
          <p15:clr>
            <a:srgbClr val="F26B43"/>
          </p15:clr>
        </p15:guide>
        <p15:guide id="6" pos="1636" userDrawn="1">
          <p15:clr>
            <a:srgbClr val="F26B43"/>
          </p15:clr>
        </p15:guide>
        <p15:guide id="7" pos="1780" userDrawn="1">
          <p15:clr>
            <a:srgbClr val="F26B43"/>
          </p15:clr>
        </p15:guide>
        <p15:guide id="8" pos="2347" userDrawn="1">
          <p15:clr>
            <a:srgbClr val="F26B43"/>
          </p15:clr>
        </p15:guide>
        <p15:guide id="9" pos="2491" userDrawn="1">
          <p15:clr>
            <a:srgbClr val="F26B43"/>
          </p15:clr>
        </p15:guide>
        <p15:guide id="10" pos="3057" userDrawn="1">
          <p15:clr>
            <a:srgbClr val="F26B43"/>
          </p15:clr>
        </p15:guide>
        <p15:guide id="11" pos="3201" userDrawn="1">
          <p15:clr>
            <a:srgbClr val="F26B43"/>
          </p15:clr>
        </p15:guide>
        <p15:guide id="12" pos="3768" userDrawn="1">
          <p15:clr>
            <a:srgbClr val="F26B43"/>
          </p15:clr>
        </p15:guide>
        <p15:guide id="13" pos="3912" userDrawn="1">
          <p15:clr>
            <a:srgbClr val="F26B43"/>
          </p15:clr>
        </p15:guide>
        <p15:guide id="14" pos="4464" userDrawn="1">
          <p15:clr>
            <a:srgbClr val="F26B43"/>
          </p15:clr>
        </p15:guide>
        <p15:guide id="15" pos="4623" userDrawn="1">
          <p15:clr>
            <a:srgbClr val="F26B43"/>
          </p15:clr>
        </p15:guide>
        <p15:guide id="16" pos="5188" userDrawn="1">
          <p15:clr>
            <a:srgbClr val="F26B43"/>
          </p15:clr>
        </p15:guide>
        <p15:guide id="17" pos="5332" userDrawn="1">
          <p15:clr>
            <a:srgbClr val="F26B43"/>
          </p15:clr>
        </p15:guide>
        <p15:guide id="18" pos="5899" userDrawn="1">
          <p15:clr>
            <a:srgbClr val="F26B43"/>
          </p15:clr>
        </p15:guide>
        <p15:guide id="19" pos="6043" userDrawn="1">
          <p15:clr>
            <a:srgbClr val="F26B43"/>
          </p15:clr>
        </p15:guide>
        <p15:guide id="20" pos="6609" userDrawn="1">
          <p15:clr>
            <a:srgbClr val="F26B43"/>
          </p15:clr>
        </p15:guide>
        <p15:guide id="21" pos="6753" userDrawn="1">
          <p15:clr>
            <a:srgbClr val="F26B43"/>
          </p15:clr>
        </p15:guide>
        <p15:guide id="22" pos="7320" userDrawn="1">
          <p15:clr>
            <a:srgbClr val="F26B43"/>
          </p15:clr>
        </p15:guide>
        <p15:guide id="23" orient="horz" userDrawn="1">
          <p15:clr>
            <a:srgbClr val="F26B43"/>
          </p15:clr>
        </p15:guide>
        <p15:guide id="24" orient="horz" pos="4320" userDrawn="1">
          <p15:clr>
            <a:srgbClr val="F26B43"/>
          </p15:clr>
        </p15:guide>
        <p15:guide id="25" orient="horz" pos="216" userDrawn="1">
          <p15:clr>
            <a:srgbClr val="F26B43"/>
          </p15:clr>
        </p15:guide>
        <p15:guide id="26" orient="horz" pos="576" userDrawn="1">
          <p15:clr>
            <a:srgbClr val="F26B43"/>
          </p15:clr>
        </p15:guide>
        <p15:guide id="27" orient="horz" pos="720" userDrawn="1">
          <p15:clr>
            <a:srgbClr val="F26B43"/>
          </p15:clr>
        </p15:guide>
        <p15:guide id="28" orient="horz" pos="1080" userDrawn="1">
          <p15:clr>
            <a:srgbClr val="F26B43"/>
          </p15:clr>
        </p15:guide>
        <p15:guide id="29" orient="horz" pos="1224" userDrawn="1">
          <p15:clr>
            <a:srgbClr val="F26B43"/>
          </p15:clr>
        </p15:guide>
        <p15:guide id="30" orient="horz" pos="1584" userDrawn="1">
          <p15:clr>
            <a:srgbClr val="F26B43"/>
          </p15:clr>
        </p15:guide>
        <p15:guide id="31" orient="horz" pos="1728" userDrawn="1">
          <p15:clr>
            <a:srgbClr val="F26B43"/>
          </p15:clr>
        </p15:guide>
        <p15:guide id="32" orient="horz" pos="2088" userDrawn="1">
          <p15:clr>
            <a:srgbClr val="F26B43"/>
          </p15:clr>
        </p15:guide>
        <p15:guide id="33" orient="horz" pos="2232" userDrawn="1">
          <p15:clr>
            <a:srgbClr val="F26B43"/>
          </p15:clr>
        </p15:guide>
        <p15:guide id="34" orient="horz" pos="2592" userDrawn="1">
          <p15:clr>
            <a:srgbClr val="F26B43"/>
          </p15:clr>
        </p15:guide>
        <p15:guide id="35" orient="horz" pos="2736" userDrawn="1">
          <p15:clr>
            <a:srgbClr val="F26B43"/>
          </p15:clr>
        </p15:guide>
        <p15:guide id="36" orient="horz" pos="3096" userDrawn="1">
          <p15:clr>
            <a:srgbClr val="F26B43"/>
          </p15:clr>
        </p15:guide>
        <p15:guide id="37" orient="horz" pos="3240" userDrawn="1">
          <p15:clr>
            <a:srgbClr val="F26B43"/>
          </p15:clr>
        </p15:guide>
        <p15:guide id="38" orient="horz" pos="3600" userDrawn="1">
          <p15:clr>
            <a:srgbClr val="F26B43"/>
          </p15:clr>
        </p15:guide>
        <p15:guide id="39" orient="horz" pos="3888" userDrawn="1">
          <p15:clr>
            <a:srgbClr val="F26B43"/>
          </p15:clr>
        </p15:guide>
        <p15:guide id="40" orient="horz" pos="410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E288B69-1B72-5B3D-CC77-3440FD1F6F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fr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DFA8D0-818D-4F8E-9D57-A3CF168951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D567FF8-40DB-2A2D-E18A-1F97A07C826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7D0164-B2C2-4326-A73C-FD2B9F7F15E6}" type="datetimeFigureOut">
              <a:rPr lang="fr-CH" smtClean="0"/>
              <a:t>27.03.2025</a:t>
            </a:fld>
            <a:endParaRPr lang="fr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60C3C6-BC88-FDFD-3324-79CF6188B5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CH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F74B774-915E-2F95-C428-68E41E47C7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5175C1B-2FCC-4C0C-B574-099E56B6AAE8}" type="slidenum">
              <a:rPr lang="fr-CH" smtClean="0"/>
              <a:t>‹#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0458396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2" r:id="rId6"/>
    <p:sldLayoutId id="2147483753" r:id="rId7"/>
    <p:sldLayoutId id="2147483754" r:id="rId8"/>
    <p:sldLayoutId id="2147483755" r:id="rId9"/>
    <p:sldLayoutId id="2147483756" r:id="rId10"/>
    <p:sldLayoutId id="214748375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350130-1529-456B-B342-4BCD8177BD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6"/>
            </p:custDataLst>
            <p:extLst>
              <p:ext uri="{D42A27DB-BD31-4B8C-83A1-F6EECF244321}">
                <p14:modId xmlns:p14="http://schemas.microsoft.com/office/powerpoint/2010/main" val="3435241521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592" imgH="591" progId="TCLayout.ActiveDocument.1">
                  <p:embed/>
                </p:oleObj>
              </mc:Choice>
              <mc:Fallback>
                <p:oleObj name="think-cell Slide" r:id="rId38" imgW="592" imgH="59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350130-1529-456B-B342-4BCD8177BD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74ED674-1769-4FB1-8948-56C9561074A6}"/>
              </a:ext>
            </a:extLst>
          </p:cNvPr>
          <p:cNvSpPr/>
          <p:nvPr userDrawn="1">
            <p:custDataLst>
              <p:tags r:id="rId37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1500" b="0" i="0" baseline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8D15207F-200C-4974-9E9B-392F93441F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939" y="568745"/>
            <a:ext cx="11138859" cy="230832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E7E3A2D-9C7E-4668-A5C4-891B072533B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23939" y="140510"/>
            <a:ext cx="2700330" cy="10125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703" b="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r>
              <a:rPr lang="en-CA"/>
              <a:t>TOPIC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6DA80E-6496-4F54-914B-C948C88474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3939" y="1232297"/>
            <a:ext cx="10515990" cy="88684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CA"/>
              <a:t>Click to edit Master text styles</a:t>
            </a:r>
          </a:p>
          <a:p>
            <a:pPr lvl="1"/>
            <a:r>
              <a:rPr lang="en-CA"/>
              <a:t>Second level</a:t>
            </a:r>
          </a:p>
          <a:p>
            <a:pPr lvl="2"/>
            <a:r>
              <a:rPr lang="en-CA"/>
              <a:t>Third level</a:t>
            </a:r>
          </a:p>
          <a:p>
            <a:pPr lvl="3"/>
            <a:r>
              <a:rPr lang="en-CA"/>
              <a:t>Four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8387C7-CA20-4A7A-BD0E-208482BAF0C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23940" y="6468071"/>
            <a:ext cx="2530387" cy="25300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US" sz="703" b="0" smtClea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CA"/>
              <a:t>UNITED NATION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DDCDCC2-9D59-4F1A-AECE-F3ED015128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3963" y="6612875"/>
            <a:ext cx="2743237" cy="10820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>
            <a:lvl1pPr>
              <a:defRPr lang="en-US" sz="703" b="0" smtClean="0">
                <a:solidFill>
                  <a:schemeClr val="bg2">
                    <a:lumMod val="50000"/>
                  </a:schemeClr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algn="r"/>
            <a:fld id="{73A950B1-DE82-4A29-B648-3078557F46E8}" type="slidenum">
              <a:rPr lang="en-CA" smtClean="0"/>
              <a:pPr algn="r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045946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  <p:sldLayoutId id="2147483771" r:id="rId13"/>
    <p:sldLayoutId id="2147483772" r:id="rId14"/>
    <p:sldLayoutId id="2147483773" r:id="rId15"/>
    <p:sldLayoutId id="2147483774" r:id="rId16"/>
    <p:sldLayoutId id="2147483775" r:id="rId17"/>
    <p:sldLayoutId id="2147483776" r:id="rId18"/>
    <p:sldLayoutId id="2147483777" r:id="rId19"/>
    <p:sldLayoutId id="2147483778" r:id="rId20"/>
    <p:sldLayoutId id="2147483779" r:id="rId21"/>
    <p:sldLayoutId id="2147483780" r:id="rId22"/>
    <p:sldLayoutId id="2147483781" r:id="rId23"/>
    <p:sldLayoutId id="2147483782" r:id="rId24"/>
    <p:sldLayoutId id="2147483783" r:id="rId25"/>
    <p:sldLayoutId id="2147483784" r:id="rId26"/>
    <p:sldLayoutId id="2147483785" r:id="rId27"/>
    <p:sldLayoutId id="2147483786" r:id="rId28"/>
    <p:sldLayoutId id="2147483787" r:id="rId29"/>
    <p:sldLayoutId id="2147483788" r:id="rId30"/>
    <p:sldLayoutId id="2147483789" r:id="rId31"/>
    <p:sldLayoutId id="2147483790" r:id="rId32"/>
    <p:sldLayoutId id="2147483791" r:id="rId33"/>
    <p:sldLayoutId id="2147483792" r:id="rId34"/>
  </p:sldLayoutIdLst>
  <p:hf hdr="0"/>
  <p:txStyles>
    <p:titleStyle>
      <a:lvl1pPr algn="l" defTabSz="914514" rtl="0" eaLnBrk="1" latinLnBrk="0" hangingPunct="1">
        <a:spcBef>
          <a:spcPct val="0"/>
        </a:spcBef>
        <a:buNone/>
        <a:defRPr sz="1500" b="0" kern="1200" spc="19" baseline="0">
          <a:solidFill>
            <a:schemeClr val="tx2">
              <a:lumMod val="50000"/>
            </a:schemeClr>
          </a:solidFill>
          <a:latin typeface="Roboto Black" panose="02000000000000000000" pitchFamily="2" charset="0"/>
          <a:ea typeface="Roboto Black" panose="02000000000000000000" pitchFamily="2" charset="0"/>
          <a:cs typeface="+mj-cs"/>
        </a:defRPr>
      </a:lvl1pPr>
    </p:titleStyle>
    <p:bodyStyle>
      <a:lvl1pPr marL="0" indent="0" algn="l" defTabSz="914514" rtl="0" eaLnBrk="1" latinLnBrk="0" hangingPunct="1">
        <a:lnSpc>
          <a:spcPct val="105000"/>
        </a:lnSpc>
        <a:spcBef>
          <a:spcPts val="844"/>
        </a:spcBef>
        <a:buClr>
          <a:schemeClr val="tx1"/>
        </a:buClr>
        <a:buSzPct val="120000"/>
        <a:buFont typeface="Arial" panose="020B0604020202020204" pitchFamily="34" charset="0"/>
        <a:buNone/>
        <a:defRPr lang="en-CA" sz="1031" b="0" u="none" kern="700" spc="19" baseline="0" dirty="0">
          <a:solidFill>
            <a:schemeClr val="bg1"/>
          </a:solidFill>
          <a:effectLst/>
          <a:latin typeface="Roboto Black" panose="02000000000000000000" pitchFamily="2" charset="0"/>
          <a:ea typeface="Roboto Black" panose="02000000000000000000" pitchFamily="2" charset="0"/>
          <a:cs typeface="+mn-cs"/>
        </a:defRPr>
      </a:lvl1pPr>
      <a:lvl2pPr marL="165200" indent="-165200" algn="l" defTabSz="914514" rtl="0" eaLnBrk="1" latinLnBrk="0" hangingPunct="1">
        <a:lnSpc>
          <a:spcPct val="105000"/>
        </a:lnSpc>
        <a:spcBef>
          <a:spcPts val="844"/>
        </a:spcBef>
        <a:buClr>
          <a:schemeClr val="bg1"/>
        </a:buClr>
        <a:buSzPct val="120000"/>
        <a:buFont typeface="Arial" panose="020B0604020202020204" pitchFamily="34" charset="0"/>
        <a:buChar char="●"/>
        <a:defRPr lang="en-CA" sz="891" b="0" u="none" kern="700" spc="9" baseline="0" dirty="0">
          <a:solidFill>
            <a:schemeClr val="tx2">
              <a:lumMod val="50000"/>
            </a:schemeClr>
          </a:solidFill>
          <a:effectLst/>
          <a:latin typeface="Roboto" panose="02000000000000000000" pitchFamily="2" charset="0"/>
          <a:ea typeface="Roboto" panose="02000000000000000000" pitchFamily="2" charset="0"/>
          <a:cs typeface="+mn-cs"/>
        </a:defRPr>
      </a:lvl2pPr>
      <a:lvl3pPr marL="337840" indent="-174129" algn="l" defTabSz="914514" rtl="0" eaLnBrk="1" latinLnBrk="0" hangingPunct="1">
        <a:lnSpc>
          <a:spcPct val="105000"/>
        </a:lnSpc>
        <a:spcBef>
          <a:spcPts val="844"/>
        </a:spcBef>
        <a:buClr>
          <a:schemeClr val="bg1"/>
        </a:buClr>
        <a:buSzPct val="120000"/>
        <a:buFont typeface="Arial" panose="020B0604020202020204" pitchFamily="34" charset="0"/>
        <a:buChar char="–"/>
        <a:defRPr lang="en-CA" sz="891" b="0" u="none" kern="700" spc="9" baseline="0" dirty="0">
          <a:solidFill>
            <a:schemeClr val="tx2">
              <a:lumMod val="50000"/>
            </a:schemeClr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3pPr>
      <a:lvl4pPr marL="0" indent="0" algn="l" defTabSz="914514" rtl="0" eaLnBrk="1" latinLnBrk="0" hangingPunct="1">
        <a:lnSpc>
          <a:spcPct val="105000"/>
        </a:lnSpc>
        <a:spcBef>
          <a:spcPts val="844"/>
        </a:spcBef>
        <a:buFont typeface="Arial" panose="020B0604020202020204" pitchFamily="34" charset="0"/>
        <a:buNone/>
        <a:defRPr lang="en-CA" sz="703" b="0" u="none" kern="700" spc="9" baseline="0" dirty="0">
          <a:solidFill>
            <a:schemeClr val="tx2">
              <a:lumMod val="50000"/>
            </a:schemeClr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4pPr>
      <a:lvl5pPr marL="845344" indent="-166688" algn="l" defTabSz="914514" rtl="0" eaLnBrk="1" latinLnBrk="0" hangingPunct="1">
        <a:lnSpc>
          <a:spcPct val="105000"/>
        </a:lnSpc>
        <a:spcBef>
          <a:spcPts val="844"/>
        </a:spcBef>
        <a:buFont typeface="Arial" panose="020B0604020202020204" pitchFamily="34" charset="0"/>
        <a:buChar char="»"/>
        <a:defRPr lang="en-CA" sz="703" b="0" u="none" kern="700" spc="9" dirty="0">
          <a:solidFill>
            <a:schemeClr val="bg2">
              <a:lumMod val="50000"/>
            </a:schemeClr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5pPr>
      <a:lvl6pPr marL="2514914" indent="-228628" algn="l" defTabSz="914514" rtl="0" eaLnBrk="1" latinLnBrk="0" hangingPunct="1">
        <a:spcBef>
          <a:spcPct val="20000"/>
        </a:spcBef>
        <a:buFont typeface="Arial" panose="020B0604020202020204" pitchFamily="34" charset="0"/>
        <a:buChar char="•"/>
        <a:defRPr sz="1969" kern="1200">
          <a:solidFill>
            <a:schemeClr val="tx1"/>
          </a:solidFill>
          <a:latin typeface="+mn-lt"/>
          <a:ea typeface="+mn-ea"/>
          <a:cs typeface="+mn-cs"/>
        </a:defRPr>
      </a:lvl6pPr>
      <a:lvl7pPr marL="2972171" indent="-228628" algn="l" defTabSz="914514" rtl="0" eaLnBrk="1" latinLnBrk="0" hangingPunct="1">
        <a:spcBef>
          <a:spcPct val="20000"/>
        </a:spcBef>
        <a:buFont typeface="Arial" panose="020B0604020202020204" pitchFamily="34" charset="0"/>
        <a:buChar char="•"/>
        <a:defRPr sz="1969" kern="1200">
          <a:solidFill>
            <a:schemeClr val="tx1"/>
          </a:solidFill>
          <a:latin typeface="+mn-lt"/>
          <a:ea typeface="+mn-ea"/>
          <a:cs typeface="+mn-cs"/>
        </a:defRPr>
      </a:lvl7pPr>
      <a:lvl8pPr marL="3429428" indent="-228628" algn="l" defTabSz="914514" rtl="0" eaLnBrk="1" latinLnBrk="0" hangingPunct="1">
        <a:spcBef>
          <a:spcPct val="20000"/>
        </a:spcBef>
        <a:buFont typeface="Arial" panose="020B0604020202020204" pitchFamily="34" charset="0"/>
        <a:buChar char="•"/>
        <a:defRPr sz="1969" kern="1200">
          <a:solidFill>
            <a:schemeClr val="tx1"/>
          </a:solidFill>
          <a:latin typeface="+mn-lt"/>
          <a:ea typeface="+mn-ea"/>
          <a:cs typeface="+mn-cs"/>
        </a:defRPr>
      </a:lvl8pPr>
      <a:lvl9pPr marL="3886686" indent="-228628" algn="l" defTabSz="914514" rtl="0" eaLnBrk="1" latinLnBrk="0" hangingPunct="1">
        <a:spcBef>
          <a:spcPct val="20000"/>
        </a:spcBef>
        <a:buFont typeface="Arial" panose="020B0604020202020204" pitchFamily="34" charset="0"/>
        <a:buChar char="•"/>
        <a:defRPr sz="196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514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1pPr>
      <a:lvl2pPr marL="457257" algn="l" defTabSz="914514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2pPr>
      <a:lvl3pPr marL="914514" algn="l" defTabSz="914514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3pPr>
      <a:lvl4pPr marL="1371772" algn="l" defTabSz="914514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4pPr>
      <a:lvl5pPr marL="1829029" algn="l" defTabSz="914514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5pPr>
      <a:lvl6pPr marL="2286286" algn="l" defTabSz="914514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6pPr>
      <a:lvl7pPr marL="2743543" algn="l" defTabSz="914514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7pPr>
      <a:lvl8pPr marL="3200800" algn="l" defTabSz="914514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8pPr>
      <a:lvl9pPr marL="3658058" algn="l" defTabSz="914514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7">
          <p15:clr>
            <a:srgbClr val="F26B43"/>
          </p15:clr>
        </p15:guide>
        <p15:guide id="2" pos="7838">
          <p15:clr>
            <a:srgbClr val="F26B43"/>
          </p15:clr>
        </p15:guide>
        <p15:guide id="3" pos="352">
          <p15:clr>
            <a:srgbClr val="F26B43"/>
          </p15:clr>
        </p15:guide>
        <p15:guide id="4" orient="horz" pos="4515">
          <p15:clr>
            <a:srgbClr val="F26B43"/>
          </p15:clr>
        </p15:guide>
        <p15:guide id="5" pos="4096">
          <p15:clr>
            <a:srgbClr val="F26B43"/>
          </p15:clr>
        </p15:guide>
        <p15:guide id="6" orient="horz" pos="92">
          <p15:clr>
            <a:srgbClr val="F26B43"/>
          </p15:clr>
        </p15:guide>
        <p15:guide id="7" orient="horz" pos="828">
          <p15:clr>
            <a:srgbClr val="F26B43"/>
          </p15:clr>
        </p15:guide>
        <p15:guide id="8" orient="horz" pos="4346">
          <p15:clr>
            <a:srgbClr val="F26B43"/>
          </p15:clr>
        </p15:guide>
        <p15:guide id="9" pos="3981">
          <p15:clr>
            <a:srgbClr val="F26B43"/>
          </p15:clr>
        </p15:guide>
        <p15:guide id="10" pos="4208">
          <p15:clr>
            <a:srgbClr val="F26B43"/>
          </p15:clr>
        </p15:guide>
        <p15:guide id="11" pos="5912">
          <p15:clr>
            <a:srgbClr val="F26B43"/>
          </p15:clr>
        </p15:guide>
        <p15:guide id="12" pos="6138">
          <p15:clr>
            <a:srgbClr val="F26B43"/>
          </p15:clr>
        </p15:guide>
        <p15:guide id="13" pos="2280">
          <p15:clr>
            <a:srgbClr val="F26B43"/>
          </p15:clr>
        </p15:guide>
        <p15:guide id="14" pos="2052">
          <p15:clr>
            <a:srgbClr val="F26B43"/>
          </p15:clr>
        </p15:guide>
        <p15:guide id="15" orient="horz" pos="1056">
          <p15:clr>
            <a:srgbClr val="F26B43"/>
          </p15:clr>
        </p15:guide>
        <p15:guide id="16" orient="horz" pos="943">
          <p15:clr>
            <a:srgbClr val="F26B43"/>
          </p15:clr>
        </p15:guide>
        <p15:guide id="17" pos="8087">
          <p15:clr>
            <a:srgbClr val="F26B43"/>
          </p15:clr>
        </p15:guide>
        <p15:guide id="18" orient="horz" pos="4118">
          <p15:clr>
            <a:srgbClr val="F26B43"/>
          </p15:clr>
        </p15:guide>
        <p15:guide id="19" orient="horz" pos="3665">
          <p15:clr>
            <a:srgbClr val="F26B43"/>
          </p15:clr>
        </p15:guide>
        <p15:guide id="20" orient="horz" pos="3778">
          <p15:clr>
            <a:srgbClr val="F26B43"/>
          </p15:clr>
        </p15:guide>
        <p15:guide id="21" pos="5071">
          <p15:clr>
            <a:srgbClr val="F26B43"/>
          </p15:clr>
        </p15:guide>
        <p15:guide id="22" pos="5298">
          <p15:clr>
            <a:srgbClr val="F26B43"/>
          </p15:clr>
        </p15:guide>
        <p15:guide id="23" orient="horz" pos="603">
          <p15:clr>
            <a:srgbClr val="5ACBF0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350130-1529-456B-B342-4BCD8177BD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64508320"/>
              </p:ext>
            </p:extLst>
          </p:nvPr>
        </p:nvGraphicFramePr>
        <p:xfrm>
          <a:off x="1489" y="1489"/>
          <a:ext cx="1489" cy="14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350130-1529-456B-B342-4BCD8177BD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489" y="1489"/>
                        <a:ext cx="1489" cy="14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74ED674-1769-4FB1-8948-56C9561074A6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48846" cy="1488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1500" b="0" i="0" baseline="0">
              <a:latin typeface="Roboto Black" panose="02000000000000000000" pitchFamily="2" charset="0"/>
              <a:ea typeface="Roboto Black" panose="02000000000000000000" pitchFamily="2" charset="0"/>
              <a:cs typeface="+mj-cs"/>
              <a:sym typeface="Roboto Black" panose="02000000000000000000" pitchFamily="2" charset="0"/>
            </a:endParaRPr>
          </a:p>
        </p:txBody>
      </p:sp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8D15207F-200C-4974-9E9B-392F93441F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9" y="523875"/>
            <a:ext cx="10091166" cy="86177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6DA80E-6496-4F54-914B-C948C88474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8" y="1611312"/>
            <a:ext cx="11376024" cy="481647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CA"/>
              <a:t>Click to edit Master text styles</a:t>
            </a:r>
          </a:p>
          <a:p>
            <a:pPr lvl="1"/>
            <a:r>
              <a:rPr lang="en-CA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623720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</p:sldLayoutIdLst>
  <p:hf hdr="0"/>
  <p:txStyles>
    <p:titleStyle>
      <a:lvl1pPr algn="l" defTabSz="914514" rtl="0" eaLnBrk="1" latinLnBrk="0" hangingPunct="1">
        <a:spcBef>
          <a:spcPct val="0"/>
        </a:spcBef>
        <a:buNone/>
        <a:defRPr sz="2800" b="1" kern="1200" spc="19" baseline="0">
          <a:solidFill>
            <a:schemeClr val="bg1"/>
          </a:solidFill>
          <a:latin typeface="+mn-lt"/>
          <a:ea typeface="Roboto Black" panose="02000000000000000000" pitchFamily="2" charset="0"/>
          <a:cs typeface="+mj-cs"/>
        </a:defRPr>
      </a:lvl1pPr>
    </p:titleStyle>
    <p:bodyStyle>
      <a:lvl1pPr marL="270000" indent="-270000" algn="l" defTabSz="914514" rtl="0" eaLnBrk="1" latinLnBrk="0" hangingPunct="1">
        <a:lnSpc>
          <a:spcPct val="114000"/>
        </a:lnSpc>
        <a:spcBef>
          <a:spcPts val="600"/>
        </a:spcBef>
        <a:buClr>
          <a:schemeClr val="bg1"/>
        </a:buClr>
        <a:buSzPct val="120000"/>
        <a:buFont typeface="Roboto" panose="02000000000000000000" pitchFamily="2" charset="0"/>
        <a:buChar char="•"/>
        <a:defRPr lang="en-CA" sz="1800" b="0" u="none" kern="700" spc="19" baseline="0" dirty="0">
          <a:solidFill>
            <a:schemeClr val="tx2">
              <a:lumMod val="50000"/>
            </a:schemeClr>
          </a:solidFill>
          <a:effectLst/>
          <a:latin typeface="+mn-lt"/>
          <a:ea typeface="Roboto Black" panose="02000000000000000000" pitchFamily="2" charset="0"/>
          <a:cs typeface="+mn-cs"/>
        </a:defRPr>
      </a:lvl1pPr>
      <a:lvl2pPr marL="540000" indent="-288000" algn="l" defTabSz="914514" rtl="0" eaLnBrk="1" latinLnBrk="0" hangingPunct="1">
        <a:lnSpc>
          <a:spcPct val="114000"/>
        </a:lnSpc>
        <a:spcBef>
          <a:spcPts val="0"/>
        </a:spcBef>
        <a:buClr>
          <a:schemeClr val="bg1"/>
        </a:buClr>
        <a:buSzPct val="120000"/>
        <a:buFont typeface="Arial" panose="020B0604020202020204" pitchFamily="34" charset="0"/>
        <a:buChar char="–"/>
        <a:defRPr lang="en-CA" sz="1800" b="0" u="none" kern="700" spc="9" baseline="0" dirty="0">
          <a:solidFill>
            <a:schemeClr val="tx2">
              <a:lumMod val="50000"/>
            </a:schemeClr>
          </a:solidFill>
          <a:effectLst/>
          <a:latin typeface="+mn-lt"/>
          <a:ea typeface="Roboto" panose="02000000000000000000" pitchFamily="2" charset="0"/>
          <a:cs typeface="+mn-cs"/>
        </a:defRPr>
      </a:lvl2pPr>
      <a:lvl3pPr marL="337840" indent="-174129" algn="l" defTabSz="914514" rtl="0" eaLnBrk="1" latinLnBrk="0" hangingPunct="1">
        <a:lnSpc>
          <a:spcPct val="105000"/>
        </a:lnSpc>
        <a:spcBef>
          <a:spcPts val="844"/>
        </a:spcBef>
        <a:buClr>
          <a:schemeClr val="bg1"/>
        </a:buClr>
        <a:buSzPct val="100000"/>
        <a:buFont typeface="Courier New" panose="02070309020205020404" pitchFamily="49" charset="0"/>
        <a:buChar char="o"/>
        <a:defRPr lang="en-CA" sz="1600" b="0" u="none" kern="700" spc="9" baseline="0" dirty="0">
          <a:solidFill>
            <a:schemeClr val="tx2">
              <a:lumMod val="50000"/>
            </a:schemeClr>
          </a:solidFill>
          <a:latin typeface="+mn-lt"/>
          <a:ea typeface="Roboto" panose="02000000000000000000" pitchFamily="2" charset="0"/>
          <a:cs typeface="+mn-cs"/>
        </a:defRPr>
      </a:lvl3pPr>
      <a:lvl4pPr marL="0" indent="0" algn="l" defTabSz="914514" rtl="0" eaLnBrk="1" latinLnBrk="0" hangingPunct="1">
        <a:lnSpc>
          <a:spcPct val="105000"/>
        </a:lnSpc>
        <a:spcBef>
          <a:spcPts val="844"/>
        </a:spcBef>
        <a:buFont typeface="Arial" panose="020B0604020202020204" pitchFamily="34" charset="0"/>
        <a:buNone/>
        <a:defRPr lang="en-CA" sz="1600" b="0" u="none" kern="700" spc="9" baseline="0" dirty="0">
          <a:solidFill>
            <a:schemeClr val="tx2">
              <a:lumMod val="50000"/>
            </a:schemeClr>
          </a:solidFill>
          <a:latin typeface="+mn-lt"/>
          <a:ea typeface="Roboto" panose="02000000000000000000" pitchFamily="2" charset="0"/>
          <a:cs typeface="+mn-cs"/>
        </a:defRPr>
      </a:lvl4pPr>
      <a:lvl5pPr marL="845344" indent="-166688" algn="l" defTabSz="914514" rtl="0" eaLnBrk="1" latinLnBrk="0" hangingPunct="1">
        <a:lnSpc>
          <a:spcPct val="105000"/>
        </a:lnSpc>
        <a:spcBef>
          <a:spcPts val="844"/>
        </a:spcBef>
        <a:buFont typeface="Arial" panose="020B0604020202020204" pitchFamily="34" charset="0"/>
        <a:buChar char="»"/>
        <a:defRPr lang="en-CA" sz="703" b="0" u="none" kern="700" spc="9" dirty="0">
          <a:solidFill>
            <a:schemeClr val="bg2">
              <a:lumMod val="50000"/>
            </a:schemeClr>
          </a:solidFill>
          <a:latin typeface="Roboto" panose="02000000000000000000" pitchFamily="2" charset="0"/>
          <a:ea typeface="Roboto" panose="02000000000000000000" pitchFamily="2" charset="0"/>
          <a:cs typeface="+mn-cs"/>
        </a:defRPr>
      </a:lvl5pPr>
      <a:lvl6pPr marL="2514914" indent="-228628" algn="l" defTabSz="914514" rtl="0" eaLnBrk="1" latinLnBrk="0" hangingPunct="1">
        <a:spcBef>
          <a:spcPct val="20000"/>
        </a:spcBef>
        <a:buFont typeface="Arial" panose="020B0604020202020204" pitchFamily="34" charset="0"/>
        <a:buChar char="•"/>
        <a:defRPr sz="1969" kern="1200">
          <a:solidFill>
            <a:schemeClr val="tx1"/>
          </a:solidFill>
          <a:latin typeface="+mn-lt"/>
          <a:ea typeface="+mn-ea"/>
          <a:cs typeface="+mn-cs"/>
        </a:defRPr>
      </a:lvl6pPr>
      <a:lvl7pPr marL="2972171" indent="-228628" algn="l" defTabSz="914514" rtl="0" eaLnBrk="1" latinLnBrk="0" hangingPunct="1">
        <a:spcBef>
          <a:spcPct val="20000"/>
        </a:spcBef>
        <a:buFont typeface="Arial" panose="020B0604020202020204" pitchFamily="34" charset="0"/>
        <a:buChar char="•"/>
        <a:defRPr sz="1969" kern="1200">
          <a:solidFill>
            <a:schemeClr val="tx1"/>
          </a:solidFill>
          <a:latin typeface="+mn-lt"/>
          <a:ea typeface="+mn-ea"/>
          <a:cs typeface="+mn-cs"/>
        </a:defRPr>
      </a:lvl7pPr>
      <a:lvl8pPr marL="3429428" indent="-228628" algn="l" defTabSz="914514" rtl="0" eaLnBrk="1" latinLnBrk="0" hangingPunct="1">
        <a:spcBef>
          <a:spcPct val="20000"/>
        </a:spcBef>
        <a:buFont typeface="Arial" panose="020B0604020202020204" pitchFamily="34" charset="0"/>
        <a:buChar char="•"/>
        <a:defRPr sz="1969" kern="1200">
          <a:solidFill>
            <a:schemeClr val="tx1"/>
          </a:solidFill>
          <a:latin typeface="+mn-lt"/>
          <a:ea typeface="+mn-ea"/>
          <a:cs typeface="+mn-cs"/>
        </a:defRPr>
      </a:lvl8pPr>
      <a:lvl9pPr marL="3886686" indent="-228628" algn="l" defTabSz="914514" rtl="0" eaLnBrk="1" latinLnBrk="0" hangingPunct="1">
        <a:spcBef>
          <a:spcPct val="20000"/>
        </a:spcBef>
        <a:buFont typeface="Arial" panose="020B0604020202020204" pitchFamily="34" charset="0"/>
        <a:buChar char="•"/>
        <a:defRPr sz="196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514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1pPr>
      <a:lvl2pPr marL="457257" algn="l" defTabSz="914514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2pPr>
      <a:lvl3pPr marL="914514" algn="l" defTabSz="914514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3pPr>
      <a:lvl4pPr marL="1371772" algn="l" defTabSz="914514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4pPr>
      <a:lvl5pPr marL="1829029" algn="l" defTabSz="914514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5pPr>
      <a:lvl6pPr marL="2286286" algn="l" defTabSz="914514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6pPr>
      <a:lvl7pPr marL="2743543" algn="l" defTabSz="914514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7pPr>
      <a:lvl8pPr marL="3200800" algn="l" defTabSz="914514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8pPr>
      <a:lvl9pPr marL="3658058" algn="l" defTabSz="914514" rtl="0" eaLnBrk="1" latinLnBrk="0" hangingPunct="1">
        <a:defRPr sz="178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8" pos="257">
          <p15:clr>
            <a:srgbClr val="F26B43"/>
          </p15:clr>
        </p15:guide>
        <p15:guide id="19" pos="7423">
          <p15:clr>
            <a:srgbClr val="F26B43"/>
          </p15:clr>
        </p15:guide>
        <p15:guide id="20" orient="horz" pos="96">
          <p15:clr>
            <a:srgbClr val="F26B43"/>
          </p15:clr>
        </p15:guide>
        <p15:guide id="21" orient="horz" pos="4145">
          <p15:clr>
            <a:srgbClr val="F26B43"/>
          </p15:clr>
        </p15:guide>
        <p15:guide id="22" orient="horz" pos="4049">
          <p15:clr>
            <a:srgbClr val="F26B43"/>
          </p15:clr>
        </p15:guide>
        <p15:guide id="23" orient="horz" pos="330">
          <p15:clr>
            <a:srgbClr val="F26B43"/>
          </p15:clr>
        </p15:guide>
        <p15:guide id="24" orient="horz" pos="873">
          <p15:clr>
            <a:srgbClr val="F26B43"/>
          </p15:clr>
        </p15:guide>
        <p15:guide id="25" orient="horz" pos="101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5.xml"/><Relationship Id="rId4" Type="http://schemas.openxmlformats.org/officeDocument/2006/relationships/image" Target="../media/image24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7" Type="http://schemas.openxmlformats.org/officeDocument/2006/relationships/image" Target="../media/image44.svg"/><Relationship Id="rId2" Type="http://schemas.openxmlformats.org/officeDocument/2006/relationships/slideLayout" Target="../slideLayouts/slideLayout60.xml"/><Relationship Id="rId1" Type="http://schemas.openxmlformats.org/officeDocument/2006/relationships/tags" Target="../tags/tag92.xml"/><Relationship Id="rId6" Type="http://schemas.openxmlformats.org/officeDocument/2006/relationships/image" Target="../media/image43.png"/><Relationship Id="rId5" Type="http://schemas.openxmlformats.org/officeDocument/2006/relationships/image" Target="../media/image84.png"/><Relationship Id="rId4" Type="http://schemas.openxmlformats.org/officeDocument/2006/relationships/image" Target="../media/image20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93.xml"/><Relationship Id="rId5" Type="http://schemas.openxmlformats.org/officeDocument/2006/relationships/image" Target="../media/image86.png"/><Relationship Id="rId4" Type="http://schemas.openxmlformats.org/officeDocument/2006/relationships/image" Target="../media/image85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13" Type="http://schemas.openxmlformats.org/officeDocument/2006/relationships/tags" Target="../tags/tag106.xml"/><Relationship Id="rId18" Type="http://schemas.openxmlformats.org/officeDocument/2006/relationships/tags" Target="../tags/tag111.xml"/><Relationship Id="rId26" Type="http://schemas.openxmlformats.org/officeDocument/2006/relationships/tags" Target="../tags/tag119.xml"/><Relationship Id="rId3" Type="http://schemas.openxmlformats.org/officeDocument/2006/relationships/tags" Target="../tags/tag96.xml"/><Relationship Id="rId21" Type="http://schemas.openxmlformats.org/officeDocument/2006/relationships/tags" Target="../tags/tag114.xml"/><Relationship Id="rId7" Type="http://schemas.openxmlformats.org/officeDocument/2006/relationships/tags" Target="../tags/tag100.xml"/><Relationship Id="rId12" Type="http://schemas.openxmlformats.org/officeDocument/2006/relationships/tags" Target="../tags/tag105.xml"/><Relationship Id="rId17" Type="http://schemas.openxmlformats.org/officeDocument/2006/relationships/tags" Target="../tags/tag110.xml"/><Relationship Id="rId25" Type="http://schemas.openxmlformats.org/officeDocument/2006/relationships/tags" Target="../tags/tag118.xml"/><Relationship Id="rId33" Type="http://schemas.openxmlformats.org/officeDocument/2006/relationships/chart" Target="../charts/chart2.xml"/><Relationship Id="rId2" Type="http://schemas.openxmlformats.org/officeDocument/2006/relationships/tags" Target="../tags/tag95.xml"/><Relationship Id="rId16" Type="http://schemas.openxmlformats.org/officeDocument/2006/relationships/tags" Target="../tags/tag109.xml"/><Relationship Id="rId20" Type="http://schemas.openxmlformats.org/officeDocument/2006/relationships/tags" Target="../tags/tag113.xml"/><Relationship Id="rId29" Type="http://schemas.openxmlformats.org/officeDocument/2006/relationships/slideLayout" Target="../slideLayouts/slideLayout30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11" Type="http://schemas.openxmlformats.org/officeDocument/2006/relationships/tags" Target="../tags/tag104.xml"/><Relationship Id="rId24" Type="http://schemas.openxmlformats.org/officeDocument/2006/relationships/tags" Target="../tags/tag117.xml"/><Relationship Id="rId32" Type="http://schemas.openxmlformats.org/officeDocument/2006/relationships/chart" Target="../charts/chart1.xml"/><Relationship Id="rId5" Type="http://schemas.openxmlformats.org/officeDocument/2006/relationships/tags" Target="../tags/tag98.xml"/><Relationship Id="rId15" Type="http://schemas.openxmlformats.org/officeDocument/2006/relationships/tags" Target="../tags/tag108.xml"/><Relationship Id="rId23" Type="http://schemas.openxmlformats.org/officeDocument/2006/relationships/tags" Target="../tags/tag116.xml"/><Relationship Id="rId28" Type="http://schemas.openxmlformats.org/officeDocument/2006/relationships/tags" Target="../tags/tag121.xml"/><Relationship Id="rId10" Type="http://schemas.openxmlformats.org/officeDocument/2006/relationships/tags" Target="../tags/tag103.xml"/><Relationship Id="rId19" Type="http://schemas.openxmlformats.org/officeDocument/2006/relationships/tags" Target="../tags/tag112.xml"/><Relationship Id="rId31" Type="http://schemas.openxmlformats.org/officeDocument/2006/relationships/image" Target="../media/image85.emf"/><Relationship Id="rId4" Type="http://schemas.openxmlformats.org/officeDocument/2006/relationships/tags" Target="../tags/tag97.xml"/><Relationship Id="rId9" Type="http://schemas.openxmlformats.org/officeDocument/2006/relationships/tags" Target="../tags/tag102.xml"/><Relationship Id="rId14" Type="http://schemas.openxmlformats.org/officeDocument/2006/relationships/tags" Target="../tags/tag107.xml"/><Relationship Id="rId22" Type="http://schemas.openxmlformats.org/officeDocument/2006/relationships/tags" Target="../tags/tag115.xml"/><Relationship Id="rId27" Type="http://schemas.openxmlformats.org/officeDocument/2006/relationships/tags" Target="../tags/tag120.xml"/><Relationship Id="rId30" Type="http://schemas.openxmlformats.org/officeDocument/2006/relationships/oleObject" Target="../embeddings/oleObject55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4.svg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122.xml"/><Relationship Id="rId6" Type="http://schemas.openxmlformats.org/officeDocument/2006/relationships/image" Target="../media/image43.png"/><Relationship Id="rId5" Type="http://schemas.openxmlformats.org/officeDocument/2006/relationships/image" Target="../media/image85.emf"/><Relationship Id="rId4" Type="http://schemas.openxmlformats.org/officeDocument/2006/relationships/oleObject" Target="../embeddings/oleObject56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44.svg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123.xml"/><Relationship Id="rId6" Type="http://schemas.openxmlformats.org/officeDocument/2006/relationships/image" Target="../media/image43.png"/><Relationship Id="rId5" Type="http://schemas.openxmlformats.org/officeDocument/2006/relationships/image" Target="../media/image85.emf"/><Relationship Id="rId4" Type="http://schemas.openxmlformats.org/officeDocument/2006/relationships/oleObject" Target="../embeddings/oleObject57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44.svg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124.xml"/><Relationship Id="rId6" Type="http://schemas.openxmlformats.org/officeDocument/2006/relationships/image" Target="../media/image43.png"/><Relationship Id="rId5" Type="http://schemas.openxmlformats.org/officeDocument/2006/relationships/image" Target="../media/image85.emf"/><Relationship Id="rId4" Type="http://schemas.openxmlformats.org/officeDocument/2006/relationships/oleObject" Target="../embeddings/oleObject58.bin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6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26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png"/><Relationship Id="rId3" Type="http://schemas.openxmlformats.org/officeDocument/2006/relationships/oleObject" Target="../embeddings/oleObject50.bin"/><Relationship Id="rId7" Type="http://schemas.openxmlformats.org/officeDocument/2006/relationships/image" Target="../media/image31.png"/><Relationship Id="rId12" Type="http://schemas.openxmlformats.org/officeDocument/2006/relationships/image" Target="../media/image36.png"/><Relationship Id="rId17" Type="http://schemas.openxmlformats.org/officeDocument/2006/relationships/image" Target="../media/image41.pn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40.png"/><Relationship Id="rId1" Type="http://schemas.openxmlformats.org/officeDocument/2006/relationships/tags" Target="../tags/tag87.xml"/><Relationship Id="rId6" Type="http://schemas.openxmlformats.org/officeDocument/2006/relationships/image" Target="../media/image30.png"/><Relationship Id="rId11" Type="http://schemas.openxmlformats.org/officeDocument/2006/relationships/image" Target="../media/image35.png"/><Relationship Id="rId5" Type="http://schemas.openxmlformats.org/officeDocument/2006/relationships/image" Target="../media/image29.png"/><Relationship Id="rId15" Type="http://schemas.openxmlformats.org/officeDocument/2006/relationships/image" Target="../media/image39.png"/><Relationship Id="rId10" Type="http://schemas.openxmlformats.org/officeDocument/2006/relationships/image" Target="../media/image34.png"/><Relationship Id="rId4" Type="http://schemas.openxmlformats.org/officeDocument/2006/relationships/image" Target="../media/image26.emf"/><Relationship Id="rId9" Type="http://schemas.openxmlformats.org/officeDocument/2006/relationships/image" Target="../media/image33.png"/><Relationship Id="rId14" Type="http://schemas.openxmlformats.org/officeDocument/2006/relationships/image" Target="../media/image3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8.xml"/><Relationship Id="rId5" Type="http://schemas.openxmlformats.org/officeDocument/2006/relationships/image" Target="../media/image42.png"/><Relationship Id="rId4" Type="http://schemas.openxmlformats.org/officeDocument/2006/relationships/image" Target="../media/image26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9.xml"/><Relationship Id="rId5" Type="http://schemas.openxmlformats.org/officeDocument/2006/relationships/hyperlink" Target="https://www.un.org/global-digital-compact/en" TargetMode="External"/><Relationship Id="rId4" Type="http://schemas.openxmlformats.org/officeDocument/2006/relationships/image" Target="../media/image26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jpeg"/><Relationship Id="rId13" Type="http://schemas.openxmlformats.org/officeDocument/2006/relationships/image" Target="../media/image51.jpeg"/><Relationship Id="rId18" Type="http://schemas.openxmlformats.org/officeDocument/2006/relationships/image" Target="../media/image56.jpeg"/><Relationship Id="rId26" Type="http://schemas.openxmlformats.org/officeDocument/2006/relationships/image" Target="../media/image64.jpeg"/><Relationship Id="rId39" Type="http://schemas.openxmlformats.org/officeDocument/2006/relationships/image" Target="../media/image77.jpeg"/><Relationship Id="rId3" Type="http://schemas.openxmlformats.org/officeDocument/2006/relationships/oleObject" Target="../embeddings/oleObject52.bin"/><Relationship Id="rId21" Type="http://schemas.openxmlformats.org/officeDocument/2006/relationships/image" Target="../media/image59.jpeg"/><Relationship Id="rId34" Type="http://schemas.openxmlformats.org/officeDocument/2006/relationships/image" Target="../media/image72.jpeg"/><Relationship Id="rId42" Type="http://schemas.openxmlformats.org/officeDocument/2006/relationships/image" Target="../media/image80.jpeg"/><Relationship Id="rId7" Type="http://schemas.openxmlformats.org/officeDocument/2006/relationships/image" Target="../media/image45.jpeg"/><Relationship Id="rId12" Type="http://schemas.openxmlformats.org/officeDocument/2006/relationships/image" Target="../media/image50.jpeg"/><Relationship Id="rId17" Type="http://schemas.openxmlformats.org/officeDocument/2006/relationships/image" Target="../media/image55.jpeg"/><Relationship Id="rId25" Type="http://schemas.openxmlformats.org/officeDocument/2006/relationships/image" Target="../media/image63.jpeg"/><Relationship Id="rId33" Type="http://schemas.openxmlformats.org/officeDocument/2006/relationships/image" Target="../media/image71.jpeg"/><Relationship Id="rId38" Type="http://schemas.openxmlformats.org/officeDocument/2006/relationships/image" Target="../media/image76.jpeg"/><Relationship Id="rId2" Type="http://schemas.openxmlformats.org/officeDocument/2006/relationships/slideLayout" Target="../slideLayouts/slideLayout60.xml"/><Relationship Id="rId16" Type="http://schemas.openxmlformats.org/officeDocument/2006/relationships/image" Target="../media/image54.jpeg"/><Relationship Id="rId20" Type="http://schemas.openxmlformats.org/officeDocument/2006/relationships/image" Target="../media/image58.jpeg"/><Relationship Id="rId29" Type="http://schemas.openxmlformats.org/officeDocument/2006/relationships/image" Target="../media/image67.jpeg"/><Relationship Id="rId41" Type="http://schemas.openxmlformats.org/officeDocument/2006/relationships/image" Target="../media/image79.jpeg"/><Relationship Id="rId1" Type="http://schemas.openxmlformats.org/officeDocument/2006/relationships/tags" Target="../tags/tag90.xml"/><Relationship Id="rId6" Type="http://schemas.openxmlformats.org/officeDocument/2006/relationships/image" Target="../media/image44.svg"/><Relationship Id="rId11" Type="http://schemas.openxmlformats.org/officeDocument/2006/relationships/image" Target="../media/image49.jpeg"/><Relationship Id="rId24" Type="http://schemas.openxmlformats.org/officeDocument/2006/relationships/image" Target="../media/image62.jpeg"/><Relationship Id="rId32" Type="http://schemas.openxmlformats.org/officeDocument/2006/relationships/image" Target="../media/image70.jpeg"/><Relationship Id="rId37" Type="http://schemas.openxmlformats.org/officeDocument/2006/relationships/image" Target="../media/image75.jpeg"/><Relationship Id="rId40" Type="http://schemas.openxmlformats.org/officeDocument/2006/relationships/image" Target="../media/image78.jpeg"/><Relationship Id="rId45" Type="http://schemas.openxmlformats.org/officeDocument/2006/relationships/image" Target="../media/image83.jpeg"/><Relationship Id="rId5" Type="http://schemas.openxmlformats.org/officeDocument/2006/relationships/image" Target="../media/image43.png"/><Relationship Id="rId15" Type="http://schemas.openxmlformats.org/officeDocument/2006/relationships/image" Target="../media/image53.jpeg"/><Relationship Id="rId23" Type="http://schemas.openxmlformats.org/officeDocument/2006/relationships/image" Target="../media/image61.jpeg"/><Relationship Id="rId28" Type="http://schemas.openxmlformats.org/officeDocument/2006/relationships/image" Target="../media/image66.jpeg"/><Relationship Id="rId36" Type="http://schemas.openxmlformats.org/officeDocument/2006/relationships/image" Target="../media/image74.jpeg"/><Relationship Id="rId10" Type="http://schemas.openxmlformats.org/officeDocument/2006/relationships/image" Target="../media/image48.jpeg"/><Relationship Id="rId19" Type="http://schemas.openxmlformats.org/officeDocument/2006/relationships/image" Target="../media/image57.jpeg"/><Relationship Id="rId31" Type="http://schemas.openxmlformats.org/officeDocument/2006/relationships/image" Target="../media/image69.jpeg"/><Relationship Id="rId44" Type="http://schemas.openxmlformats.org/officeDocument/2006/relationships/image" Target="../media/image82.jpeg"/><Relationship Id="rId4" Type="http://schemas.openxmlformats.org/officeDocument/2006/relationships/image" Target="../media/image20.emf"/><Relationship Id="rId9" Type="http://schemas.openxmlformats.org/officeDocument/2006/relationships/image" Target="../media/image47.jpeg"/><Relationship Id="rId14" Type="http://schemas.openxmlformats.org/officeDocument/2006/relationships/image" Target="../media/image52.jpeg"/><Relationship Id="rId22" Type="http://schemas.openxmlformats.org/officeDocument/2006/relationships/image" Target="../media/image60.jpeg"/><Relationship Id="rId27" Type="http://schemas.openxmlformats.org/officeDocument/2006/relationships/image" Target="../media/image65.jpeg"/><Relationship Id="rId30" Type="http://schemas.openxmlformats.org/officeDocument/2006/relationships/image" Target="../media/image68.jpeg"/><Relationship Id="rId35" Type="http://schemas.openxmlformats.org/officeDocument/2006/relationships/image" Target="../media/image73.jpeg"/><Relationship Id="rId43" Type="http://schemas.openxmlformats.org/officeDocument/2006/relationships/image" Target="../media/image81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Layout" Target="../slideLayouts/slideLayout60.xml"/><Relationship Id="rId1" Type="http://schemas.openxmlformats.org/officeDocument/2006/relationships/tags" Target="../tags/tag91.xml"/><Relationship Id="rId6" Type="http://schemas.openxmlformats.org/officeDocument/2006/relationships/image" Target="../media/image44.svg"/><Relationship Id="rId5" Type="http://schemas.openxmlformats.org/officeDocument/2006/relationships/image" Target="../media/image43.png"/><Relationship Id="rId4" Type="http://schemas.openxmlformats.org/officeDocument/2006/relationships/image" Target="../media/image20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C2E58F-8980-2F6C-3DB6-DFBCFDD3C0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2DBF092-FFE2-12AA-7FB3-7550C3A6BB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882498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2DBF092-FFE2-12AA-7FB3-7550C3A6BB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3">
            <a:extLst>
              <a:ext uri="{FF2B5EF4-FFF2-40B4-BE49-F238E27FC236}">
                <a16:creationId xmlns:a16="http://schemas.microsoft.com/office/drawing/2014/main" id="{36077F5F-ED86-6A31-1027-DE9E019A2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13793" y="2976465"/>
            <a:ext cx="9950629" cy="2171701"/>
          </a:xfrm>
        </p:spPr>
        <p:txBody>
          <a:bodyPr vert="horz"/>
          <a:lstStyle/>
          <a:p>
            <a:br>
              <a:rPr lang="en-US" sz="4000" dirty="0"/>
            </a:br>
            <a:r>
              <a:rPr lang="en-US" sz="4000" dirty="0"/>
              <a:t>The </a:t>
            </a:r>
            <a:r>
              <a:rPr lang="en-US" sz="4000" dirty="0">
                <a:ea typeface="Roboto"/>
                <a:cs typeface="Roboto"/>
              </a:rPr>
              <a:t>Global Digital Compact and Governance of AI </a:t>
            </a:r>
          </a:p>
        </p:txBody>
      </p:sp>
    </p:spTree>
    <p:extLst>
      <p:ext uri="{BB962C8B-B14F-4D97-AF65-F5344CB8AC3E}">
        <p14:creationId xmlns:p14="http://schemas.microsoft.com/office/powerpoint/2010/main" val="311930316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C42300-287C-7A37-354A-EF7474854C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662EA50-883E-84DA-F8FF-544F4AE853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73" imgH="574" progId="TCLayout.ActiveDocument.1">
                  <p:embed/>
                </p:oleObj>
              </mc:Choice>
              <mc:Fallback>
                <p:oleObj name="think-cell Slide" r:id="rId3" imgW="573" imgH="57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662EA50-883E-84DA-F8FF-544F4AE853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CAAA0D6-B489-1AA5-CB3E-D9B659E44C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523875"/>
            <a:ext cx="10836023" cy="861774"/>
          </a:xfrm>
        </p:spPr>
        <p:txBody>
          <a:bodyPr vert="horz" anchor="t"/>
          <a:lstStyle/>
          <a:p>
            <a:r>
              <a:rPr lang="en-CA" sz="3350" dirty="0">
                <a:solidFill>
                  <a:schemeClr val="tx2">
                    <a:lumMod val="50000"/>
                  </a:schemeClr>
                </a:solidFill>
                <a:ea typeface="Roboto Black"/>
              </a:rPr>
              <a:t>International AI Governance Functions</a:t>
            </a:r>
            <a:endParaRPr lang="en-US" sz="3350" dirty="0">
              <a:solidFill>
                <a:srgbClr val="149ED9"/>
              </a:solidFill>
              <a:ea typeface="Roboto Black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81F1F9-E1A6-BDA3-9A0F-8E185D72A7F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07990" y="1517650"/>
            <a:ext cx="2940424" cy="4816475"/>
          </a:xfrm>
        </p:spPr>
        <p:txBody>
          <a:bodyPr/>
          <a:lstStyle/>
          <a:p>
            <a:r>
              <a:rPr lang="en-CA" dirty="0"/>
              <a:t>To properly govern AI for humanity, the Interim Report proposed that an international governance regime for AI should </a:t>
            </a:r>
            <a:r>
              <a:rPr lang="en-CA" b="1" dirty="0"/>
              <a:t>carry out at least these functions</a:t>
            </a:r>
          </a:p>
          <a:p>
            <a:endParaRPr lang="en-CA" dirty="0"/>
          </a:p>
          <a:p>
            <a:r>
              <a:rPr lang="en-CA" dirty="0"/>
              <a:t>Could be carried out by </a:t>
            </a:r>
            <a:r>
              <a:rPr lang="en-CA" b="1" dirty="0"/>
              <a:t>individual institution(s)</a:t>
            </a:r>
            <a:r>
              <a:rPr lang="en-CA" dirty="0"/>
              <a:t> or a </a:t>
            </a:r>
            <a:r>
              <a:rPr lang="en-CA" b="1" dirty="0"/>
              <a:t>network </a:t>
            </a:r>
            <a:r>
              <a:rPr lang="en-CA" dirty="0"/>
              <a:t>of institutions </a:t>
            </a:r>
          </a:p>
          <a:p>
            <a:endParaRPr lang="en-CA" dirty="0"/>
          </a:p>
        </p:txBody>
      </p:sp>
      <p:pic>
        <p:nvPicPr>
          <p:cNvPr id="1026" name="Picture 2" descr="Pyramid of 7 AI Governance Functions proposed by the interim report:&#10;1.    Horizon scanning, building scientific consensus&#10;2.    Interoperability (horizontal) and alignment (vertically) with norms&#10;3.    Mediating standards, safety &amp; risk management frameworks&#10;4.    Facilitation of development &amp; use-liability regimes, cross-border model training and test&#10;5.    International collaboration on data, compute &amp; talent to solve SDGs&#10;6.    Reporting and peer review&#10;7.    Norm elaboration, compliance and accountability">
            <a:extLst>
              <a:ext uri="{FF2B5EF4-FFF2-40B4-BE49-F238E27FC236}">
                <a16:creationId xmlns:a16="http://schemas.microsoft.com/office/drawing/2014/main" id="{DD17DF6D-7886-8C92-01EB-3CAC9B78C1A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71" t="5179" r="6414" b="7640"/>
          <a:stretch/>
        </p:blipFill>
        <p:spPr bwMode="auto">
          <a:xfrm>
            <a:off x="3542065" y="1297359"/>
            <a:ext cx="7971947" cy="4945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E3289B0D-4ED8-D48D-4D04-BFDBEF2BF10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073293" y="149146"/>
            <a:ext cx="747402" cy="3933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86736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6AF6F30-849C-6ABC-BDF4-7A2514F5EB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AF6F30-849C-6ABC-BDF4-7A2514F5EB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628945-7F32-7072-5134-5E514B2D6D2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703" b="0" i="0" u="none" strike="noStrike" kern="1200" cap="none" spc="0" normalizeH="0" baseline="0" noProof="0">
                <a:ln>
                  <a:noFill/>
                </a:ln>
                <a:solidFill>
                  <a:srgbClr val="149ED9"/>
                </a:solidFill>
                <a:effectLst/>
                <a:uLnTx/>
                <a:uFillTx/>
                <a:latin typeface="Roboto Black" panose="02000000000000000000" pitchFamily="2" charset="0"/>
                <a:ea typeface="Roboto Black" panose="02000000000000000000" pitchFamily="2" charset="0"/>
                <a:cs typeface="+mn-cs"/>
              </a:rPr>
              <a:t>EXISTING LANDSCAPE</a:t>
            </a:r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8C9C6851-5426-BF71-E669-15E301D869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916" y="555688"/>
            <a:ext cx="10933200" cy="515526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sz="3350" dirty="0">
                <a:solidFill>
                  <a:schemeClr val="tx2">
                    <a:lumMod val="50000"/>
                  </a:schemeClr>
                </a:solidFill>
                <a:ea typeface="Roboto Black"/>
              </a:rPr>
              <a:t>Sources of AI</a:t>
            </a:r>
            <a:r>
              <a:rPr lang="en-US" sz="3350" baseline="30000" dirty="0">
                <a:solidFill>
                  <a:schemeClr val="tx2">
                    <a:lumMod val="50000"/>
                  </a:schemeClr>
                </a:solidFill>
                <a:ea typeface="Roboto Black"/>
              </a:rPr>
              <a:t>1</a:t>
            </a:r>
            <a:r>
              <a:rPr lang="en-US" sz="3350" dirty="0">
                <a:solidFill>
                  <a:schemeClr val="tx2">
                    <a:lumMod val="50000"/>
                  </a:schemeClr>
                </a:solidFill>
                <a:ea typeface="Roboto Black"/>
              </a:rPr>
              <a:t> governance initiatives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4043EE8-7D7C-3C38-0115-12C93EA71339}"/>
              </a:ext>
            </a:extLst>
          </p:cNvPr>
          <p:cNvSpPr/>
          <p:nvPr/>
        </p:nvSpPr>
        <p:spPr>
          <a:xfrm>
            <a:off x="9355661" y="210164"/>
            <a:ext cx="2190315" cy="3324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Not exhaustiv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812D64AD-1EC6-3A8C-CFE7-44B6E1CA2761}"/>
              </a:ext>
            </a:extLst>
          </p:cNvPr>
          <p:cNvCxnSpPr>
            <a:cxnSpLocks/>
          </p:cNvCxnSpPr>
          <p:nvPr/>
        </p:nvCxnSpPr>
        <p:spPr>
          <a:xfrm>
            <a:off x="2572011" y="3989402"/>
            <a:ext cx="6400800" cy="0"/>
          </a:xfrm>
          <a:prstGeom prst="line">
            <a:avLst/>
          </a:prstGeom>
          <a:ln w="19050">
            <a:solidFill>
              <a:srgbClr val="3F3F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AD8D2A1-9B41-6239-ADCC-8C018784CCD7}"/>
              </a:ext>
            </a:extLst>
          </p:cNvPr>
          <p:cNvCxnSpPr>
            <a:cxnSpLocks/>
          </p:cNvCxnSpPr>
          <p:nvPr/>
        </p:nvCxnSpPr>
        <p:spPr>
          <a:xfrm>
            <a:off x="2572011" y="1264159"/>
            <a:ext cx="0" cy="4114800"/>
          </a:xfrm>
          <a:prstGeom prst="line">
            <a:avLst/>
          </a:prstGeom>
          <a:ln w="19050">
            <a:solidFill>
              <a:srgbClr val="3F3F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AE8A8477-03F2-46FF-89FF-BB7584B17477}"/>
              </a:ext>
            </a:extLst>
          </p:cNvPr>
          <p:cNvCxnSpPr>
            <a:cxnSpLocks/>
          </p:cNvCxnSpPr>
          <p:nvPr/>
        </p:nvCxnSpPr>
        <p:spPr>
          <a:xfrm>
            <a:off x="4187450" y="1264159"/>
            <a:ext cx="0" cy="4114800"/>
          </a:xfrm>
          <a:prstGeom prst="line">
            <a:avLst/>
          </a:prstGeom>
          <a:ln w="19050">
            <a:solidFill>
              <a:srgbClr val="3F3F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2D8BDECF-FE7D-6E4E-B393-6FDED3E89464}"/>
              </a:ext>
            </a:extLst>
          </p:cNvPr>
          <p:cNvCxnSpPr>
            <a:cxnSpLocks/>
          </p:cNvCxnSpPr>
          <p:nvPr/>
        </p:nvCxnSpPr>
        <p:spPr>
          <a:xfrm>
            <a:off x="2572011" y="2617802"/>
            <a:ext cx="6400800" cy="0"/>
          </a:xfrm>
          <a:prstGeom prst="line">
            <a:avLst/>
          </a:prstGeom>
          <a:ln w="19050">
            <a:solidFill>
              <a:srgbClr val="3F3F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itle 2">
            <a:extLst>
              <a:ext uri="{FF2B5EF4-FFF2-40B4-BE49-F238E27FC236}">
                <a16:creationId xmlns:a16="http://schemas.microsoft.com/office/drawing/2014/main" id="{14E4A76E-2EC5-057B-ABF4-CF7A5DE9C1E5}"/>
              </a:ext>
            </a:extLst>
          </p:cNvPr>
          <p:cNvSpPr txBox="1">
            <a:spLocks/>
          </p:cNvSpPr>
          <p:nvPr/>
        </p:nvSpPr>
        <p:spPr>
          <a:xfrm>
            <a:off x="987053" y="4550552"/>
            <a:ext cx="1371600" cy="2492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defTabSz="914514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399" b="0" i="0" u="none" kern="1200" spc="0" baseline="0">
                <a:solidFill>
                  <a:schemeClr val="tx2">
                    <a:lumMod val="100000"/>
                  </a:schemeClr>
                </a:solidFill>
                <a:latin typeface="+mj-lt"/>
                <a:ea typeface="Roboto Black" panose="02000000000000000000" pitchFamily="2" charset="0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51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Roboto"/>
                <a:ea typeface="Roboto Black"/>
                <a:cs typeface="+mj-cs"/>
                <a:sym typeface="Trebuchet MS" panose="020B0603020202020204" pitchFamily="34" charset="0"/>
              </a:rPr>
              <a:t>Domestic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F7F7F">
                  <a:lumMod val="50000"/>
                </a:srgbClr>
              </a:solidFill>
              <a:effectLst/>
              <a:uLnTx/>
              <a:uFillTx/>
              <a:latin typeface="Roboto"/>
              <a:ea typeface="Roboto Black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40" name="Title 2">
            <a:extLst>
              <a:ext uri="{FF2B5EF4-FFF2-40B4-BE49-F238E27FC236}">
                <a16:creationId xmlns:a16="http://schemas.microsoft.com/office/drawing/2014/main" id="{DCE4C64E-DE07-122B-A08D-FF791FBD448F}"/>
              </a:ext>
            </a:extLst>
          </p:cNvPr>
          <p:cNvSpPr txBox="1">
            <a:spLocks/>
          </p:cNvSpPr>
          <p:nvPr/>
        </p:nvSpPr>
        <p:spPr>
          <a:xfrm>
            <a:off x="7387850" y="5410030"/>
            <a:ext cx="1600200" cy="45397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514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399" b="0" i="0" u="none" kern="1200" spc="0" baseline="0">
                <a:solidFill>
                  <a:schemeClr val="tx2">
                    <a:lumMod val="100000"/>
                  </a:schemeClr>
                </a:solidFill>
                <a:latin typeface="+mj-lt"/>
                <a:ea typeface="Roboto Black" panose="02000000000000000000" pitchFamily="2" charset="0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51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Roboto"/>
                <a:ea typeface="Roboto Black"/>
                <a:cs typeface="+mj-cs"/>
                <a:sym typeface="Trebuchet MS" panose="020B0603020202020204" pitchFamily="34" charset="0"/>
              </a:rPr>
              <a:t>Universal</a:t>
            </a:r>
          </a:p>
          <a:p>
            <a:pPr marL="0" marR="0" lvl="0" indent="0" algn="ctr" defTabSz="91451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Roboto"/>
                <a:ea typeface="Roboto Black"/>
                <a:cs typeface="+mj-cs"/>
                <a:sym typeface="Trebuchet MS" panose="020B0603020202020204" pitchFamily="34" charset="0"/>
              </a:rPr>
              <a:t>Large-n multilatera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F7F7F">
                  <a:lumMod val="50000"/>
                </a:srgbClr>
              </a:solidFill>
              <a:effectLst/>
              <a:uLnTx/>
              <a:uFillTx/>
              <a:latin typeface="Roboto"/>
              <a:ea typeface="Roboto Black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41" name="Title 2">
            <a:extLst>
              <a:ext uri="{FF2B5EF4-FFF2-40B4-BE49-F238E27FC236}">
                <a16:creationId xmlns:a16="http://schemas.microsoft.com/office/drawing/2014/main" id="{52755229-C336-B531-8A47-1B80E6AF9994}"/>
              </a:ext>
            </a:extLst>
          </p:cNvPr>
          <p:cNvSpPr txBox="1">
            <a:spLocks/>
          </p:cNvSpPr>
          <p:nvPr/>
        </p:nvSpPr>
        <p:spPr>
          <a:xfrm>
            <a:off x="5787650" y="5424898"/>
            <a:ext cx="1600200" cy="2492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514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399" b="0" i="0" u="none" kern="1200" spc="0" baseline="0">
                <a:solidFill>
                  <a:schemeClr val="tx2">
                    <a:lumMod val="100000"/>
                  </a:schemeClr>
                </a:solidFill>
                <a:latin typeface="+mj-lt"/>
                <a:ea typeface="Roboto Black" panose="02000000000000000000" pitchFamily="2" charset="0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51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Roboto"/>
                <a:ea typeface="Roboto Black"/>
                <a:cs typeface="+mj-cs"/>
                <a:sym typeface="Trebuchet MS" panose="020B0603020202020204" pitchFamily="34" charset="0"/>
              </a:rPr>
              <a:t>Plurilatera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F7F7F">
                  <a:lumMod val="50000"/>
                </a:srgbClr>
              </a:solidFill>
              <a:effectLst/>
              <a:uLnTx/>
              <a:uFillTx/>
              <a:latin typeface="Roboto"/>
              <a:ea typeface="Roboto Black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42" name="Title 2">
            <a:extLst>
              <a:ext uri="{FF2B5EF4-FFF2-40B4-BE49-F238E27FC236}">
                <a16:creationId xmlns:a16="http://schemas.microsoft.com/office/drawing/2014/main" id="{A4B9C33F-5774-EA91-4008-7AA8D3F6A89B}"/>
              </a:ext>
            </a:extLst>
          </p:cNvPr>
          <p:cNvSpPr txBox="1">
            <a:spLocks/>
          </p:cNvSpPr>
          <p:nvPr/>
        </p:nvSpPr>
        <p:spPr>
          <a:xfrm>
            <a:off x="4187450" y="5410030"/>
            <a:ext cx="1600200" cy="4985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514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399" b="0" i="0" u="none" kern="1200" spc="0" baseline="0">
                <a:solidFill>
                  <a:schemeClr val="tx2">
                    <a:lumMod val="100000"/>
                  </a:schemeClr>
                </a:solidFill>
                <a:latin typeface="+mj-lt"/>
                <a:ea typeface="Roboto Black" panose="02000000000000000000" pitchFamily="2" charset="0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51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Roboto"/>
                <a:ea typeface="Roboto Black"/>
                <a:cs typeface="+mj-cs"/>
                <a:sym typeface="Trebuchet MS" panose="020B0603020202020204" pitchFamily="34" charset="0"/>
              </a:rPr>
              <a:t>Tri/</a:t>
            </a:r>
            <a:r>
              <a:rPr kumimoji="0" lang="en-US" sz="1800" b="0" i="1" u="none" strike="noStrike" kern="1200" cap="none" spc="0" normalizeH="0" baseline="0" noProof="0" err="1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Roboto"/>
                <a:ea typeface="Roboto Black"/>
                <a:cs typeface="+mj-cs"/>
                <a:sym typeface="Trebuchet MS" panose="020B0603020202020204" pitchFamily="34" charset="0"/>
              </a:rPr>
              <a:t>quadri</a:t>
            </a:r>
            <a:r>
              <a:rPr kumimoji="0" lang="en-US" sz="1800" b="0" i="1" u="none" strike="noStrike" kern="1200" cap="none" spc="0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Roboto"/>
                <a:ea typeface="Roboto Black"/>
                <a:cs typeface="+mj-cs"/>
                <a:sym typeface="Trebuchet MS" panose="020B0603020202020204" pitchFamily="34" charset="0"/>
              </a:rPr>
              <a:t>/ </a:t>
            </a:r>
            <a:r>
              <a:rPr kumimoji="0" lang="en-US" sz="1800" b="0" i="1" u="none" strike="noStrike" kern="1200" cap="none" spc="0" normalizeH="0" baseline="0" noProof="0" err="1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Roboto"/>
                <a:ea typeface="Roboto Black"/>
                <a:cs typeface="+mj-cs"/>
                <a:sym typeface="Trebuchet MS" panose="020B0603020202020204" pitchFamily="34" charset="0"/>
              </a:rPr>
              <a:t>minilatera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F7F7F">
                  <a:lumMod val="50000"/>
                </a:srgbClr>
              </a:solidFill>
              <a:effectLst/>
              <a:uLnTx/>
              <a:uFillTx/>
              <a:latin typeface="Roboto"/>
              <a:ea typeface="Roboto Black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43" name="Title 2">
            <a:extLst>
              <a:ext uri="{FF2B5EF4-FFF2-40B4-BE49-F238E27FC236}">
                <a16:creationId xmlns:a16="http://schemas.microsoft.com/office/drawing/2014/main" id="{B4654813-28A0-9F97-302F-E9E803655B47}"/>
              </a:ext>
            </a:extLst>
          </p:cNvPr>
          <p:cNvSpPr txBox="1">
            <a:spLocks/>
          </p:cNvSpPr>
          <p:nvPr/>
        </p:nvSpPr>
        <p:spPr>
          <a:xfrm>
            <a:off x="2587250" y="5410030"/>
            <a:ext cx="1600200" cy="2492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514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399" b="0" i="0" u="none" kern="1200" spc="0" baseline="0">
                <a:solidFill>
                  <a:schemeClr val="tx2">
                    <a:lumMod val="100000"/>
                  </a:schemeClr>
                </a:solidFill>
                <a:latin typeface="+mj-lt"/>
                <a:ea typeface="Roboto Black" panose="02000000000000000000" pitchFamily="2" charset="0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51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Roboto"/>
                <a:ea typeface="Roboto Black"/>
                <a:cs typeface="+mj-cs"/>
                <a:sym typeface="Trebuchet MS" panose="020B0603020202020204" pitchFamily="34" charset="0"/>
              </a:rPr>
              <a:t>Bilateral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F7F7F">
                  <a:lumMod val="50000"/>
                </a:srgbClr>
              </a:solidFill>
              <a:effectLst/>
              <a:uLnTx/>
              <a:uFillTx/>
              <a:latin typeface="Roboto"/>
              <a:ea typeface="Roboto Black"/>
              <a:cs typeface="+mj-cs"/>
              <a:sym typeface="Trebuchet MS" panose="020B0603020202020204" pitchFamily="34" charset="0"/>
            </a:endParaRP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AD06FD97-4904-10C1-2606-699F21AD9AD2}"/>
              </a:ext>
            </a:extLst>
          </p:cNvPr>
          <p:cNvCxnSpPr>
            <a:cxnSpLocks/>
          </p:cNvCxnSpPr>
          <p:nvPr/>
        </p:nvCxnSpPr>
        <p:spPr>
          <a:xfrm>
            <a:off x="5787650" y="1264159"/>
            <a:ext cx="0" cy="4114800"/>
          </a:xfrm>
          <a:prstGeom prst="line">
            <a:avLst/>
          </a:prstGeom>
          <a:ln w="19050">
            <a:solidFill>
              <a:srgbClr val="3F3F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itle 2">
            <a:extLst>
              <a:ext uri="{FF2B5EF4-FFF2-40B4-BE49-F238E27FC236}">
                <a16:creationId xmlns:a16="http://schemas.microsoft.com/office/drawing/2014/main" id="{14C570AC-91F4-E2EB-7E91-704460B914B4}"/>
              </a:ext>
            </a:extLst>
          </p:cNvPr>
          <p:cNvSpPr txBox="1">
            <a:spLocks/>
          </p:cNvSpPr>
          <p:nvPr/>
        </p:nvSpPr>
        <p:spPr>
          <a:xfrm>
            <a:off x="987053" y="2993517"/>
            <a:ext cx="1371600" cy="62017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defTabSz="914514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399" b="0" i="0" u="none" kern="1200" spc="0" baseline="0">
                <a:solidFill>
                  <a:schemeClr val="tx2">
                    <a:lumMod val="100000"/>
                  </a:schemeClr>
                </a:solidFill>
                <a:latin typeface="+mj-lt"/>
                <a:ea typeface="Roboto Black" panose="02000000000000000000" pitchFamily="2" charset="0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51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Roboto"/>
                <a:ea typeface="Roboto Black"/>
                <a:cs typeface="+mj-cs"/>
                <a:sym typeface="Trebuchet MS" panose="020B0603020202020204" pitchFamily="34" charset="0"/>
              </a:rPr>
              <a:t>Regional</a:t>
            </a:r>
          </a:p>
          <a:p>
            <a:pPr marL="0" marR="0" lvl="0" indent="0" algn="r" defTabSz="91451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Roboto"/>
                <a:ea typeface="Roboto Black"/>
                <a:cs typeface="+mj-cs"/>
                <a:sym typeface="Trebuchet MS" panose="020B0603020202020204" pitchFamily="34" charset="0"/>
              </a:rPr>
              <a:t>international    within regions</a:t>
            </a:r>
          </a:p>
        </p:txBody>
      </p:sp>
      <p:sp>
        <p:nvSpPr>
          <p:cNvPr id="46" name="Title 2">
            <a:extLst>
              <a:ext uri="{FF2B5EF4-FFF2-40B4-BE49-F238E27FC236}">
                <a16:creationId xmlns:a16="http://schemas.microsoft.com/office/drawing/2014/main" id="{9E00C5A7-035B-67F7-221C-6F690C832DE6}"/>
              </a:ext>
            </a:extLst>
          </p:cNvPr>
          <p:cNvSpPr txBox="1">
            <a:spLocks/>
          </p:cNvSpPr>
          <p:nvPr/>
        </p:nvSpPr>
        <p:spPr>
          <a:xfrm>
            <a:off x="987053" y="1641153"/>
            <a:ext cx="1371600" cy="5816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defTabSz="914514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399" b="0" i="0" u="none" kern="1200" spc="0" baseline="0">
                <a:solidFill>
                  <a:schemeClr val="tx2">
                    <a:lumMod val="100000"/>
                  </a:schemeClr>
                </a:solidFill>
                <a:latin typeface="+mj-lt"/>
                <a:ea typeface="Roboto Black" panose="02000000000000000000" pitchFamily="2" charset="0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r" defTabSz="91451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Roboto"/>
                <a:ea typeface="Roboto Black"/>
                <a:cs typeface="+mj-cs"/>
                <a:sym typeface="Trebuchet MS" panose="020B0603020202020204" pitchFamily="34" charset="0"/>
              </a:rPr>
              <a:t>Inter-regional </a:t>
            </a: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Roboto"/>
                <a:ea typeface="Roboto Black"/>
                <a:cs typeface="+mj-cs"/>
                <a:sym typeface="Trebuchet MS" panose="020B0603020202020204" pitchFamily="34" charset="0"/>
              </a:rPr>
              <a:t>international between regions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9DB99EC4-B0A6-70E8-943B-B6D65EB08C61}"/>
              </a:ext>
            </a:extLst>
          </p:cNvPr>
          <p:cNvSpPr/>
          <p:nvPr/>
        </p:nvSpPr>
        <p:spPr>
          <a:xfrm>
            <a:off x="7473076" y="1372282"/>
            <a:ext cx="1438180" cy="1097863"/>
          </a:xfrm>
          <a:prstGeom prst="rect">
            <a:avLst/>
          </a:prstGeom>
          <a:solidFill>
            <a:schemeClr val="bg1">
              <a:lumMod val="60000"/>
              <a:lumOff val="40000"/>
              <a:alpha val="50000"/>
            </a:schemeClr>
          </a:solidFill>
          <a:ln w="3175">
            <a:solidFill>
              <a:srgbClr val="1315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srgbClr val="149ED9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UN</a:t>
            </a:r>
          </a:p>
        </p:txBody>
      </p:sp>
      <p:sp>
        <p:nvSpPr>
          <p:cNvPr id="48" name="Title 2">
            <a:extLst>
              <a:ext uri="{FF2B5EF4-FFF2-40B4-BE49-F238E27FC236}">
                <a16:creationId xmlns:a16="http://schemas.microsoft.com/office/drawing/2014/main" id="{A8942FB2-3C61-729C-41D6-70A72F718DC3}"/>
              </a:ext>
            </a:extLst>
          </p:cNvPr>
          <p:cNvSpPr txBox="1">
            <a:spLocks/>
          </p:cNvSpPr>
          <p:nvPr/>
        </p:nvSpPr>
        <p:spPr>
          <a:xfrm>
            <a:off x="3841701" y="5985901"/>
            <a:ext cx="3891898" cy="2492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514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399" b="0" i="0" u="none" kern="1200" spc="0" baseline="0">
                <a:solidFill>
                  <a:schemeClr val="tx2">
                    <a:lumMod val="100000"/>
                  </a:schemeClr>
                </a:solidFill>
                <a:latin typeface="+mj-lt"/>
                <a:ea typeface="Roboto Black" panose="02000000000000000000" pitchFamily="2" charset="0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51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Roboto"/>
                <a:ea typeface="Roboto Black"/>
                <a:cs typeface="+mj-cs"/>
                <a:sym typeface="Trebuchet MS" panose="020B0603020202020204" pitchFamily="34" charset="0"/>
              </a:rPr>
              <a:t>Inclusivenes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F7F7F">
                  <a:lumMod val="50000"/>
                </a:srgbClr>
              </a:solidFill>
              <a:effectLst/>
              <a:uLnTx/>
              <a:uFillTx/>
              <a:latin typeface="Roboto"/>
              <a:ea typeface="Roboto Black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49" name="Title 2">
            <a:extLst>
              <a:ext uri="{FF2B5EF4-FFF2-40B4-BE49-F238E27FC236}">
                <a16:creationId xmlns:a16="http://schemas.microsoft.com/office/drawing/2014/main" id="{BFD249C6-84A6-2C8E-7F50-8C2EF5AECFCC}"/>
              </a:ext>
            </a:extLst>
          </p:cNvPr>
          <p:cNvSpPr txBox="1">
            <a:spLocks/>
          </p:cNvSpPr>
          <p:nvPr/>
        </p:nvSpPr>
        <p:spPr>
          <a:xfrm rot="16200000">
            <a:off x="-1278436" y="3094575"/>
            <a:ext cx="4114801" cy="45397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514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399" b="0" i="0" u="none" kern="1200" spc="0" baseline="0">
                <a:solidFill>
                  <a:schemeClr val="tx2">
                    <a:lumMod val="100000"/>
                  </a:schemeClr>
                </a:solidFill>
                <a:latin typeface="+mj-lt"/>
                <a:ea typeface="Roboto Black" panose="02000000000000000000" pitchFamily="2" charset="0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51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Roboto"/>
                <a:ea typeface="Roboto Black"/>
                <a:cs typeface="+mj-cs"/>
                <a:sym typeface="Trebuchet MS" panose="020B0603020202020204" pitchFamily="34" charset="0"/>
              </a:rPr>
              <a:t>Adoption</a:t>
            </a:r>
          </a:p>
          <a:p>
            <a:pPr marL="0" marR="0" lvl="0" indent="0" algn="ctr" defTabSz="91451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Roboto"/>
                <a:ea typeface="Roboto Black"/>
                <a:cs typeface="+mj-cs"/>
                <a:sym typeface="Trebuchet MS" panose="020B0603020202020204" pitchFamily="34" charset="0"/>
              </a:rPr>
              <a:t>by government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7F7F7F">
                  <a:lumMod val="50000"/>
                </a:srgbClr>
              </a:solidFill>
              <a:effectLst/>
              <a:uLnTx/>
              <a:uFillTx/>
              <a:latin typeface="Roboto"/>
              <a:ea typeface="Roboto Black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17610086-561C-6768-0932-39FEF8058468}"/>
              </a:ext>
            </a:extLst>
          </p:cNvPr>
          <p:cNvSpPr/>
          <p:nvPr/>
        </p:nvSpPr>
        <p:spPr>
          <a:xfrm>
            <a:off x="5871471" y="1379571"/>
            <a:ext cx="1438180" cy="1097863"/>
          </a:xfrm>
          <a:prstGeom prst="rect">
            <a:avLst/>
          </a:prstGeom>
          <a:solidFill>
            <a:schemeClr val="bg1">
              <a:lumMod val="60000"/>
              <a:lumOff val="40000"/>
              <a:alpha val="50000"/>
            </a:schemeClr>
          </a:solidFill>
          <a:ln w="3175">
            <a:solidFill>
              <a:srgbClr val="1315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149ED9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AISs, </a:t>
            </a:r>
            <a:r>
              <a:rPr kumimoji="0" lang="en-US" sz="1600" b="0" i="1" u="none" strike="noStrike" kern="1200" cap="none" spc="0" normalizeH="0" baseline="0" noProof="0" dirty="0" err="1">
                <a:ln>
                  <a:noFill/>
                </a:ln>
                <a:solidFill>
                  <a:srgbClr val="149ED9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CoE</a:t>
            </a: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149ED9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, G7, G20, GPAI, OECD…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BBF3C71A-4B11-A20A-DB8D-5ED8D07B7A41}"/>
              </a:ext>
            </a:extLst>
          </p:cNvPr>
          <p:cNvSpPr/>
          <p:nvPr/>
        </p:nvSpPr>
        <p:spPr>
          <a:xfrm>
            <a:off x="5871471" y="2754671"/>
            <a:ext cx="1438180" cy="1097863"/>
          </a:xfrm>
          <a:prstGeom prst="rect">
            <a:avLst/>
          </a:prstGeom>
          <a:solidFill>
            <a:schemeClr val="bg1">
              <a:lumMod val="60000"/>
              <a:lumOff val="40000"/>
              <a:alpha val="50000"/>
            </a:schemeClr>
          </a:solidFill>
          <a:ln w="3175">
            <a:solidFill>
              <a:srgbClr val="1315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149ED9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ASEAN, AU, EU, OAS...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3F6B4621-9D6B-D8A4-A9C2-4BA1C10E4ACD}"/>
              </a:ext>
            </a:extLst>
          </p:cNvPr>
          <p:cNvSpPr/>
          <p:nvPr/>
        </p:nvSpPr>
        <p:spPr>
          <a:xfrm>
            <a:off x="4256033" y="1379571"/>
            <a:ext cx="1438180" cy="1097863"/>
          </a:xfrm>
          <a:prstGeom prst="rect">
            <a:avLst/>
          </a:prstGeom>
          <a:solidFill>
            <a:schemeClr val="bg1">
              <a:lumMod val="60000"/>
              <a:lumOff val="40000"/>
              <a:alpha val="50000"/>
            </a:schemeClr>
          </a:solidFill>
          <a:ln w="3175">
            <a:solidFill>
              <a:srgbClr val="1315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149ED9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QUAD…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2CBF0A4-AE2D-9173-978D-50FA35196FDA}"/>
              </a:ext>
            </a:extLst>
          </p:cNvPr>
          <p:cNvSpPr/>
          <p:nvPr/>
        </p:nvSpPr>
        <p:spPr>
          <a:xfrm>
            <a:off x="2673962" y="1379571"/>
            <a:ext cx="1438180" cy="1097863"/>
          </a:xfrm>
          <a:prstGeom prst="rect">
            <a:avLst/>
          </a:prstGeom>
          <a:solidFill>
            <a:schemeClr val="bg1">
              <a:lumMod val="60000"/>
              <a:lumOff val="40000"/>
              <a:alpha val="50000"/>
            </a:schemeClr>
          </a:solidFill>
          <a:ln w="3175">
            <a:solidFill>
              <a:srgbClr val="1315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149ED9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US-UK,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149ED9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NZ-UK,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149ED9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US-SGP,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149ED9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US-EU…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908FD9F4-5F22-EE40-A746-03E65780B0B3}"/>
              </a:ext>
            </a:extLst>
          </p:cNvPr>
          <p:cNvCxnSpPr>
            <a:cxnSpLocks/>
          </p:cNvCxnSpPr>
          <p:nvPr/>
        </p:nvCxnSpPr>
        <p:spPr>
          <a:xfrm>
            <a:off x="2572011" y="5378959"/>
            <a:ext cx="6400800" cy="0"/>
          </a:xfrm>
          <a:prstGeom prst="line">
            <a:avLst/>
          </a:prstGeom>
          <a:ln w="19050">
            <a:solidFill>
              <a:srgbClr val="3F3F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2BDADE11-9B0B-821E-B49C-4F4C4B2A1A74}"/>
              </a:ext>
            </a:extLst>
          </p:cNvPr>
          <p:cNvCxnSpPr>
            <a:cxnSpLocks/>
          </p:cNvCxnSpPr>
          <p:nvPr/>
        </p:nvCxnSpPr>
        <p:spPr>
          <a:xfrm>
            <a:off x="7387850" y="1264159"/>
            <a:ext cx="0" cy="4114800"/>
          </a:xfrm>
          <a:prstGeom prst="line">
            <a:avLst/>
          </a:prstGeom>
          <a:ln w="19050">
            <a:solidFill>
              <a:srgbClr val="3F3F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55">
            <a:extLst>
              <a:ext uri="{FF2B5EF4-FFF2-40B4-BE49-F238E27FC236}">
                <a16:creationId xmlns:a16="http://schemas.microsoft.com/office/drawing/2014/main" id="{1B32E10B-B114-FE25-917D-61FB7265B3C5}"/>
              </a:ext>
            </a:extLst>
          </p:cNvPr>
          <p:cNvSpPr/>
          <p:nvPr/>
        </p:nvSpPr>
        <p:spPr>
          <a:xfrm>
            <a:off x="9773175" y="1379571"/>
            <a:ext cx="1020666" cy="3844561"/>
          </a:xfrm>
          <a:prstGeom prst="rect">
            <a:avLst/>
          </a:prstGeom>
          <a:solidFill>
            <a:schemeClr val="bg2">
              <a:lumMod val="75000"/>
              <a:alpha val="50000"/>
            </a:schemeClr>
          </a:solidFill>
          <a:ln w="3175">
            <a:solidFill>
              <a:srgbClr val="1315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AISs, FMF, IEC, IEEE, ISO, ITU, WSC…</a:t>
            </a: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2FE35E62-A30E-9739-3DC2-45A2666C058E}"/>
              </a:ext>
            </a:extLst>
          </p:cNvPr>
          <p:cNvCxnSpPr>
            <a:cxnSpLocks/>
          </p:cNvCxnSpPr>
          <p:nvPr/>
        </p:nvCxnSpPr>
        <p:spPr>
          <a:xfrm>
            <a:off x="9265773" y="1264159"/>
            <a:ext cx="0" cy="4114800"/>
          </a:xfrm>
          <a:prstGeom prst="line">
            <a:avLst/>
          </a:prstGeom>
          <a:ln w="19050">
            <a:solidFill>
              <a:srgbClr val="3F3F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687193D0-2393-D964-4069-FA2F92E436C3}"/>
              </a:ext>
            </a:extLst>
          </p:cNvPr>
          <p:cNvCxnSpPr>
            <a:cxnSpLocks/>
          </p:cNvCxnSpPr>
          <p:nvPr/>
        </p:nvCxnSpPr>
        <p:spPr>
          <a:xfrm>
            <a:off x="10881212" y="1264159"/>
            <a:ext cx="0" cy="4114800"/>
          </a:xfrm>
          <a:prstGeom prst="line">
            <a:avLst/>
          </a:prstGeom>
          <a:ln w="19050">
            <a:solidFill>
              <a:srgbClr val="3F3F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itle 2">
            <a:extLst>
              <a:ext uri="{FF2B5EF4-FFF2-40B4-BE49-F238E27FC236}">
                <a16:creationId xmlns:a16="http://schemas.microsoft.com/office/drawing/2014/main" id="{1BA8BAEB-E389-9A79-8141-B52E47F47D8A}"/>
              </a:ext>
            </a:extLst>
          </p:cNvPr>
          <p:cNvSpPr txBox="1">
            <a:spLocks/>
          </p:cNvSpPr>
          <p:nvPr/>
        </p:nvSpPr>
        <p:spPr>
          <a:xfrm>
            <a:off x="9265773" y="5410030"/>
            <a:ext cx="1600200" cy="70326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514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399" b="0" i="0" u="none" kern="1200" spc="0" baseline="0">
                <a:solidFill>
                  <a:schemeClr val="tx2">
                    <a:lumMod val="100000"/>
                  </a:schemeClr>
                </a:solidFill>
                <a:latin typeface="+mj-lt"/>
                <a:ea typeface="Roboto Black" panose="02000000000000000000" pitchFamily="2" charset="0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51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Roboto"/>
                <a:ea typeface="Roboto Black"/>
                <a:cs typeface="+mj-cs"/>
                <a:sym typeface="Trebuchet MS" panose="020B0603020202020204" pitchFamily="34" charset="0"/>
              </a:rPr>
              <a:t>Industry standards</a:t>
            </a:r>
          </a:p>
          <a:p>
            <a:pPr marL="0" marR="0" lvl="0" indent="0" algn="ctr" defTabSz="91451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Roboto"/>
                <a:ea typeface="Roboto Black"/>
                <a:cs typeface="+mj-cs"/>
                <a:sym typeface="Trebuchet MS" panose="020B0603020202020204" pitchFamily="34" charset="0"/>
              </a:rPr>
              <a:t>&amp; commitment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F7F7F">
                  <a:lumMod val="50000"/>
                </a:srgbClr>
              </a:solidFill>
              <a:effectLst/>
              <a:uLnTx/>
              <a:uFillTx/>
              <a:latin typeface="Roboto"/>
              <a:ea typeface="Roboto Black"/>
              <a:cs typeface="+mj-cs"/>
              <a:sym typeface="Trebuchet MS" panose="020B0603020202020204" pitchFamily="34" charset="0"/>
            </a:endParaRPr>
          </a:p>
        </p:txBody>
      </p: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DC889F06-8066-FA1D-8315-E40B8FCBCF4C}"/>
              </a:ext>
            </a:extLst>
          </p:cNvPr>
          <p:cNvCxnSpPr>
            <a:cxnSpLocks/>
          </p:cNvCxnSpPr>
          <p:nvPr/>
        </p:nvCxnSpPr>
        <p:spPr>
          <a:xfrm>
            <a:off x="9265773" y="3989402"/>
            <a:ext cx="1609344" cy="0"/>
          </a:xfrm>
          <a:prstGeom prst="line">
            <a:avLst/>
          </a:prstGeom>
          <a:ln w="19050">
            <a:solidFill>
              <a:srgbClr val="3F3F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FE5EDDA9-6645-1525-F8D3-7B8ECB0ABC13}"/>
              </a:ext>
            </a:extLst>
          </p:cNvPr>
          <p:cNvCxnSpPr>
            <a:cxnSpLocks/>
          </p:cNvCxnSpPr>
          <p:nvPr/>
        </p:nvCxnSpPr>
        <p:spPr>
          <a:xfrm>
            <a:off x="9265773" y="2617802"/>
            <a:ext cx="1609344" cy="0"/>
          </a:xfrm>
          <a:prstGeom prst="line">
            <a:avLst/>
          </a:prstGeom>
          <a:ln w="19050">
            <a:solidFill>
              <a:srgbClr val="3F3F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7BCBB6CC-DC45-3254-21B9-2CD44287630D}"/>
              </a:ext>
            </a:extLst>
          </p:cNvPr>
          <p:cNvCxnSpPr>
            <a:cxnSpLocks/>
          </p:cNvCxnSpPr>
          <p:nvPr/>
        </p:nvCxnSpPr>
        <p:spPr>
          <a:xfrm>
            <a:off x="9265773" y="5378959"/>
            <a:ext cx="1609344" cy="0"/>
          </a:xfrm>
          <a:prstGeom prst="line">
            <a:avLst/>
          </a:prstGeom>
          <a:ln w="19050">
            <a:solidFill>
              <a:srgbClr val="3F3F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3" name="Picture 62">
            <a:extLst>
              <a:ext uri="{FF2B5EF4-FFF2-40B4-BE49-F238E27FC236}">
                <a16:creationId xmlns:a16="http://schemas.microsoft.com/office/drawing/2014/main" id="{862F88B3-F77A-1B42-CB37-A6C6A966F6E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2582" y="5007960"/>
            <a:ext cx="1431197" cy="1192665"/>
          </a:xfrm>
          <a:prstGeom prst="rect">
            <a:avLst/>
          </a:prstGeom>
        </p:spPr>
      </p:pic>
      <p:sp>
        <p:nvSpPr>
          <p:cNvPr id="64" name="Rectangle 63">
            <a:extLst>
              <a:ext uri="{FF2B5EF4-FFF2-40B4-BE49-F238E27FC236}">
                <a16:creationId xmlns:a16="http://schemas.microsoft.com/office/drawing/2014/main" id="{9BE951DE-869D-0038-35D5-9399C93C53D9}"/>
              </a:ext>
            </a:extLst>
          </p:cNvPr>
          <p:cNvSpPr/>
          <p:nvPr/>
        </p:nvSpPr>
        <p:spPr>
          <a:xfrm>
            <a:off x="9558736" y="2754671"/>
            <a:ext cx="1235104" cy="2469460"/>
          </a:xfrm>
          <a:prstGeom prst="rect">
            <a:avLst/>
          </a:prstGeom>
          <a:solidFill>
            <a:schemeClr val="bg2">
              <a:lumMod val="75000"/>
              <a:alpha val="50000"/>
            </a:schemeClr>
          </a:solidFill>
          <a:ln w="3175">
            <a:solidFill>
              <a:srgbClr val="1315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CEN-CENELEC, ETSI…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15A3625A-8430-0313-C189-EF899A56D7BB}"/>
              </a:ext>
            </a:extLst>
          </p:cNvPr>
          <p:cNvSpPr/>
          <p:nvPr/>
        </p:nvSpPr>
        <p:spPr>
          <a:xfrm>
            <a:off x="9355661" y="4126271"/>
            <a:ext cx="1438180" cy="1097863"/>
          </a:xfrm>
          <a:prstGeom prst="rect">
            <a:avLst/>
          </a:prstGeom>
          <a:solidFill>
            <a:schemeClr val="bg2">
              <a:lumMod val="75000"/>
              <a:alpha val="50000"/>
            </a:schemeClr>
          </a:solidFill>
          <a:ln w="3175">
            <a:solidFill>
              <a:srgbClr val="1315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AISIs, BSI, SAC, [ANSI, NIST]...170+ more</a:t>
            </a:r>
          </a:p>
        </p:txBody>
      </p:sp>
      <p:sp>
        <p:nvSpPr>
          <p:cNvPr id="66" name="Title 2">
            <a:extLst>
              <a:ext uri="{FF2B5EF4-FFF2-40B4-BE49-F238E27FC236}">
                <a16:creationId xmlns:a16="http://schemas.microsoft.com/office/drawing/2014/main" id="{B11F2B42-664F-370A-2C98-18FC333C8EBF}"/>
              </a:ext>
            </a:extLst>
          </p:cNvPr>
          <p:cNvSpPr txBox="1">
            <a:spLocks/>
          </p:cNvSpPr>
          <p:nvPr/>
        </p:nvSpPr>
        <p:spPr>
          <a:xfrm rot="5400000" flipH="1">
            <a:off x="9228197" y="3094574"/>
            <a:ext cx="4114800" cy="45397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514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399" b="0" i="0" u="none" kern="1200" spc="0" baseline="0">
                <a:solidFill>
                  <a:schemeClr val="tx2">
                    <a:lumMod val="100000"/>
                  </a:schemeClr>
                </a:solidFill>
                <a:latin typeface="+mj-lt"/>
                <a:ea typeface="Roboto Black" panose="02000000000000000000" pitchFamily="2" charset="0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ctr" defTabSz="91451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Roboto"/>
                <a:ea typeface="Roboto Black"/>
                <a:cs typeface="+mj-cs"/>
                <a:sym typeface="Trebuchet MS" panose="020B0603020202020204" pitchFamily="34" charset="0"/>
              </a:rPr>
              <a:t>Adoption</a:t>
            </a:r>
          </a:p>
          <a:p>
            <a:pPr marL="0" marR="0" lvl="0" indent="0" algn="ctr" defTabSz="91451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Roboto"/>
                <a:ea typeface="Roboto Black"/>
                <a:cs typeface="+mj-cs"/>
                <a:sym typeface="Trebuchet MS" panose="020B0603020202020204" pitchFamily="34" charset="0"/>
              </a:rPr>
              <a:t>by companie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F7F7F">
                  <a:lumMod val="50000"/>
                </a:srgbClr>
              </a:solidFill>
              <a:effectLst/>
              <a:uLnTx/>
              <a:uFillTx/>
              <a:latin typeface="Roboto"/>
              <a:ea typeface="Roboto Black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67" name="Title 2">
            <a:extLst>
              <a:ext uri="{FF2B5EF4-FFF2-40B4-BE49-F238E27FC236}">
                <a16:creationId xmlns:a16="http://schemas.microsoft.com/office/drawing/2014/main" id="{34DA57C5-7E17-EF0B-D142-91582A1B2F2C}"/>
              </a:ext>
            </a:extLst>
          </p:cNvPr>
          <p:cNvSpPr txBox="1">
            <a:spLocks/>
          </p:cNvSpPr>
          <p:nvPr/>
        </p:nvSpPr>
        <p:spPr>
          <a:xfrm>
            <a:off x="526916" y="6289774"/>
            <a:ext cx="10120483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514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399" b="0" i="0" u="none" kern="1200" spc="0" baseline="0">
                <a:solidFill>
                  <a:schemeClr val="tx2">
                    <a:lumMod val="100000"/>
                  </a:schemeClr>
                </a:solidFill>
                <a:latin typeface="+mj-lt"/>
                <a:ea typeface="Roboto Black" panose="02000000000000000000" pitchFamily="2" charset="0"/>
                <a:cs typeface="+mj-cs"/>
                <a:sym typeface="Trebuchet MS" panose="020B0603020202020204" pitchFamily="34" charset="0"/>
              </a:defRPr>
            </a:lvl1pPr>
          </a:lstStyle>
          <a:p>
            <a:pPr marL="228600" marR="0" lvl="0" indent="-228600" algn="l" defTabSz="91451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Roboto"/>
                <a:ea typeface="Roboto Black"/>
                <a:cs typeface="+mj-cs"/>
                <a:sym typeface="Trebuchet MS" panose="020B0603020202020204" pitchFamily="34" charset="0"/>
              </a:rPr>
              <a:t>Existing laws and standards can also apply to AI applications within specific areas, with corresponding international specialized agencies e.g. in agriculture (FAO), health (WHO), education (UNESCO), intellectual property (WIPO), </a:t>
            </a:r>
            <a:r>
              <a:rPr kumimoji="0" lang="en-US" sz="1000" b="0" i="1" u="none" strike="noStrike" kern="1200" cap="none" spc="0" normalizeH="0" baseline="0" noProof="0" dirty="0" err="1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Roboto"/>
                <a:ea typeface="Roboto Black"/>
                <a:cs typeface="+mj-cs"/>
                <a:sym typeface="Trebuchet MS" panose="020B0603020202020204" pitchFamily="34" charset="0"/>
              </a:rPr>
              <a:t>labour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Roboto"/>
                <a:ea typeface="Roboto Black"/>
                <a:cs typeface="+mj-cs"/>
                <a:sym typeface="Trebuchet MS" panose="020B0603020202020204" pitchFamily="34" charset="0"/>
              </a:rPr>
              <a:t> markets (ILO), </a:t>
            </a:r>
            <a:r>
              <a:rPr kumimoji="0" lang="en-US" sz="1000" b="0" i="1" u="none" strike="noStrike" kern="1200" cap="none" spc="0" normalizeH="0" baseline="0" noProof="0" dirty="0" err="1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Roboto"/>
                <a:ea typeface="Roboto Black"/>
                <a:cs typeface="+mj-cs"/>
                <a:sym typeface="Trebuchet MS" panose="020B0603020202020204" pitchFamily="34" charset="0"/>
              </a:rPr>
              <a:t>meterology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Roboto"/>
                <a:ea typeface="Roboto Black"/>
                <a:cs typeface="+mj-cs"/>
                <a:sym typeface="Trebuchet MS" panose="020B0603020202020204" pitchFamily="34" charset="0"/>
              </a:rPr>
              <a:t> (WMO) </a:t>
            </a:r>
            <a:r>
              <a:rPr kumimoji="0" lang="en-US" sz="1000" b="0" i="1" u="none" strike="noStrike" kern="1200" cap="none" spc="0" normalizeH="0" baseline="0" noProof="0" dirty="0" err="1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Roboto"/>
                <a:ea typeface="Roboto Black"/>
                <a:cs typeface="+mj-cs"/>
                <a:sym typeface="Trebuchet MS" panose="020B0603020202020204" pitchFamily="34" charset="0"/>
              </a:rPr>
              <a:t>etc</a:t>
            </a:r>
            <a:endParaRPr kumimoji="0" lang="en-US" sz="1000" b="0" i="1" u="none" strike="noStrike" kern="1200" cap="none" spc="0" normalizeH="0" baseline="0" noProof="0" dirty="0">
              <a:ln>
                <a:noFill/>
              </a:ln>
              <a:solidFill>
                <a:srgbClr val="7F7F7F">
                  <a:lumMod val="50000"/>
                </a:srgbClr>
              </a:solidFill>
              <a:effectLst/>
              <a:uLnTx/>
              <a:uFillTx/>
              <a:latin typeface="Roboto"/>
              <a:ea typeface="Roboto Black"/>
              <a:cs typeface="+mj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85172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6AF6F30-849C-6ABC-BDF4-7A2514F5EB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592" imgH="595" progId="TCLayout.ActiveDocument.1">
                  <p:embed/>
                </p:oleObj>
              </mc:Choice>
              <mc:Fallback>
                <p:oleObj name="think-cell Slide" r:id="rId30" imgW="592" imgH="59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AF6F30-849C-6ABC-BDF4-7A2514F5EB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A628945-7F32-7072-5134-5E514B2D6D2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CA"/>
              <a:t>EXISTING LANDSCAPE</a:t>
            </a:r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8C9C6851-5426-BF71-E669-15E301D869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916" y="555688"/>
            <a:ext cx="10933200" cy="761747"/>
          </a:xfr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sz="3350" dirty="0">
                <a:solidFill>
                  <a:schemeClr val="tx2">
                    <a:lumMod val="50000"/>
                  </a:schemeClr>
                </a:solidFill>
                <a:ea typeface="Roboto Black"/>
              </a:rPr>
              <a:t>Most countries not in sample plurilateral efforts</a:t>
            </a:r>
            <a:br>
              <a:rPr lang="en-US" sz="3350" dirty="0">
                <a:solidFill>
                  <a:schemeClr val="tx2">
                    <a:lumMod val="50000"/>
                  </a:schemeClr>
                </a:solidFill>
                <a:ea typeface="Roboto Black"/>
              </a:rPr>
            </a:br>
            <a:r>
              <a:rPr lang="en-US" sz="1600" dirty="0">
                <a:solidFill>
                  <a:srgbClr val="131518"/>
                </a:solidFill>
                <a:latin typeface="+mn-lt"/>
              </a:rPr>
              <a:t>With clear regional imbalance – every WEOG / EEG country involved vs. very few elsewhere</a:t>
            </a:r>
            <a:endParaRPr lang="en-US" dirty="0">
              <a:solidFill>
                <a:srgbClr val="131518"/>
              </a:solidFill>
              <a:latin typeface="+mn-l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4043EE8-7D7C-3C38-0115-12C93EA71339}"/>
              </a:ext>
            </a:extLst>
          </p:cNvPr>
          <p:cNvSpPr/>
          <p:nvPr/>
        </p:nvSpPr>
        <p:spPr>
          <a:xfrm>
            <a:off x="9599613" y="210164"/>
            <a:ext cx="1946363" cy="3324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2"/>
                </a:solidFill>
              </a:rPr>
              <a:t>Not exhaustive</a:t>
            </a:r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D4722964-19C9-92B2-EF04-6C58B28FF9AB}"/>
              </a:ext>
            </a:extLst>
          </p:cNvPr>
          <p:cNvSpPr txBox="1">
            <a:spLocks/>
          </p:cNvSpPr>
          <p:nvPr/>
        </p:nvSpPr>
        <p:spPr>
          <a:xfrm>
            <a:off x="11244012" y="6551712"/>
            <a:ext cx="540000" cy="15388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73A950B1-DE82-4A29-B648-3078557F46E8}" type="slidenum">
              <a:rPr lang="en-CA" smtClean="0"/>
              <a:pPr algn="r"/>
              <a:t>12</a:t>
            </a:fld>
            <a:endParaRPr lang="en-CA"/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6C46C138-5608-0081-8B82-B6C7E6B3EBC3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441325" y="1917700"/>
          <a:ext cx="10467975" cy="1882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E62A0B3B-1511-135E-36F5-8FBF6BE9F784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 flipV="1">
            <a:off x="10256838" y="3249613"/>
            <a:ext cx="142875" cy="104775"/>
          </a:xfrm>
          <a:prstGeom prst="line">
            <a:avLst/>
          </a:prstGeom>
          <a:ln w="6350" cap="flat" cmpd="sng" algn="ctr">
            <a:solidFill>
              <a:schemeClr val="tx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196DA80E-6496-4F54-914B-C948C884745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0323513" y="2736850"/>
            <a:ext cx="153988" cy="242888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None/>
              <a:defRPr lang="en-CA" sz="1031" b="0" u="none" kern="700" spc="19" baseline="0" dirty="0">
                <a:solidFill>
                  <a:schemeClr val="bg1"/>
                </a:solidFill>
                <a:effectLst/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165200" indent="-16520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●"/>
              <a:defRPr lang="en-CA" sz="891" b="0" u="none" kern="700" spc="9" baseline="0" dirty="0">
                <a:solidFill>
                  <a:schemeClr val="tx2">
                    <a:lumMod val="50000"/>
                  </a:schemeClr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337840" indent="-174129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–"/>
              <a:defRPr lang="en-CA" sz="891" b="0" u="none" kern="700" spc="9" baseline="0" dirty="0">
                <a:solidFill>
                  <a:schemeClr val="tx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0" indent="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None/>
              <a:defRPr lang="en-CA" sz="703" b="0" u="none" kern="700" spc="9" baseline="0" dirty="0">
                <a:solidFill>
                  <a:schemeClr val="tx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845344" indent="-166688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Char char="»"/>
              <a:defRPr lang="en-CA" sz="703" b="0" u="none" kern="700" spc="9" dirty="0">
                <a:solidFill>
                  <a:schemeClr val="bg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914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171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428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686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None/>
            </a:pPr>
            <a:fld id="{3E268A16-942A-4D1A-AFA8-172CFCA7F8C2}" type="datetime'''''''''''''''''''''''''2'''''''''''''''''''''''''''''''''''">
              <a:rPr lang="en-CA" altLang="en-US" sz="1400" spc="19" smtClean="0">
                <a:solidFill>
                  <a:srgbClr val="FFFFFF"/>
                </a:solidFill>
                <a:effectLst/>
                <a:latin typeface="+mn-lt"/>
                <a:ea typeface="Roboto Black" panose="02000000000000000000" pitchFamily="2" charset="0"/>
              </a:rPr>
              <a:pPr marL="0" lvl="1" indent="0" algn="ctr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CA" sz="1400" spc="19" dirty="0">
              <a:solidFill>
                <a:srgbClr val="FFFFFF"/>
              </a:solidFill>
              <a:latin typeface="+mn-lt"/>
              <a:ea typeface="Roboto Black" panose="02000000000000000000" pitchFamily="2" charset="0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6658EE3-5840-BF1B-02B7-BDD6BDD41BAD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3467100" y="3354388"/>
            <a:ext cx="466725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70000" indent="-270000" algn="l" defTabSz="914514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bg1"/>
              </a:buClr>
              <a:buSzPct val="120000"/>
              <a:buFont typeface="Roboto" panose="02000000000000000000" pitchFamily="2" charset="0"/>
              <a:buChar char="•"/>
              <a:defRPr lang="en-CA" sz="1800" b="0" u="none" kern="700" spc="19" baseline="0" dirty="0">
                <a:solidFill>
                  <a:schemeClr val="tx2">
                    <a:lumMod val="50000"/>
                  </a:schemeClr>
                </a:solidFill>
                <a:effectLst/>
                <a:latin typeface="+mn-lt"/>
                <a:ea typeface="Roboto Black" panose="02000000000000000000" pitchFamily="2" charset="0"/>
                <a:cs typeface="+mn-cs"/>
              </a:defRPr>
            </a:lvl1pPr>
            <a:lvl2pPr marL="540000" indent="-288000" algn="l" defTabSz="914514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–"/>
              <a:defRPr lang="en-CA" sz="1800" b="0" u="none" kern="700" spc="9" baseline="0" dirty="0">
                <a:solidFill>
                  <a:schemeClr val="tx2">
                    <a:lumMod val="50000"/>
                  </a:schemeClr>
                </a:solidFill>
                <a:effectLst/>
                <a:latin typeface="+mn-lt"/>
                <a:ea typeface="Roboto" panose="02000000000000000000" pitchFamily="2" charset="0"/>
                <a:cs typeface="+mn-cs"/>
              </a:defRPr>
            </a:lvl2pPr>
            <a:lvl3pPr marL="337840" indent="-174129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00000"/>
              <a:buFont typeface="Courier New" panose="02070309020205020404" pitchFamily="49" charset="0"/>
              <a:buChar char="o"/>
              <a:defRPr lang="en-CA" sz="1600" b="0" u="none" kern="700" spc="9" baseline="0" dirty="0">
                <a:solidFill>
                  <a:schemeClr val="tx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+mn-cs"/>
              </a:defRPr>
            </a:lvl3pPr>
            <a:lvl4pPr marL="0" indent="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None/>
              <a:defRPr lang="en-CA" sz="1600" b="0" u="none" kern="700" spc="9" baseline="0" dirty="0">
                <a:solidFill>
                  <a:schemeClr val="tx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+mn-cs"/>
              </a:defRPr>
            </a:lvl4pPr>
            <a:lvl5pPr marL="845344" indent="-166688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Char char="»"/>
              <a:defRPr lang="en-CA" sz="703" b="0" u="none" kern="700" spc="9" dirty="0">
                <a:solidFill>
                  <a:schemeClr val="bg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914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171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428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686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73051D6-EA5F-429B-ACA4-082AFED46B47}" type="datetime'''''''''''''''''''0'''''''''''''''''''' ''''''''''''o''''f 7'">
              <a:rPr lang="en-CA" altLang="en-US" sz="1400" smtClean="0"/>
              <a:pPr/>
              <a:t>0 of 7</a:t>
            </a:fld>
            <a:endParaRPr lang="en-US" sz="140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622170B9-B1AF-AB47-3450-D6D4A2050B0C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386638" y="3354388"/>
            <a:ext cx="103188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70000" indent="-270000" algn="l" defTabSz="914514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bg1"/>
              </a:buClr>
              <a:buSzPct val="120000"/>
              <a:buFont typeface="Roboto" panose="02000000000000000000" pitchFamily="2" charset="0"/>
              <a:buChar char="•"/>
              <a:defRPr lang="en-CA" sz="1800" b="0" u="none" kern="700" spc="19" baseline="0" dirty="0">
                <a:solidFill>
                  <a:schemeClr val="tx2">
                    <a:lumMod val="50000"/>
                  </a:schemeClr>
                </a:solidFill>
                <a:effectLst/>
                <a:latin typeface="+mn-lt"/>
                <a:ea typeface="Roboto Black" panose="02000000000000000000" pitchFamily="2" charset="0"/>
                <a:cs typeface="+mn-cs"/>
              </a:defRPr>
            </a:lvl1pPr>
            <a:lvl2pPr marL="540000" indent="-288000" algn="l" defTabSz="914514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–"/>
              <a:defRPr lang="en-CA" sz="1800" b="0" u="none" kern="700" spc="9" baseline="0" dirty="0">
                <a:solidFill>
                  <a:schemeClr val="tx2">
                    <a:lumMod val="50000"/>
                  </a:schemeClr>
                </a:solidFill>
                <a:effectLst/>
                <a:latin typeface="+mn-lt"/>
                <a:ea typeface="Roboto" panose="02000000000000000000" pitchFamily="2" charset="0"/>
                <a:cs typeface="+mn-cs"/>
              </a:defRPr>
            </a:lvl2pPr>
            <a:lvl3pPr marL="337840" indent="-174129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00000"/>
              <a:buFont typeface="Courier New" panose="02070309020205020404" pitchFamily="49" charset="0"/>
              <a:buChar char="o"/>
              <a:defRPr lang="en-CA" sz="1600" b="0" u="none" kern="700" spc="9" baseline="0" dirty="0">
                <a:solidFill>
                  <a:schemeClr val="tx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+mn-cs"/>
              </a:defRPr>
            </a:lvl3pPr>
            <a:lvl4pPr marL="0" indent="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None/>
              <a:defRPr lang="en-CA" sz="1600" b="0" u="none" kern="700" spc="9" baseline="0" dirty="0">
                <a:solidFill>
                  <a:schemeClr val="tx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+mn-cs"/>
              </a:defRPr>
            </a:lvl4pPr>
            <a:lvl5pPr marL="845344" indent="-166688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Char char="»"/>
              <a:defRPr lang="en-CA" sz="703" b="0" u="none" kern="700" spc="9" dirty="0">
                <a:solidFill>
                  <a:schemeClr val="bg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914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171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428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686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94053AF-4A87-47BD-A86D-315832DC8166}" type="datetime'''''''''''''''''''''''''''''''''''1'''">
              <a:rPr lang="en-CA" altLang="en-US" sz="1400" smtClean="0"/>
              <a:pPr/>
              <a:t>1</a:t>
            </a:fld>
            <a:endParaRPr lang="en-US" sz="1400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E471739-7A2D-B11C-310A-C61ECD6B1CC5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8534400" y="3354388"/>
            <a:ext cx="103188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70000" indent="-270000" algn="l" defTabSz="914514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bg1"/>
              </a:buClr>
              <a:buSzPct val="120000"/>
              <a:buFont typeface="Roboto" panose="02000000000000000000" pitchFamily="2" charset="0"/>
              <a:buChar char="•"/>
              <a:defRPr lang="en-CA" sz="1800" b="0" u="none" kern="700" spc="19" baseline="0" dirty="0">
                <a:solidFill>
                  <a:schemeClr val="tx2">
                    <a:lumMod val="50000"/>
                  </a:schemeClr>
                </a:solidFill>
                <a:effectLst/>
                <a:latin typeface="+mn-lt"/>
                <a:ea typeface="Roboto Black" panose="02000000000000000000" pitchFamily="2" charset="0"/>
                <a:cs typeface="+mn-cs"/>
              </a:defRPr>
            </a:lvl1pPr>
            <a:lvl2pPr marL="540000" indent="-288000" algn="l" defTabSz="914514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–"/>
              <a:defRPr lang="en-CA" sz="1800" b="0" u="none" kern="700" spc="9" baseline="0" dirty="0">
                <a:solidFill>
                  <a:schemeClr val="tx2">
                    <a:lumMod val="50000"/>
                  </a:schemeClr>
                </a:solidFill>
                <a:effectLst/>
                <a:latin typeface="+mn-lt"/>
                <a:ea typeface="Roboto" panose="02000000000000000000" pitchFamily="2" charset="0"/>
                <a:cs typeface="+mn-cs"/>
              </a:defRPr>
            </a:lvl2pPr>
            <a:lvl3pPr marL="337840" indent="-174129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00000"/>
              <a:buFont typeface="Courier New" panose="02070309020205020404" pitchFamily="49" charset="0"/>
              <a:buChar char="o"/>
              <a:defRPr lang="en-CA" sz="1600" b="0" u="none" kern="700" spc="9" baseline="0" dirty="0">
                <a:solidFill>
                  <a:schemeClr val="tx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+mn-cs"/>
              </a:defRPr>
            </a:lvl3pPr>
            <a:lvl4pPr marL="0" indent="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None/>
              <a:defRPr lang="en-CA" sz="1600" b="0" u="none" kern="700" spc="9" baseline="0" dirty="0">
                <a:solidFill>
                  <a:schemeClr val="tx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+mn-cs"/>
              </a:defRPr>
            </a:lvl4pPr>
            <a:lvl5pPr marL="845344" indent="-166688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Char char="»"/>
              <a:defRPr lang="en-CA" sz="703" b="0" u="none" kern="700" spc="9" dirty="0">
                <a:solidFill>
                  <a:schemeClr val="bg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914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171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428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686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49589A8-C2B2-409B-A62C-CD950BDC5F71}" type="datetime'''''''''''''''''''''''''''''''''''''''''''2'''''''''''''''">
              <a:rPr lang="en-CA" altLang="en-US" sz="1400" smtClean="0"/>
              <a:pPr/>
              <a:t>2</a:t>
            </a:fld>
            <a:endParaRPr lang="en-US" sz="140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17A708F0-7966-7E43-CAFA-B53454EA093B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9440863" y="3354388"/>
            <a:ext cx="103188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70000" indent="-270000" algn="l" defTabSz="914514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bg1"/>
              </a:buClr>
              <a:buSzPct val="120000"/>
              <a:buFont typeface="Roboto" panose="02000000000000000000" pitchFamily="2" charset="0"/>
              <a:buChar char="•"/>
              <a:defRPr lang="en-CA" sz="1800" b="0" u="none" kern="700" spc="19" baseline="0" dirty="0">
                <a:solidFill>
                  <a:schemeClr val="tx2">
                    <a:lumMod val="50000"/>
                  </a:schemeClr>
                </a:solidFill>
                <a:effectLst/>
                <a:latin typeface="+mn-lt"/>
                <a:ea typeface="Roboto Black" panose="02000000000000000000" pitchFamily="2" charset="0"/>
                <a:cs typeface="+mn-cs"/>
              </a:defRPr>
            </a:lvl1pPr>
            <a:lvl2pPr marL="540000" indent="-288000" algn="l" defTabSz="914514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–"/>
              <a:defRPr lang="en-CA" sz="1800" b="0" u="none" kern="700" spc="9" baseline="0" dirty="0">
                <a:solidFill>
                  <a:schemeClr val="tx2">
                    <a:lumMod val="50000"/>
                  </a:schemeClr>
                </a:solidFill>
                <a:effectLst/>
                <a:latin typeface="+mn-lt"/>
                <a:ea typeface="Roboto" panose="02000000000000000000" pitchFamily="2" charset="0"/>
                <a:cs typeface="+mn-cs"/>
              </a:defRPr>
            </a:lvl2pPr>
            <a:lvl3pPr marL="337840" indent="-174129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00000"/>
              <a:buFont typeface="Courier New" panose="02070309020205020404" pitchFamily="49" charset="0"/>
              <a:buChar char="o"/>
              <a:defRPr lang="en-CA" sz="1600" b="0" u="none" kern="700" spc="9" baseline="0" dirty="0">
                <a:solidFill>
                  <a:schemeClr val="tx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+mn-cs"/>
              </a:defRPr>
            </a:lvl3pPr>
            <a:lvl4pPr marL="0" indent="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None/>
              <a:defRPr lang="en-CA" sz="1600" b="0" u="none" kern="700" spc="9" baseline="0" dirty="0">
                <a:solidFill>
                  <a:schemeClr val="tx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+mn-cs"/>
              </a:defRPr>
            </a:lvl4pPr>
            <a:lvl5pPr marL="845344" indent="-166688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Char char="»"/>
              <a:defRPr lang="en-CA" sz="703" b="0" u="none" kern="700" spc="9" dirty="0">
                <a:solidFill>
                  <a:schemeClr val="bg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914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171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428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686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C218AED-1066-4411-B9CB-2A2186B224BC}" type="datetime'''''''''''''''''''''''''''3'''''''''''''''''''''''''''''''''">
              <a:rPr lang="en-CA" altLang="en-US" sz="1400" smtClean="0"/>
              <a:pPr/>
              <a:t>3</a:t>
            </a:fld>
            <a:endParaRPr lang="en-US" sz="140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2C9B8A8-3764-6D6C-CA9B-732DFC3E0C0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9894888" y="3354388"/>
            <a:ext cx="103188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70000" indent="-270000" algn="l" defTabSz="914514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bg1"/>
              </a:buClr>
              <a:buSzPct val="120000"/>
              <a:buFont typeface="Roboto" panose="02000000000000000000" pitchFamily="2" charset="0"/>
              <a:buChar char="•"/>
              <a:defRPr lang="en-CA" sz="1800" b="0" u="none" kern="700" spc="19" baseline="0" dirty="0">
                <a:solidFill>
                  <a:schemeClr val="tx2">
                    <a:lumMod val="50000"/>
                  </a:schemeClr>
                </a:solidFill>
                <a:effectLst/>
                <a:latin typeface="+mn-lt"/>
                <a:ea typeface="Roboto Black" panose="02000000000000000000" pitchFamily="2" charset="0"/>
                <a:cs typeface="+mn-cs"/>
              </a:defRPr>
            </a:lvl1pPr>
            <a:lvl2pPr marL="540000" indent="-288000" algn="l" defTabSz="914514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–"/>
              <a:defRPr lang="en-CA" sz="1800" b="0" u="none" kern="700" spc="9" baseline="0" dirty="0">
                <a:solidFill>
                  <a:schemeClr val="tx2">
                    <a:lumMod val="50000"/>
                  </a:schemeClr>
                </a:solidFill>
                <a:effectLst/>
                <a:latin typeface="+mn-lt"/>
                <a:ea typeface="Roboto" panose="02000000000000000000" pitchFamily="2" charset="0"/>
                <a:cs typeface="+mn-cs"/>
              </a:defRPr>
            </a:lvl2pPr>
            <a:lvl3pPr marL="337840" indent="-174129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00000"/>
              <a:buFont typeface="Courier New" panose="02070309020205020404" pitchFamily="49" charset="0"/>
              <a:buChar char="o"/>
              <a:defRPr lang="en-CA" sz="1600" b="0" u="none" kern="700" spc="9" baseline="0" dirty="0">
                <a:solidFill>
                  <a:schemeClr val="tx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+mn-cs"/>
              </a:defRPr>
            </a:lvl3pPr>
            <a:lvl4pPr marL="0" indent="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None/>
              <a:defRPr lang="en-CA" sz="1600" b="0" u="none" kern="700" spc="9" baseline="0" dirty="0">
                <a:solidFill>
                  <a:schemeClr val="tx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+mn-cs"/>
              </a:defRPr>
            </a:lvl4pPr>
            <a:lvl5pPr marL="845344" indent="-166688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Char char="»"/>
              <a:defRPr lang="en-CA" sz="703" b="0" u="none" kern="700" spc="9" dirty="0">
                <a:solidFill>
                  <a:schemeClr val="bg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914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171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428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686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263D45C-E16D-4E0C-B402-EF529C0B4D23}" type="datetime'''''''''''''''''''''''''''''''4'''''''''">
              <a:rPr lang="en-CA" altLang="en-US" sz="1400" smtClean="0"/>
              <a:pPr/>
              <a:t>4</a:t>
            </a:fld>
            <a:endParaRPr lang="en-US" sz="1400" dirty="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0CC6E7CA-4F87-B870-EC51-D1A6DFD225D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0052050" y="3354388"/>
            <a:ext cx="103188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70000" indent="-270000" algn="l" defTabSz="914514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bg1"/>
              </a:buClr>
              <a:buSzPct val="120000"/>
              <a:buFont typeface="Roboto" panose="02000000000000000000" pitchFamily="2" charset="0"/>
              <a:buChar char="•"/>
              <a:defRPr lang="en-CA" sz="1800" b="0" u="none" kern="700" spc="19" baseline="0" dirty="0">
                <a:solidFill>
                  <a:schemeClr val="tx2">
                    <a:lumMod val="50000"/>
                  </a:schemeClr>
                </a:solidFill>
                <a:effectLst/>
                <a:latin typeface="+mn-lt"/>
                <a:ea typeface="Roboto Black" panose="02000000000000000000" pitchFamily="2" charset="0"/>
                <a:cs typeface="+mn-cs"/>
              </a:defRPr>
            </a:lvl1pPr>
            <a:lvl2pPr marL="540000" indent="-288000" algn="l" defTabSz="914514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–"/>
              <a:defRPr lang="en-CA" sz="1800" b="0" u="none" kern="700" spc="9" baseline="0" dirty="0">
                <a:solidFill>
                  <a:schemeClr val="tx2">
                    <a:lumMod val="50000"/>
                  </a:schemeClr>
                </a:solidFill>
                <a:effectLst/>
                <a:latin typeface="+mn-lt"/>
                <a:ea typeface="Roboto" panose="02000000000000000000" pitchFamily="2" charset="0"/>
                <a:cs typeface="+mn-cs"/>
              </a:defRPr>
            </a:lvl2pPr>
            <a:lvl3pPr marL="337840" indent="-174129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00000"/>
              <a:buFont typeface="Courier New" panose="02070309020205020404" pitchFamily="49" charset="0"/>
              <a:buChar char="o"/>
              <a:defRPr lang="en-CA" sz="1600" b="0" u="none" kern="700" spc="9" baseline="0" dirty="0">
                <a:solidFill>
                  <a:schemeClr val="tx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+mn-cs"/>
              </a:defRPr>
            </a:lvl3pPr>
            <a:lvl4pPr marL="0" indent="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None/>
              <a:defRPr lang="en-CA" sz="1600" b="0" u="none" kern="700" spc="9" baseline="0" dirty="0">
                <a:solidFill>
                  <a:schemeClr val="tx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+mn-cs"/>
              </a:defRPr>
            </a:lvl4pPr>
            <a:lvl5pPr marL="845344" indent="-166688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Char char="»"/>
              <a:defRPr lang="en-CA" sz="703" b="0" u="none" kern="700" spc="9" dirty="0">
                <a:solidFill>
                  <a:schemeClr val="bg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914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171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428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686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CC3C488-4C86-4F20-9692-2D3496515CDB}" type="datetime'''''''''''''''''''''''5'">
              <a:rPr lang="en-CA" altLang="en-US" sz="1400" smtClean="0"/>
              <a:pPr/>
              <a:t>5</a:t>
            </a:fld>
            <a:endParaRPr lang="en-US" sz="1400"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18E79AE0-C2D9-DBC2-E309-2BDF6A02827D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0206038" y="3354388"/>
            <a:ext cx="103188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70000" indent="-270000" algn="l" defTabSz="914514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bg1"/>
              </a:buClr>
              <a:buSzPct val="120000"/>
              <a:buFont typeface="Roboto" panose="02000000000000000000" pitchFamily="2" charset="0"/>
              <a:buChar char="•"/>
              <a:defRPr lang="en-CA" sz="1800" b="0" u="none" kern="700" spc="19" baseline="0" dirty="0">
                <a:solidFill>
                  <a:schemeClr val="tx2">
                    <a:lumMod val="50000"/>
                  </a:schemeClr>
                </a:solidFill>
                <a:effectLst/>
                <a:latin typeface="+mn-lt"/>
                <a:ea typeface="Roboto Black" panose="02000000000000000000" pitchFamily="2" charset="0"/>
                <a:cs typeface="+mn-cs"/>
              </a:defRPr>
            </a:lvl1pPr>
            <a:lvl2pPr marL="540000" indent="-288000" algn="l" defTabSz="914514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–"/>
              <a:defRPr lang="en-CA" sz="1800" b="0" u="none" kern="700" spc="9" baseline="0" dirty="0">
                <a:solidFill>
                  <a:schemeClr val="tx2">
                    <a:lumMod val="50000"/>
                  </a:schemeClr>
                </a:solidFill>
                <a:effectLst/>
                <a:latin typeface="+mn-lt"/>
                <a:ea typeface="Roboto" panose="02000000000000000000" pitchFamily="2" charset="0"/>
                <a:cs typeface="+mn-cs"/>
              </a:defRPr>
            </a:lvl2pPr>
            <a:lvl3pPr marL="337840" indent="-174129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00000"/>
              <a:buFont typeface="Courier New" panose="02070309020205020404" pitchFamily="49" charset="0"/>
              <a:buChar char="o"/>
              <a:defRPr lang="en-CA" sz="1600" b="0" u="none" kern="700" spc="9" baseline="0" dirty="0">
                <a:solidFill>
                  <a:schemeClr val="tx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+mn-cs"/>
              </a:defRPr>
            </a:lvl3pPr>
            <a:lvl4pPr marL="0" indent="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None/>
              <a:defRPr lang="en-CA" sz="1600" b="0" u="none" kern="700" spc="9" baseline="0" dirty="0">
                <a:solidFill>
                  <a:schemeClr val="tx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+mn-cs"/>
              </a:defRPr>
            </a:lvl4pPr>
            <a:lvl5pPr marL="845344" indent="-166688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Char char="»"/>
              <a:defRPr lang="en-CA" sz="703" b="0" u="none" kern="700" spc="9" dirty="0">
                <a:solidFill>
                  <a:schemeClr val="bg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914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171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428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686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CB30D03-99CD-413F-91F6-802028088BE9}" type="datetime'''''''''''''''''''''''''''''''''''6'''''''''">
              <a:rPr lang="en-CA" altLang="en-US" sz="1400" smtClean="0"/>
              <a:pPr/>
              <a:t>6</a:t>
            </a:fld>
            <a:endParaRPr lang="en-US" sz="1400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3640F1E7-3609-FE36-61D3-343E515EF49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0360025" y="3354388"/>
            <a:ext cx="466725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70000" indent="-270000" algn="l" defTabSz="914514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bg1"/>
              </a:buClr>
              <a:buSzPct val="120000"/>
              <a:buFont typeface="Roboto" panose="02000000000000000000" pitchFamily="2" charset="0"/>
              <a:buChar char="•"/>
              <a:defRPr lang="en-CA" sz="1800" b="0" u="none" kern="700" spc="19" baseline="0" dirty="0">
                <a:solidFill>
                  <a:schemeClr val="tx2">
                    <a:lumMod val="50000"/>
                  </a:schemeClr>
                </a:solidFill>
                <a:effectLst/>
                <a:latin typeface="+mn-lt"/>
                <a:ea typeface="Roboto Black" panose="02000000000000000000" pitchFamily="2" charset="0"/>
                <a:cs typeface="+mn-cs"/>
              </a:defRPr>
            </a:lvl1pPr>
            <a:lvl2pPr marL="540000" indent="-288000" algn="l" defTabSz="914514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–"/>
              <a:defRPr lang="en-CA" sz="1800" b="0" u="none" kern="700" spc="9" baseline="0" dirty="0">
                <a:solidFill>
                  <a:schemeClr val="tx2">
                    <a:lumMod val="50000"/>
                  </a:schemeClr>
                </a:solidFill>
                <a:effectLst/>
                <a:latin typeface="+mn-lt"/>
                <a:ea typeface="Roboto" panose="02000000000000000000" pitchFamily="2" charset="0"/>
                <a:cs typeface="+mn-cs"/>
              </a:defRPr>
            </a:lvl2pPr>
            <a:lvl3pPr marL="337840" indent="-174129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00000"/>
              <a:buFont typeface="Courier New" panose="02070309020205020404" pitchFamily="49" charset="0"/>
              <a:buChar char="o"/>
              <a:defRPr lang="en-CA" sz="1600" b="0" u="none" kern="700" spc="9" baseline="0" dirty="0">
                <a:solidFill>
                  <a:schemeClr val="tx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+mn-cs"/>
              </a:defRPr>
            </a:lvl3pPr>
            <a:lvl4pPr marL="0" indent="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None/>
              <a:defRPr lang="en-CA" sz="1600" b="0" u="none" kern="700" spc="9" baseline="0" dirty="0">
                <a:solidFill>
                  <a:schemeClr val="tx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+mn-cs"/>
              </a:defRPr>
            </a:lvl4pPr>
            <a:lvl5pPr marL="845344" indent="-166688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Char char="»"/>
              <a:defRPr lang="en-CA" sz="703" b="0" u="none" kern="700" spc="9" dirty="0">
                <a:solidFill>
                  <a:schemeClr val="bg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914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171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428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686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ECBFE59-645B-4C72-BFB1-7B3111B9F5F3}" type="datetime'''''''''''''7'''''' ''''''''''o''''''''''''f ''''7'''''">
              <a:rPr lang="en-CA" altLang="en-US" sz="1400" smtClean="0"/>
              <a:pPr/>
              <a:t>7 of 7</a:t>
            </a:fld>
            <a:endParaRPr lang="en-US" sz="1400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7071F24-E3E1-6C31-E15D-CD9F031251D5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0852150" y="2614613"/>
            <a:ext cx="812800" cy="485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70000" indent="-270000" algn="l" defTabSz="914514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bg1"/>
              </a:buClr>
              <a:buSzPct val="120000"/>
              <a:buFont typeface="Roboto" panose="02000000000000000000" pitchFamily="2" charset="0"/>
              <a:buChar char="•"/>
              <a:defRPr lang="en-CA" sz="1800" b="0" u="none" kern="700" spc="19" baseline="0" dirty="0">
                <a:solidFill>
                  <a:schemeClr val="tx2">
                    <a:lumMod val="50000"/>
                  </a:schemeClr>
                </a:solidFill>
                <a:effectLst/>
                <a:latin typeface="+mn-lt"/>
                <a:ea typeface="Roboto Black" panose="02000000000000000000" pitchFamily="2" charset="0"/>
                <a:cs typeface="+mn-cs"/>
              </a:defRPr>
            </a:lvl1pPr>
            <a:lvl2pPr marL="540000" indent="-288000" algn="l" defTabSz="914514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–"/>
              <a:defRPr lang="en-CA" sz="1800" b="0" u="none" kern="700" spc="9" baseline="0" dirty="0">
                <a:solidFill>
                  <a:schemeClr val="tx2">
                    <a:lumMod val="50000"/>
                  </a:schemeClr>
                </a:solidFill>
                <a:effectLst/>
                <a:latin typeface="+mn-lt"/>
                <a:ea typeface="Roboto" panose="02000000000000000000" pitchFamily="2" charset="0"/>
                <a:cs typeface="+mn-cs"/>
              </a:defRPr>
            </a:lvl2pPr>
            <a:lvl3pPr marL="337840" indent="-174129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00000"/>
              <a:buFont typeface="Courier New" panose="02070309020205020404" pitchFamily="49" charset="0"/>
              <a:buChar char="o"/>
              <a:defRPr lang="en-CA" sz="1600" b="0" u="none" kern="700" spc="9" baseline="0" dirty="0">
                <a:solidFill>
                  <a:schemeClr val="tx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+mn-cs"/>
              </a:defRPr>
            </a:lvl3pPr>
            <a:lvl4pPr marL="0" indent="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None/>
              <a:defRPr lang="en-CA" sz="1600" b="0" u="none" kern="700" spc="9" baseline="0" dirty="0">
                <a:solidFill>
                  <a:schemeClr val="tx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+mn-cs"/>
              </a:defRPr>
            </a:lvl4pPr>
            <a:lvl5pPr marL="845344" indent="-166688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Char char="»"/>
              <a:defRPr lang="en-CA" sz="703" b="0" u="none" kern="700" spc="9" dirty="0">
                <a:solidFill>
                  <a:schemeClr val="bg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914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171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428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686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3587A46-F1D8-4C49-A180-0B363A53AF95}" type="datetime'''''''19''''3'''''''''">
              <a:rPr lang="en-US" altLang="en-US" sz="1400" b="1" smtClean="0"/>
              <a:pPr/>
              <a:t>193</a:t>
            </a:fld>
            <a:r>
              <a:rPr lang="en-US" altLang="en-US" sz="1400" b="1" dirty="0">
                <a:effectLst/>
              </a:rPr>
              <a:t> </a:t>
            </a:r>
            <a:r>
              <a:rPr lang="en-US" altLang="en-US" sz="1400" dirty="0">
                <a:effectLst/>
              </a:rPr>
              <a:t>total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/>
              <a:t>countrie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E153F0AA-FFE1-01D1-9AEB-F9D15AED736F}"/>
              </a:ext>
            </a:extLst>
          </p:cNvPr>
          <p:cNvSpPr txBox="1"/>
          <p:nvPr/>
        </p:nvSpPr>
        <p:spPr>
          <a:xfrm>
            <a:off x="523939" y="1374031"/>
            <a:ext cx="11160124" cy="907941"/>
          </a:xfrm>
          <a:prstGeom prst="rect">
            <a:avLst/>
          </a:prstGeom>
          <a:noFill/>
        </p:spPr>
        <p:txBody>
          <a:bodyPr wrap="square" lIns="0" tIns="0" rtlCol="0">
            <a:spAutoFit/>
          </a:bodyPr>
          <a:lstStyle/>
          <a:p>
            <a:r>
              <a:rPr lang="en-US" sz="1400" dirty="0">
                <a:solidFill>
                  <a:schemeClr val="tx2"/>
                </a:solidFill>
              </a:rPr>
              <a:t>Countries by how many of 7 sample international initiatives / instruments they are party to</a:t>
            </a:r>
            <a:endParaRPr lang="en-US" sz="1400" strike="sngStrike" dirty="0">
              <a:solidFill>
                <a:schemeClr val="tx2"/>
              </a:solidFill>
            </a:endParaRPr>
          </a:p>
          <a:p>
            <a:r>
              <a:rPr lang="en-US" sz="1400" dirty="0">
                <a:solidFill>
                  <a:schemeClr val="tx2"/>
                </a:solidFill>
              </a:rPr>
              <a:t>(1) OECD AI Principles (2019), (2) G20 AI Principles (2019), (3) </a:t>
            </a:r>
            <a:r>
              <a:rPr lang="en-US" sz="1400" dirty="0" err="1">
                <a:solidFill>
                  <a:schemeClr val="tx2"/>
                </a:solidFill>
              </a:rPr>
              <a:t>CoE</a:t>
            </a:r>
            <a:r>
              <a:rPr lang="en-US" sz="1400" dirty="0">
                <a:solidFill>
                  <a:schemeClr val="tx2"/>
                </a:solidFill>
              </a:rPr>
              <a:t> drafting group (2022), (4) GPAI Ministerial Declaration (2022), (4) G7 Hiroshima Guiding Principles, (5) CoC, Comprehensive Policy Framework (2023), (6) Bletchley Declaration (2023), (7) Seoul Ministerial Statement (2024)</a:t>
            </a:r>
          </a:p>
        </p:txBody>
      </p: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4B0EA65A-BB3E-13D9-CC8C-68F46A4C60F1}"/>
              </a:ext>
            </a:extLst>
          </p:cNvPr>
          <p:cNvCxnSpPr>
            <a:cxnSpLocks/>
          </p:cNvCxnSpPr>
          <p:nvPr/>
        </p:nvCxnSpPr>
        <p:spPr>
          <a:xfrm rot="16200000" flipH="1">
            <a:off x="9725323" y="4187363"/>
            <a:ext cx="2444352" cy="469702"/>
          </a:xfrm>
          <a:prstGeom prst="bentConnector3">
            <a:avLst>
              <a:gd name="adj1" fmla="val 40648"/>
            </a:avLst>
          </a:prstGeom>
          <a:ln w="28575">
            <a:solidFill>
              <a:srgbClr val="3F3F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FCD9D111-EE7F-3859-C1A5-BD8BEE4A10C8}"/>
              </a:ext>
            </a:extLst>
          </p:cNvPr>
          <p:cNvSpPr txBox="1"/>
          <p:nvPr/>
        </p:nvSpPr>
        <p:spPr>
          <a:xfrm>
            <a:off x="8957469" y="4299486"/>
            <a:ext cx="2087563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dirty="0">
                <a:solidFill>
                  <a:schemeClr val="tx2">
                    <a:lumMod val="50000"/>
                  </a:schemeClr>
                </a:solidFill>
              </a:rPr>
              <a:t> countries (</a:t>
            </a:r>
            <a:r>
              <a:rPr lang="en-US" sz="1600" b="1" dirty="0">
                <a:solidFill>
                  <a:schemeClr val="tx2">
                    <a:lumMod val="50000"/>
                  </a:schemeClr>
                </a:solidFill>
              </a:rPr>
              <a:t>Canada, France, Germany, Italy, Japan, UK, US</a:t>
            </a:r>
            <a:r>
              <a:rPr lang="en-US" sz="1600" dirty="0">
                <a:solidFill>
                  <a:schemeClr val="tx2">
                    <a:lumMod val="50000"/>
                  </a:schemeClr>
                </a:solidFill>
              </a:rPr>
              <a:t>) are party to all 7 sample plurilateral initiatives / instrument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6E15718-7E55-6379-3FBC-5BB6F30605CF}"/>
              </a:ext>
            </a:extLst>
          </p:cNvPr>
          <p:cNvSpPr txBox="1"/>
          <p:nvPr/>
        </p:nvSpPr>
        <p:spPr>
          <a:xfrm>
            <a:off x="407987" y="6302221"/>
            <a:ext cx="7406640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800" dirty="0">
                <a:solidFill>
                  <a:schemeClr val="tx2"/>
                </a:solidFill>
              </a:rPr>
              <a:t>1. For this analysis, countries are not considered involved in a plurilateral initiative solely because of membership in the EU or AU. </a:t>
            </a:r>
          </a:p>
        </p:txBody>
      </p: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30327C4F-E0B3-51C6-CEB4-9910C8BC6BC9}"/>
              </a:ext>
            </a:extLst>
          </p:cNvPr>
          <p:cNvCxnSpPr>
            <a:cxnSpLocks/>
          </p:cNvCxnSpPr>
          <p:nvPr/>
        </p:nvCxnSpPr>
        <p:spPr>
          <a:xfrm rot="16200000" flipH="1">
            <a:off x="-191031" y="4033019"/>
            <a:ext cx="1969932" cy="187851"/>
          </a:xfrm>
          <a:prstGeom prst="bentConnector3">
            <a:avLst>
              <a:gd name="adj1" fmla="val 50000"/>
            </a:avLst>
          </a:prstGeom>
          <a:ln w="28575">
            <a:solidFill>
              <a:srgbClr val="FF3A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98091B60-9D51-8C8B-7856-59D14274F01E}"/>
              </a:ext>
            </a:extLst>
          </p:cNvPr>
          <p:cNvSpPr txBox="1"/>
          <p:nvPr/>
        </p:nvSpPr>
        <p:spPr>
          <a:xfrm>
            <a:off x="849312" y="4118398"/>
            <a:ext cx="219233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rgbClr val="FF3A21"/>
                </a:solidFill>
              </a:rPr>
              <a:t>119 countries (62%) </a:t>
            </a:r>
            <a:r>
              <a:rPr lang="en-US" sz="1600" dirty="0">
                <a:solidFill>
                  <a:srgbClr val="FF3A21"/>
                </a:solidFill>
              </a:rPr>
              <a:t>are party to </a:t>
            </a:r>
            <a:r>
              <a:rPr lang="en-US" sz="1600" b="1" dirty="0">
                <a:solidFill>
                  <a:srgbClr val="FF3A21"/>
                </a:solidFill>
              </a:rPr>
              <a:t>none </a:t>
            </a:r>
            <a:r>
              <a:rPr lang="en-US" sz="1600" dirty="0">
                <a:solidFill>
                  <a:srgbClr val="FF3A21"/>
                </a:solidFill>
              </a:rPr>
              <a:t>of the sample initiatives / instruments</a:t>
            </a:r>
          </a:p>
        </p:txBody>
      </p:sp>
      <p:graphicFrame>
        <p:nvGraphicFramePr>
          <p:cNvPr id="114" name="Chart 113">
            <a:extLst>
              <a:ext uri="{FF2B5EF4-FFF2-40B4-BE49-F238E27FC236}">
                <a16:creationId xmlns:a16="http://schemas.microsoft.com/office/drawing/2014/main" id="{33043307-64D1-2450-D63B-9B203CE648D6}"/>
              </a:ext>
            </a:extLst>
          </p:cNvPr>
          <p:cNvGraphicFramePr/>
          <p:nvPr>
            <p:custDataLst>
              <p:tags r:id="rId14"/>
            </p:custDataLst>
          </p:nvPr>
        </p:nvGraphicFramePr>
        <p:xfrm>
          <a:off x="3625850" y="3921125"/>
          <a:ext cx="2751138" cy="24368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3BA45B27-8592-870F-52A6-070C3DF6D474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3278188" y="4287838"/>
            <a:ext cx="241300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70000" indent="-270000" algn="l" defTabSz="914514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bg1"/>
              </a:buClr>
              <a:buSzPct val="120000"/>
              <a:buFont typeface="Roboto" panose="02000000000000000000" pitchFamily="2" charset="0"/>
              <a:buChar char="•"/>
              <a:defRPr lang="en-CA" sz="1800" b="0" u="none" kern="700" spc="19" baseline="0" dirty="0">
                <a:solidFill>
                  <a:schemeClr val="tx2">
                    <a:lumMod val="50000"/>
                  </a:schemeClr>
                </a:solidFill>
                <a:effectLst/>
                <a:latin typeface="+mn-lt"/>
                <a:ea typeface="Roboto Black" panose="02000000000000000000" pitchFamily="2" charset="0"/>
                <a:cs typeface="+mn-cs"/>
              </a:defRPr>
            </a:lvl1pPr>
            <a:lvl2pPr marL="540000" indent="-288000" algn="l" defTabSz="914514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–"/>
              <a:defRPr lang="en-CA" sz="1800" b="0" u="none" kern="700" spc="9" baseline="0" dirty="0">
                <a:solidFill>
                  <a:schemeClr val="tx2">
                    <a:lumMod val="50000"/>
                  </a:schemeClr>
                </a:solidFill>
                <a:effectLst/>
                <a:latin typeface="+mn-lt"/>
                <a:ea typeface="Roboto" panose="02000000000000000000" pitchFamily="2" charset="0"/>
                <a:cs typeface="+mn-cs"/>
              </a:defRPr>
            </a:lvl2pPr>
            <a:lvl3pPr marL="337840" indent="-174129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00000"/>
              <a:buFont typeface="Courier New" panose="02070309020205020404" pitchFamily="49" charset="0"/>
              <a:buChar char="o"/>
              <a:defRPr lang="en-CA" sz="1600" b="0" u="none" kern="700" spc="9" baseline="0" dirty="0">
                <a:solidFill>
                  <a:schemeClr val="tx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+mn-cs"/>
              </a:defRPr>
            </a:lvl3pPr>
            <a:lvl4pPr marL="0" indent="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None/>
              <a:defRPr lang="en-CA" sz="1600" b="0" u="none" kern="700" spc="9" baseline="0" dirty="0">
                <a:solidFill>
                  <a:schemeClr val="tx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+mn-cs"/>
              </a:defRPr>
            </a:lvl4pPr>
            <a:lvl5pPr marL="845344" indent="-166688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Char char="»"/>
              <a:defRPr lang="en-CA" sz="703" b="0" u="none" kern="700" spc="9" dirty="0">
                <a:solidFill>
                  <a:schemeClr val="bg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914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171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428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686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226A16C-B386-4B2F-ABD1-C2650732A1BA}" type="datetime'''''''''A''''''G'''''''''''''''''''''''''''''''''">
              <a:rPr lang="en-US" altLang="en-US" sz="1400" smtClean="0"/>
              <a:pPr/>
              <a:t>AG</a:t>
            </a:fld>
            <a:endParaRPr lang="en-US" sz="1400" dirty="0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0A365D85-1C58-9D7E-0C1E-A2E59CFC6B16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3162300" y="4652963"/>
            <a:ext cx="357188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70000" indent="-270000" algn="l" defTabSz="914514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bg1"/>
              </a:buClr>
              <a:buSzPct val="120000"/>
              <a:buFont typeface="Roboto" panose="02000000000000000000" pitchFamily="2" charset="0"/>
              <a:buChar char="•"/>
              <a:defRPr lang="en-CA" sz="1800" b="0" u="none" kern="700" spc="19" baseline="0" dirty="0">
                <a:solidFill>
                  <a:schemeClr val="tx2">
                    <a:lumMod val="50000"/>
                  </a:schemeClr>
                </a:solidFill>
                <a:effectLst/>
                <a:latin typeface="+mn-lt"/>
                <a:ea typeface="Roboto Black" panose="02000000000000000000" pitchFamily="2" charset="0"/>
                <a:cs typeface="+mn-cs"/>
              </a:defRPr>
            </a:lvl1pPr>
            <a:lvl2pPr marL="540000" indent="-288000" algn="l" defTabSz="914514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–"/>
              <a:defRPr lang="en-CA" sz="1800" b="0" u="none" kern="700" spc="9" baseline="0" dirty="0">
                <a:solidFill>
                  <a:schemeClr val="tx2">
                    <a:lumMod val="50000"/>
                  </a:schemeClr>
                </a:solidFill>
                <a:effectLst/>
                <a:latin typeface="+mn-lt"/>
                <a:ea typeface="Roboto" panose="02000000000000000000" pitchFamily="2" charset="0"/>
                <a:cs typeface="+mn-cs"/>
              </a:defRPr>
            </a:lvl2pPr>
            <a:lvl3pPr marL="337840" indent="-174129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00000"/>
              <a:buFont typeface="Courier New" panose="02070309020205020404" pitchFamily="49" charset="0"/>
              <a:buChar char="o"/>
              <a:defRPr lang="en-CA" sz="1600" b="0" u="none" kern="700" spc="9" baseline="0" dirty="0">
                <a:solidFill>
                  <a:schemeClr val="tx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+mn-cs"/>
              </a:defRPr>
            </a:lvl3pPr>
            <a:lvl4pPr marL="0" indent="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None/>
              <a:defRPr lang="en-CA" sz="1600" b="0" u="none" kern="700" spc="9" baseline="0" dirty="0">
                <a:solidFill>
                  <a:schemeClr val="tx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+mn-cs"/>
              </a:defRPr>
            </a:lvl4pPr>
            <a:lvl5pPr marL="845344" indent="-166688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Char char="»"/>
              <a:defRPr lang="en-CA" sz="703" b="0" u="none" kern="700" spc="9" dirty="0">
                <a:solidFill>
                  <a:schemeClr val="bg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914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171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428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686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0B973FB-249E-4721-A069-9966E4F0AE53}" type="datetime'A''''''''''''P''''G'''''''''''''''''''''''''''''''''''''''''">
              <a:rPr lang="en-US" altLang="en-US" sz="1400" smtClean="0"/>
              <a:pPr/>
              <a:t>APG</a:t>
            </a:fld>
            <a:endParaRPr lang="en-US" sz="1400" dirty="0"/>
          </a:p>
        </p:txBody>
      </p:sp>
      <p:sp>
        <p:nvSpPr>
          <p:cNvPr id="98" name="Text Placeholder 2">
            <a:extLst>
              <a:ext uri="{FF2B5EF4-FFF2-40B4-BE49-F238E27FC236}">
                <a16:creationId xmlns:a16="http://schemas.microsoft.com/office/drawing/2014/main" id="{196DA80E-6496-4F54-914B-C948C884745F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3656013" y="5018088"/>
            <a:ext cx="153988" cy="24288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None/>
              <a:defRPr lang="en-CA" sz="1031" b="0" u="none" kern="700" spc="19" baseline="0" dirty="0">
                <a:solidFill>
                  <a:schemeClr val="bg1"/>
                </a:solidFill>
                <a:effectLst/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165200" indent="-16520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●"/>
              <a:defRPr lang="en-CA" sz="891" b="0" u="none" kern="700" spc="9" baseline="0" dirty="0">
                <a:solidFill>
                  <a:schemeClr val="tx2">
                    <a:lumMod val="50000"/>
                  </a:schemeClr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337840" indent="-174129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–"/>
              <a:defRPr lang="en-CA" sz="891" b="0" u="none" kern="700" spc="9" baseline="0" dirty="0">
                <a:solidFill>
                  <a:schemeClr val="tx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0" indent="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None/>
              <a:defRPr lang="en-CA" sz="703" b="0" u="none" kern="700" spc="9" baseline="0" dirty="0">
                <a:solidFill>
                  <a:schemeClr val="tx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845344" indent="-166688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Char char="»"/>
              <a:defRPr lang="en-CA" sz="703" b="0" u="none" kern="700" spc="9" dirty="0">
                <a:solidFill>
                  <a:schemeClr val="bg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914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171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428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686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None/>
            </a:pPr>
            <a:fld id="{297CB68E-89E3-4247-9049-74629F8848A8}" type="datetime'''''''''''''''''''''''''''''1'''''''''''''''''''''''''">
              <a:rPr lang="en-CA" altLang="en-US" sz="1400" spc="19" smtClean="0">
                <a:solidFill>
                  <a:srgbClr val="FFFFFF"/>
                </a:solidFill>
                <a:effectLst/>
                <a:latin typeface="+mn-lt"/>
                <a:ea typeface="Roboto Black" panose="02000000000000000000" pitchFamily="2" charset="0"/>
              </a:rPr>
              <a:pPr marL="0" lvl="1" indent="0" algn="ctr">
                <a:lnSpc>
                  <a:spcPct val="114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CA" sz="1400" spc="19" dirty="0">
              <a:solidFill>
                <a:srgbClr val="FFFFFF"/>
              </a:solidFill>
              <a:latin typeface="+mn-lt"/>
              <a:ea typeface="Roboto Black" panose="02000000000000000000" pitchFamily="2" charset="0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EEDFE966-251E-33C4-27F8-AF595CC85345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187700" y="5018088"/>
            <a:ext cx="331788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70000" indent="-270000" algn="l" defTabSz="914514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bg1"/>
              </a:buClr>
              <a:buSzPct val="120000"/>
              <a:buFont typeface="Roboto" panose="02000000000000000000" pitchFamily="2" charset="0"/>
              <a:buChar char="•"/>
              <a:defRPr lang="en-CA" sz="1800" b="0" u="none" kern="700" spc="19" baseline="0" dirty="0">
                <a:solidFill>
                  <a:schemeClr val="tx2">
                    <a:lumMod val="50000"/>
                  </a:schemeClr>
                </a:solidFill>
                <a:effectLst/>
                <a:latin typeface="+mn-lt"/>
                <a:ea typeface="Roboto Black" panose="02000000000000000000" pitchFamily="2" charset="0"/>
                <a:cs typeface="+mn-cs"/>
              </a:defRPr>
            </a:lvl1pPr>
            <a:lvl2pPr marL="540000" indent="-288000" algn="l" defTabSz="914514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–"/>
              <a:defRPr lang="en-CA" sz="1800" b="0" u="none" kern="700" spc="9" baseline="0" dirty="0">
                <a:solidFill>
                  <a:schemeClr val="tx2">
                    <a:lumMod val="50000"/>
                  </a:schemeClr>
                </a:solidFill>
                <a:effectLst/>
                <a:latin typeface="+mn-lt"/>
                <a:ea typeface="Roboto" panose="02000000000000000000" pitchFamily="2" charset="0"/>
                <a:cs typeface="+mn-cs"/>
              </a:defRPr>
            </a:lvl2pPr>
            <a:lvl3pPr marL="337840" indent="-174129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00000"/>
              <a:buFont typeface="Courier New" panose="02070309020205020404" pitchFamily="49" charset="0"/>
              <a:buChar char="o"/>
              <a:defRPr lang="en-CA" sz="1600" b="0" u="none" kern="700" spc="9" baseline="0" dirty="0">
                <a:solidFill>
                  <a:schemeClr val="tx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+mn-cs"/>
              </a:defRPr>
            </a:lvl3pPr>
            <a:lvl4pPr marL="0" indent="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None/>
              <a:defRPr lang="en-CA" sz="1600" b="0" u="none" kern="700" spc="9" baseline="0" dirty="0">
                <a:solidFill>
                  <a:schemeClr val="tx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+mn-cs"/>
              </a:defRPr>
            </a:lvl4pPr>
            <a:lvl5pPr marL="845344" indent="-166688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Char char="»"/>
              <a:defRPr lang="en-CA" sz="703" b="0" u="none" kern="700" spc="9" dirty="0">
                <a:solidFill>
                  <a:schemeClr val="bg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914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171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428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686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D688023-B633-4CA9-A065-A7EC5F198107}" type="datetime'''''''''E''''''''''E''''''''''''''''''''''''''G'''''''''''''''">
              <a:rPr lang="en-US" altLang="en-US" sz="1400" smtClean="0"/>
              <a:pPr/>
              <a:t>EEG</a:t>
            </a:fld>
            <a:endParaRPr lang="en-US" sz="1400" dirty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121E4D50-D536-3BBB-6C77-3449DBFBB0A2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2832100" y="5381625"/>
            <a:ext cx="687388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70000" indent="-270000" algn="l" defTabSz="914514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bg1"/>
              </a:buClr>
              <a:buSzPct val="120000"/>
              <a:buFont typeface="Roboto" panose="02000000000000000000" pitchFamily="2" charset="0"/>
              <a:buChar char="•"/>
              <a:defRPr lang="en-CA" sz="1800" b="0" u="none" kern="700" spc="19" baseline="0" dirty="0">
                <a:solidFill>
                  <a:schemeClr val="tx2">
                    <a:lumMod val="50000"/>
                  </a:schemeClr>
                </a:solidFill>
                <a:effectLst/>
                <a:latin typeface="+mn-lt"/>
                <a:ea typeface="Roboto Black" panose="02000000000000000000" pitchFamily="2" charset="0"/>
                <a:cs typeface="+mn-cs"/>
              </a:defRPr>
            </a:lvl1pPr>
            <a:lvl2pPr marL="540000" indent="-288000" algn="l" defTabSz="914514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–"/>
              <a:defRPr lang="en-CA" sz="1800" b="0" u="none" kern="700" spc="9" baseline="0" dirty="0">
                <a:solidFill>
                  <a:schemeClr val="tx2">
                    <a:lumMod val="50000"/>
                  </a:schemeClr>
                </a:solidFill>
                <a:effectLst/>
                <a:latin typeface="+mn-lt"/>
                <a:ea typeface="Roboto" panose="02000000000000000000" pitchFamily="2" charset="0"/>
                <a:cs typeface="+mn-cs"/>
              </a:defRPr>
            </a:lvl2pPr>
            <a:lvl3pPr marL="337840" indent="-174129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00000"/>
              <a:buFont typeface="Courier New" panose="02070309020205020404" pitchFamily="49" charset="0"/>
              <a:buChar char="o"/>
              <a:defRPr lang="en-CA" sz="1600" b="0" u="none" kern="700" spc="9" baseline="0" dirty="0">
                <a:solidFill>
                  <a:schemeClr val="tx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+mn-cs"/>
              </a:defRPr>
            </a:lvl3pPr>
            <a:lvl4pPr marL="0" indent="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None/>
              <a:defRPr lang="en-CA" sz="1600" b="0" u="none" kern="700" spc="9" baseline="0" dirty="0">
                <a:solidFill>
                  <a:schemeClr val="tx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+mn-cs"/>
              </a:defRPr>
            </a:lvl4pPr>
            <a:lvl5pPr marL="845344" indent="-166688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Char char="»"/>
              <a:defRPr lang="en-CA" sz="703" b="0" u="none" kern="700" spc="9" dirty="0">
                <a:solidFill>
                  <a:schemeClr val="bg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914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171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428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686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DCEB11C4-F723-485F-8E9F-509FC8E2C4F3}" type="datetime'G''''''R''''U''''''''''''''''L''''AC'''''''">
              <a:rPr lang="en-US" altLang="en-US" sz="1400" smtClean="0"/>
              <a:pPr/>
              <a:t>GRULAC</a:t>
            </a:fld>
            <a:endParaRPr lang="en-US" sz="1400" dirty="0"/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B42AE3E9-35CF-86E9-3B59-2FBE7466727C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3008313" y="5746750"/>
            <a:ext cx="511175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70000" indent="-270000" algn="l" defTabSz="914514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bg1"/>
              </a:buClr>
              <a:buSzPct val="120000"/>
              <a:buFont typeface="Roboto" panose="02000000000000000000" pitchFamily="2" charset="0"/>
              <a:buChar char="•"/>
              <a:defRPr lang="en-CA" sz="1800" b="0" u="none" kern="700" spc="19" baseline="0" dirty="0">
                <a:solidFill>
                  <a:schemeClr val="tx2">
                    <a:lumMod val="50000"/>
                  </a:schemeClr>
                </a:solidFill>
                <a:effectLst/>
                <a:latin typeface="+mn-lt"/>
                <a:ea typeface="Roboto Black" panose="02000000000000000000" pitchFamily="2" charset="0"/>
                <a:cs typeface="+mn-cs"/>
              </a:defRPr>
            </a:lvl1pPr>
            <a:lvl2pPr marL="540000" indent="-288000" algn="l" defTabSz="914514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–"/>
              <a:defRPr lang="en-CA" sz="1800" b="0" u="none" kern="700" spc="9" baseline="0" dirty="0">
                <a:solidFill>
                  <a:schemeClr val="tx2">
                    <a:lumMod val="50000"/>
                  </a:schemeClr>
                </a:solidFill>
                <a:effectLst/>
                <a:latin typeface="+mn-lt"/>
                <a:ea typeface="Roboto" panose="02000000000000000000" pitchFamily="2" charset="0"/>
                <a:cs typeface="+mn-cs"/>
              </a:defRPr>
            </a:lvl2pPr>
            <a:lvl3pPr marL="337840" indent="-174129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00000"/>
              <a:buFont typeface="Courier New" panose="02070309020205020404" pitchFamily="49" charset="0"/>
              <a:buChar char="o"/>
              <a:defRPr lang="en-CA" sz="1600" b="0" u="none" kern="700" spc="9" baseline="0" dirty="0">
                <a:solidFill>
                  <a:schemeClr val="tx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+mn-cs"/>
              </a:defRPr>
            </a:lvl3pPr>
            <a:lvl4pPr marL="0" indent="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None/>
              <a:defRPr lang="en-CA" sz="1600" b="0" u="none" kern="700" spc="9" baseline="0" dirty="0">
                <a:solidFill>
                  <a:schemeClr val="tx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+mn-cs"/>
              </a:defRPr>
            </a:lvl4pPr>
            <a:lvl5pPr marL="845344" indent="-166688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Char char="»"/>
              <a:defRPr lang="en-CA" sz="703" b="0" u="none" kern="700" spc="9" dirty="0">
                <a:solidFill>
                  <a:schemeClr val="bg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914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171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428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686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AED7F1BD-E2DA-453D-8DFB-B9645C010773}" type="datetime'''''''''''W''''''''E''''''''''''''''''''''O''''''''''''''G'">
              <a:rPr lang="en-US" altLang="en-US" sz="1400" smtClean="0"/>
              <a:pPr/>
              <a:t>WEOG</a:t>
            </a:fld>
            <a:endParaRPr lang="en-US" sz="1400" dirty="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8EB6E331-70B1-1B51-C92E-D4D8BCAF17D6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6272213" y="4287838"/>
            <a:ext cx="255588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70000" indent="-270000" algn="l" defTabSz="914514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bg1"/>
              </a:buClr>
              <a:buSzPct val="120000"/>
              <a:buFont typeface="Roboto" panose="02000000000000000000" pitchFamily="2" charset="0"/>
              <a:buChar char="•"/>
              <a:defRPr lang="en-CA" sz="1800" b="0" u="none" kern="700" spc="19" baseline="0" dirty="0">
                <a:solidFill>
                  <a:schemeClr val="tx2">
                    <a:lumMod val="50000"/>
                  </a:schemeClr>
                </a:solidFill>
                <a:effectLst/>
                <a:latin typeface="+mn-lt"/>
                <a:ea typeface="Roboto Black" panose="02000000000000000000" pitchFamily="2" charset="0"/>
                <a:cs typeface="+mn-cs"/>
              </a:defRPr>
            </a:lvl1pPr>
            <a:lvl2pPr marL="540000" indent="-288000" algn="l" defTabSz="914514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–"/>
              <a:defRPr lang="en-CA" sz="1800" b="0" u="none" kern="700" spc="9" baseline="0" dirty="0">
                <a:solidFill>
                  <a:schemeClr val="tx2">
                    <a:lumMod val="50000"/>
                  </a:schemeClr>
                </a:solidFill>
                <a:effectLst/>
                <a:latin typeface="+mn-lt"/>
                <a:ea typeface="Roboto" panose="02000000000000000000" pitchFamily="2" charset="0"/>
                <a:cs typeface="+mn-cs"/>
              </a:defRPr>
            </a:lvl2pPr>
            <a:lvl3pPr marL="337840" indent="-174129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00000"/>
              <a:buFont typeface="Courier New" panose="02070309020205020404" pitchFamily="49" charset="0"/>
              <a:buChar char="o"/>
              <a:defRPr lang="en-CA" sz="1600" b="0" u="none" kern="700" spc="9" baseline="0" dirty="0">
                <a:solidFill>
                  <a:schemeClr val="tx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+mn-cs"/>
              </a:defRPr>
            </a:lvl3pPr>
            <a:lvl4pPr marL="0" indent="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None/>
              <a:defRPr lang="en-CA" sz="1600" b="0" u="none" kern="700" spc="9" baseline="0" dirty="0">
                <a:solidFill>
                  <a:schemeClr val="tx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+mn-cs"/>
              </a:defRPr>
            </a:lvl4pPr>
            <a:lvl5pPr marL="845344" indent="-166688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Char char="»"/>
              <a:defRPr lang="en-CA" sz="703" b="0" u="none" kern="700" spc="9" dirty="0">
                <a:solidFill>
                  <a:schemeClr val="bg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914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171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428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686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C1E10EA-C8E4-4A50-8414-8DAE8D298B2D}" type="datetime'''''5''''''''''''4'''''''''''''''''''''''''''''''''''''">
              <a:rPr lang="en-CA" altLang="en-US" sz="1400" smtClean="0"/>
              <a:pPr/>
              <a:t>54</a:t>
            </a:fld>
            <a:endParaRPr lang="en-US" sz="1400" dirty="0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EA107FD3-788D-0CF9-4564-3E63F9962DD9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319838" y="4652963"/>
            <a:ext cx="255588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70000" indent="-270000" algn="l" defTabSz="914514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bg1"/>
              </a:buClr>
              <a:buSzPct val="120000"/>
              <a:buFont typeface="Roboto" panose="02000000000000000000" pitchFamily="2" charset="0"/>
              <a:buChar char="•"/>
              <a:defRPr lang="en-CA" sz="1800" b="0" u="none" kern="700" spc="19" baseline="0" dirty="0">
                <a:solidFill>
                  <a:schemeClr val="tx2">
                    <a:lumMod val="50000"/>
                  </a:schemeClr>
                </a:solidFill>
                <a:effectLst/>
                <a:latin typeface="+mn-lt"/>
                <a:ea typeface="Roboto Black" panose="02000000000000000000" pitchFamily="2" charset="0"/>
                <a:cs typeface="+mn-cs"/>
              </a:defRPr>
            </a:lvl1pPr>
            <a:lvl2pPr marL="540000" indent="-288000" algn="l" defTabSz="914514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–"/>
              <a:defRPr lang="en-CA" sz="1800" b="0" u="none" kern="700" spc="9" baseline="0" dirty="0">
                <a:solidFill>
                  <a:schemeClr val="tx2">
                    <a:lumMod val="50000"/>
                  </a:schemeClr>
                </a:solidFill>
                <a:effectLst/>
                <a:latin typeface="+mn-lt"/>
                <a:ea typeface="Roboto" panose="02000000000000000000" pitchFamily="2" charset="0"/>
                <a:cs typeface="+mn-cs"/>
              </a:defRPr>
            </a:lvl2pPr>
            <a:lvl3pPr marL="337840" indent="-174129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00000"/>
              <a:buFont typeface="Courier New" panose="02070309020205020404" pitchFamily="49" charset="0"/>
              <a:buChar char="o"/>
              <a:defRPr lang="en-CA" sz="1600" b="0" u="none" kern="700" spc="9" baseline="0" dirty="0">
                <a:solidFill>
                  <a:schemeClr val="tx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+mn-cs"/>
              </a:defRPr>
            </a:lvl3pPr>
            <a:lvl4pPr marL="0" indent="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None/>
              <a:defRPr lang="en-CA" sz="1600" b="0" u="none" kern="700" spc="9" baseline="0" dirty="0">
                <a:solidFill>
                  <a:schemeClr val="tx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+mn-cs"/>
              </a:defRPr>
            </a:lvl4pPr>
            <a:lvl5pPr marL="845344" indent="-166688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Char char="»"/>
              <a:defRPr lang="en-CA" sz="703" b="0" u="none" kern="700" spc="9" dirty="0">
                <a:solidFill>
                  <a:schemeClr val="bg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914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171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428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686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61E696F-5188-4F70-BBDC-C8C4AF70DA70}" type="datetime'''''5''''''''''''''''''''''''''''5'''''''''''''''''''''''">
              <a:rPr lang="en-CA" altLang="en-US" sz="1400" smtClean="0"/>
              <a:pPr/>
              <a:t>55</a:t>
            </a:fld>
            <a:endParaRPr lang="en-US" sz="1400" dirty="0"/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74A93B1E-5598-DF10-C868-3713101F8E26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4814888" y="5018088"/>
            <a:ext cx="255588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70000" indent="-270000" algn="l" defTabSz="914514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bg1"/>
              </a:buClr>
              <a:buSzPct val="120000"/>
              <a:buFont typeface="Roboto" panose="02000000000000000000" pitchFamily="2" charset="0"/>
              <a:buChar char="•"/>
              <a:defRPr lang="en-CA" sz="1800" b="0" u="none" kern="700" spc="19" baseline="0" dirty="0">
                <a:solidFill>
                  <a:schemeClr val="tx2">
                    <a:lumMod val="50000"/>
                  </a:schemeClr>
                </a:solidFill>
                <a:effectLst/>
                <a:latin typeface="+mn-lt"/>
                <a:ea typeface="Roboto Black" panose="02000000000000000000" pitchFamily="2" charset="0"/>
                <a:cs typeface="+mn-cs"/>
              </a:defRPr>
            </a:lvl1pPr>
            <a:lvl2pPr marL="540000" indent="-288000" algn="l" defTabSz="914514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–"/>
              <a:defRPr lang="en-CA" sz="1800" b="0" u="none" kern="700" spc="9" baseline="0" dirty="0">
                <a:solidFill>
                  <a:schemeClr val="tx2">
                    <a:lumMod val="50000"/>
                  </a:schemeClr>
                </a:solidFill>
                <a:effectLst/>
                <a:latin typeface="+mn-lt"/>
                <a:ea typeface="Roboto" panose="02000000000000000000" pitchFamily="2" charset="0"/>
                <a:cs typeface="+mn-cs"/>
              </a:defRPr>
            </a:lvl2pPr>
            <a:lvl3pPr marL="337840" indent="-174129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00000"/>
              <a:buFont typeface="Courier New" panose="02070309020205020404" pitchFamily="49" charset="0"/>
              <a:buChar char="o"/>
              <a:defRPr lang="en-CA" sz="1600" b="0" u="none" kern="700" spc="9" baseline="0" dirty="0">
                <a:solidFill>
                  <a:schemeClr val="tx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+mn-cs"/>
              </a:defRPr>
            </a:lvl3pPr>
            <a:lvl4pPr marL="0" indent="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None/>
              <a:defRPr lang="en-CA" sz="1600" b="0" u="none" kern="700" spc="9" baseline="0" dirty="0">
                <a:solidFill>
                  <a:schemeClr val="tx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+mn-cs"/>
              </a:defRPr>
            </a:lvl4pPr>
            <a:lvl5pPr marL="845344" indent="-166688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Char char="»"/>
              <a:defRPr lang="en-CA" sz="703" b="0" u="none" kern="700" spc="9" dirty="0">
                <a:solidFill>
                  <a:schemeClr val="bg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914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171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428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686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060D438-86AE-42D6-90ED-DFB80A9CFC52}" type="datetime'2''3'''''''''''''''">
              <a:rPr lang="en-CA" altLang="en-US" sz="1400" smtClean="0"/>
              <a:pPr/>
              <a:t>23</a:t>
            </a:fld>
            <a:endParaRPr lang="en-US" sz="1400" dirty="0"/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CD3D8254-71C6-44DC-C805-6F4C7CF2EC49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284788" y="5381625"/>
            <a:ext cx="255588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270000" indent="-270000" algn="l" defTabSz="914514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bg1"/>
              </a:buClr>
              <a:buSzPct val="120000"/>
              <a:buFont typeface="Roboto" panose="02000000000000000000" pitchFamily="2" charset="0"/>
              <a:buChar char="•"/>
              <a:defRPr lang="en-CA" sz="1800" b="0" u="none" kern="700" spc="19" baseline="0" dirty="0">
                <a:solidFill>
                  <a:schemeClr val="tx2">
                    <a:lumMod val="50000"/>
                  </a:schemeClr>
                </a:solidFill>
                <a:effectLst/>
                <a:latin typeface="+mn-lt"/>
                <a:ea typeface="Roboto Black" panose="02000000000000000000" pitchFamily="2" charset="0"/>
                <a:cs typeface="+mn-cs"/>
              </a:defRPr>
            </a:lvl1pPr>
            <a:lvl2pPr marL="540000" indent="-288000" algn="l" defTabSz="914514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–"/>
              <a:defRPr lang="en-CA" sz="1800" b="0" u="none" kern="700" spc="9" baseline="0" dirty="0">
                <a:solidFill>
                  <a:schemeClr val="tx2">
                    <a:lumMod val="50000"/>
                  </a:schemeClr>
                </a:solidFill>
                <a:effectLst/>
                <a:latin typeface="+mn-lt"/>
                <a:ea typeface="Roboto" panose="02000000000000000000" pitchFamily="2" charset="0"/>
                <a:cs typeface="+mn-cs"/>
              </a:defRPr>
            </a:lvl2pPr>
            <a:lvl3pPr marL="337840" indent="-174129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00000"/>
              <a:buFont typeface="Courier New" panose="02070309020205020404" pitchFamily="49" charset="0"/>
              <a:buChar char="o"/>
              <a:defRPr lang="en-CA" sz="1600" b="0" u="none" kern="700" spc="9" baseline="0" dirty="0">
                <a:solidFill>
                  <a:schemeClr val="tx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+mn-cs"/>
              </a:defRPr>
            </a:lvl3pPr>
            <a:lvl4pPr marL="0" indent="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None/>
              <a:defRPr lang="en-CA" sz="1600" b="0" u="none" kern="700" spc="9" baseline="0" dirty="0">
                <a:solidFill>
                  <a:schemeClr val="tx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+mn-cs"/>
              </a:defRPr>
            </a:lvl4pPr>
            <a:lvl5pPr marL="845344" indent="-166688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Char char="»"/>
              <a:defRPr lang="en-CA" sz="703" b="0" u="none" kern="700" spc="9" dirty="0">
                <a:solidFill>
                  <a:schemeClr val="bg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914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171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428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686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DC8F2A2-11E4-4B3E-8FAC-00BB52DA1676}" type="datetime'''''''''''''''''''3''''''''''''''3'''''''">
              <a:rPr lang="en-CA" altLang="en-US" sz="1400" smtClean="0"/>
              <a:pPr/>
              <a:t>33</a:t>
            </a:fld>
            <a:endParaRPr lang="en-US" sz="1400" dirty="0"/>
          </a:p>
        </p:txBody>
      </p:sp>
      <p:sp>
        <p:nvSpPr>
          <p:cNvPr id="48" name="Arrow: Right 47">
            <a:extLst>
              <a:ext uri="{FF2B5EF4-FFF2-40B4-BE49-F238E27FC236}">
                <a16:creationId xmlns:a16="http://schemas.microsoft.com/office/drawing/2014/main" id="{7A85A4AF-13CC-2E0D-079D-B5E9358C5531}"/>
              </a:ext>
            </a:extLst>
          </p:cNvPr>
          <p:cNvSpPr/>
          <p:nvPr/>
        </p:nvSpPr>
        <p:spPr>
          <a:xfrm rot="2976202">
            <a:off x="4638706" y="3491594"/>
            <a:ext cx="603250" cy="590739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6BABDABB-E587-64DC-6520-60AED3AFE991}"/>
              </a:ext>
            </a:extLst>
          </p:cNvPr>
          <p:cNvSpPr txBox="1"/>
          <p:nvPr/>
        </p:nvSpPr>
        <p:spPr>
          <a:xfrm>
            <a:off x="258763" y="3356204"/>
            <a:ext cx="3253740" cy="261610"/>
          </a:xfrm>
          <a:prstGeom prst="rect">
            <a:avLst/>
          </a:prstGeom>
          <a:noFill/>
        </p:spPr>
        <p:txBody>
          <a:bodyPr wrap="square" lIns="0" tIns="0" rtlCol="0">
            <a:spAutoFit/>
          </a:bodyPr>
          <a:lstStyle/>
          <a:p>
            <a:pPr algn="r"/>
            <a:r>
              <a:rPr lang="en-US" sz="1400" dirty="0">
                <a:solidFill>
                  <a:srgbClr val="3F3F3F"/>
                </a:solidFill>
              </a:rPr>
              <a:t>Initiatives / instruments party to: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3D18E514-904F-BA4C-DFE8-D3F7BAED0935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6011863" y="5364162"/>
            <a:ext cx="214313" cy="160338"/>
          </a:xfrm>
          <a:prstGeom prst="rect">
            <a:avLst/>
          </a:prstGeom>
          <a:solidFill>
            <a:schemeClr val="accent2"/>
          </a:solidFill>
          <a:ln w="28575" cmpd="sng" algn="ctr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95420E4A-58BA-5D35-57B0-18D1BCEC4914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6011863" y="5622925"/>
            <a:ext cx="214313" cy="160338"/>
          </a:xfrm>
          <a:prstGeom prst="rect">
            <a:avLst/>
          </a:prstGeom>
          <a:solidFill>
            <a:schemeClr val="tx2"/>
          </a:solidFill>
          <a:ln w="28575" cmpd="sng" algn="ctr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82120091-40B7-BF8C-BEA6-15A28A186E65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6276975" y="5340350"/>
            <a:ext cx="180181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70000" indent="-270000" algn="l" defTabSz="914514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bg1"/>
              </a:buClr>
              <a:buSzPct val="120000"/>
              <a:buFont typeface="Roboto" panose="02000000000000000000" pitchFamily="2" charset="0"/>
              <a:buChar char="•"/>
              <a:defRPr lang="en-CA" sz="1800" b="0" u="none" kern="700" spc="19" baseline="0" dirty="0">
                <a:solidFill>
                  <a:schemeClr val="tx2">
                    <a:lumMod val="50000"/>
                  </a:schemeClr>
                </a:solidFill>
                <a:effectLst/>
                <a:latin typeface="+mn-lt"/>
                <a:ea typeface="Roboto Black" panose="02000000000000000000" pitchFamily="2" charset="0"/>
                <a:cs typeface="+mn-cs"/>
              </a:defRPr>
            </a:lvl1pPr>
            <a:lvl2pPr marL="540000" indent="-288000" algn="l" defTabSz="914514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–"/>
              <a:defRPr lang="en-CA" sz="1800" b="0" u="none" kern="700" spc="9" baseline="0" dirty="0">
                <a:solidFill>
                  <a:schemeClr val="tx2">
                    <a:lumMod val="50000"/>
                  </a:schemeClr>
                </a:solidFill>
                <a:effectLst/>
                <a:latin typeface="+mn-lt"/>
                <a:ea typeface="Roboto" panose="02000000000000000000" pitchFamily="2" charset="0"/>
                <a:cs typeface="+mn-cs"/>
              </a:defRPr>
            </a:lvl2pPr>
            <a:lvl3pPr marL="337840" indent="-174129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00000"/>
              <a:buFont typeface="Courier New" panose="02070309020205020404" pitchFamily="49" charset="0"/>
              <a:buChar char="o"/>
              <a:defRPr lang="en-CA" sz="1600" b="0" u="none" kern="700" spc="9" baseline="0" dirty="0">
                <a:solidFill>
                  <a:schemeClr val="tx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+mn-cs"/>
              </a:defRPr>
            </a:lvl3pPr>
            <a:lvl4pPr marL="0" indent="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None/>
              <a:defRPr lang="en-CA" sz="1600" b="0" u="none" kern="700" spc="9" baseline="0" dirty="0">
                <a:solidFill>
                  <a:schemeClr val="tx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+mn-cs"/>
              </a:defRPr>
            </a:lvl4pPr>
            <a:lvl5pPr marL="845344" indent="-166688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Char char="»"/>
              <a:defRPr lang="en-CA" sz="703" b="0" u="none" kern="700" spc="9" dirty="0">
                <a:solidFill>
                  <a:schemeClr val="bg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914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171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428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686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0B31E5E-17BB-459D-824B-AFC92B5D54BB}" type="datetime'''''''''Co''untri''es'' no''t'' pa''r''''ty ''to'' ''''any'">
              <a:rPr lang="en-US" altLang="en-US" sz="12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Countries not party to any</a:t>
            </a:fld>
            <a:endParaRPr lang="en-US" sz="1200" dirty="0"/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5755BCB1-0A3B-37C8-99B1-BCBE6E69FA06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6276975" y="5599113"/>
            <a:ext cx="2105025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70000" indent="-270000" algn="l" defTabSz="914514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bg1"/>
              </a:buClr>
              <a:buSzPct val="120000"/>
              <a:buFont typeface="Roboto" panose="02000000000000000000" pitchFamily="2" charset="0"/>
              <a:buChar char="•"/>
              <a:defRPr lang="en-CA" sz="1800" b="0" u="none" kern="700" spc="19" baseline="0" dirty="0">
                <a:solidFill>
                  <a:schemeClr val="tx2">
                    <a:lumMod val="50000"/>
                  </a:schemeClr>
                </a:solidFill>
                <a:effectLst/>
                <a:latin typeface="+mn-lt"/>
                <a:ea typeface="Roboto Black" panose="02000000000000000000" pitchFamily="2" charset="0"/>
                <a:cs typeface="+mn-cs"/>
              </a:defRPr>
            </a:lvl1pPr>
            <a:lvl2pPr marL="540000" indent="-288000" algn="l" defTabSz="914514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–"/>
              <a:defRPr lang="en-CA" sz="1800" b="0" u="none" kern="700" spc="9" baseline="0" dirty="0">
                <a:solidFill>
                  <a:schemeClr val="tx2">
                    <a:lumMod val="50000"/>
                  </a:schemeClr>
                </a:solidFill>
                <a:effectLst/>
                <a:latin typeface="+mn-lt"/>
                <a:ea typeface="Roboto" panose="02000000000000000000" pitchFamily="2" charset="0"/>
                <a:cs typeface="+mn-cs"/>
              </a:defRPr>
            </a:lvl2pPr>
            <a:lvl3pPr marL="337840" indent="-174129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00000"/>
              <a:buFont typeface="Courier New" panose="02070309020205020404" pitchFamily="49" charset="0"/>
              <a:buChar char="o"/>
              <a:defRPr lang="en-CA" sz="1600" b="0" u="none" kern="700" spc="9" baseline="0" dirty="0">
                <a:solidFill>
                  <a:schemeClr val="tx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+mn-cs"/>
              </a:defRPr>
            </a:lvl3pPr>
            <a:lvl4pPr marL="0" indent="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None/>
              <a:defRPr lang="en-CA" sz="1600" b="0" u="none" kern="700" spc="9" baseline="0" dirty="0">
                <a:solidFill>
                  <a:schemeClr val="tx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+mn-cs"/>
              </a:defRPr>
            </a:lvl4pPr>
            <a:lvl5pPr marL="845344" indent="-166688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Char char="»"/>
              <a:defRPr lang="en-CA" sz="703" b="0" u="none" kern="700" spc="9" dirty="0">
                <a:solidFill>
                  <a:schemeClr val="bg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914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171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428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686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52F2AC57-9A51-4FBF-BB92-3ED97550F892}" type="datetime'Co''''un''tr''''''''i''''''es p''''arty t''o at least ''on''e'">
              <a:rPr lang="en-US" altLang="en-US" sz="12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Countries party to at least one</a:t>
            </a:fld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3980910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6AF6F30-849C-6ABC-BDF4-7A2514F5EB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AF6F30-849C-6ABC-BDF4-7A2514F5EB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6867639-94F5-8FFF-E279-6C101263FF3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06129" y="2675642"/>
            <a:ext cx="11035083" cy="2670859"/>
          </a:xfrm>
        </p:spPr>
        <p:txBody>
          <a:bodyPr vert="horz" lIns="0" tIns="0" rIns="0" bIns="0" rtlCol="0" anchor="t">
            <a:spAutoFit/>
          </a:bodyPr>
          <a:lstStyle/>
          <a:p>
            <a:pPr>
              <a:spcBef>
                <a:spcPts val="400"/>
              </a:spcBef>
            </a:pPr>
            <a:r>
              <a:rPr lang="en-US" sz="1800" b="1" i="1">
                <a:solidFill>
                  <a:srgbClr val="131518"/>
                </a:solidFill>
                <a:latin typeface="+mn-lt"/>
                <a:ea typeface="Roboto Black"/>
                <a:cs typeface="Roboto Black"/>
              </a:rPr>
              <a:t>Common understanding on AI needed at the global level, to… </a:t>
            </a:r>
          </a:p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sz="1800">
                <a:solidFill>
                  <a:srgbClr val="131518"/>
                </a:solidFill>
                <a:latin typeface="+mn-lt"/>
                <a:ea typeface="Roboto Black"/>
              </a:rPr>
              <a:t>Help member states develop a shared understanding of AI</a:t>
            </a:r>
          </a:p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sz="1800">
                <a:solidFill>
                  <a:srgbClr val="131518"/>
                </a:solidFill>
                <a:latin typeface="+mn-lt"/>
                <a:ea typeface="Roboto Black"/>
              </a:rPr>
              <a:t>Address </a:t>
            </a:r>
            <a:r>
              <a:rPr lang="en-US" sz="1800" b="1">
                <a:solidFill>
                  <a:srgbClr val="131518"/>
                </a:solidFill>
                <a:latin typeface="+mn-lt"/>
                <a:ea typeface="Roboto Black"/>
              </a:rPr>
              <a:t>information asymmetries </a:t>
            </a:r>
            <a:r>
              <a:rPr lang="en-US" sz="1800">
                <a:solidFill>
                  <a:srgbClr val="131518"/>
                </a:solidFill>
                <a:latin typeface="+mn-lt"/>
                <a:ea typeface="Roboto Black"/>
              </a:rPr>
              <a:t>between AI labs and the rest of the world</a:t>
            </a:r>
          </a:p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endParaRPr lang="en-US" sz="1800">
              <a:solidFill>
                <a:srgbClr val="131518"/>
              </a:solidFill>
              <a:latin typeface="+mn-lt"/>
              <a:ea typeface="Roboto Black"/>
            </a:endParaRPr>
          </a:p>
          <a:p>
            <a:pPr>
              <a:spcBef>
                <a:spcPts val="400"/>
              </a:spcBef>
            </a:pPr>
            <a:r>
              <a:rPr lang="en-US" sz="1800" b="1">
                <a:solidFill>
                  <a:srgbClr val="131518"/>
                </a:solidFill>
                <a:latin typeface="+mn-lt"/>
                <a:ea typeface="Roboto Black"/>
              </a:rPr>
              <a:t>Suggested Deliverables</a:t>
            </a:r>
          </a:p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sz="1800" b="1">
                <a:solidFill>
                  <a:srgbClr val="131518"/>
                </a:solidFill>
                <a:latin typeface="+mn-lt"/>
                <a:ea typeface="Roboto Black"/>
              </a:rPr>
              <a:t>Annual reports</a:t>
            </a:r>
            <a:r>
              <a:rPr lang="en-US" sz="1800">
                <a:solidFill>
                  <a:srgbClr val="131518"/>
                </a:solidFill>
                <a:latin typeface="+mn-lt"/>
                <a:ea typeface="Roboto Black"/>
              </a:rPr>
              <a:t> surveying AI-related capabilities, opportunities, risks and uncertainties, Annual reports </a:t>
            </a:r>
          </a:p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sz="1800" b="1">
                <a:solidFill>
                  <a:schemeClr val="tx2">
                    <a:lumMod val="50000"/>
                  </a:schemeClr>
                </a:solidFill>
                <a:latin typeface="Roboto"/>
                <a:ea typeface="Roboto"/>
                <a:cs typeface="Roboto"/>
              </a:rPr>
              <a:t>Quarterly thematic research digests </a:t>
            </a:r>
            <a:r>
              <a:rPr lang="en-US" sz="1800">
                <a:solidFill>
                  <a:schemeClr val="tx2">
                    <a:lumMod val="50000"/>
                  </a:schemeClr>
                </a:solidFill>
                <a:latin typeface="Roboto"/>
                <a:ea typeface="Roboto"/>
                <a:cs typeface="Roboto"/>
              </a:rPr>
              <a:t>on areas in which AI could help to achieve the SDGs</a:t>
            </a:r>
          </a:p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sz="1800" b="1">
                <a:solidFill>
                  <a:srgbClr val="131518"/>
                </a:solidFill>
                <a:latin typeface="+mn-lt"/>
                <a:ea typeface="Roboto Black"/>
              </a:rPr>
              <a:t>Ad hoc reports </a:t>
            </a:r>
            <a:r>
              <a:rPr lang="en-US" sz="1800">
                <a:solidFill>
                  <a:srgbClr val="131518"/>
                </a:solidFill>
                <a:latin typeface="+mn-lt"/>
                <a:ea typeface="Roboto Black"/>
              </a:rPr>
              <a:t>on emerging AI risk</a:t>
            </a:r>
            <a:endParaRPr lang="en-US" sz="1800">
              <a:solidFill>
                <a:srgbClr val="131518"/>
              </a:solidFill>
              <a:latin typeface="+mn-lt"/>
              <a:ea typeface="Roboto Black"/>
              <a:cs typeface="Roboto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A80C4DE-D09E-7B51-56C3-AF3791E1A9E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r"/>
            <a:fld id="{73A950B1-DE82-4A29-B648-3078557F46E8}" type="slidenum">
              <a:rPr lang="en-CA" smtClean="0"/>
              <a:pPr algn="r"/>
              <a:t>13</a:t>
            </a:fld>
            <a:endParaRPr lang="en-CA"/>
          </a:p>
        </p:txBody>
      </p:sp>
      <p:sp>
        <p:nvSpPr>
          <p:cNvPr id="12" name="Title 2">
            <a:extLst>
              <a:ext uri="{FF2B5EF4-FFF2-40B4-BE49-F238E27FC236}">
                <a16:creationId xmlns:a16="http://schemas.microsoft.com/office/drawing/2014/main" id="{7E10CB33-10DA-D7B8-B029-57BD9AC72BCB}"/>
              </a:ext>
            </a:extLst>
          </p:cNvPr>
          <p:cNvSpPr txBox="1">
            <a:spLocks/>
          </p:cNvSpPr>
          <p:nvPr/>
        </p:nvSpPr>
        <p:spPr>
          <a:xfrm>
            <a:off x="526916" y="555688"/>
            <a:ext cx="10933200" cy="51552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514" rtl="0" eaLnBrk="1" latinLnBrk="0" hangingPunct="1">
              <a:spcBef>
                <a:spcPct val="0"/>
              </a:spcBef>
              <a:buNone/>
              <a:defRPr sz="1500" b="0" kern="1200" spc="19" baseline="0">
                <a:solidFill>
                  <a:schemeClr val="tx2">
                    <a:lumMod val="50000"/>
                  </a:schemeClr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j-cs"/>
              </a:defRPr>
            </a:lvl1pPr>
          </a:lstStyle>
          <a:p>
            <a:r>
              <a:rPr lang="en-US" sz="3350" dirty="0">
                <a:latin typeface="Roboto Black"/>
                <a:ea typeface="Roboto Black"/>
                <a:cs typeface="Roboto Black"/>
              </a:rPr>
              <a:t>HLAB-AI Proposals: Common Understanding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C1EF17F-4DE6-FE3A-E239-76E4F290D85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073293" y="149146"/>
            <a:ext cx="747402" cy="393369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4ABBC71B-420E-6C3D-38B6-AA9DE92BCEBE}"/>
              </a:ext>
            </a:extLst>
          </p:cNvPr>
          <p:cNvSpPr/>
          <p:nvPr/>
        </p:nvSpPr>
        <p:spPr>
          <a:xfrm>
            <a:off x="541346" y="2302303"/>
            <a:ext cx="11097157" cy="3348178"/>
          </a:xfrm>
          <a:prstGeom prst="rect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171450" indent="-171450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Font typeface="Calibri,Sans-Serif"/>
              <a:buChar char="-"/>
            </a:pPr>
            <a:endParaRPr lang="en-US" sz="1200">
              <a:solidFill>
                <a:schemeClr val="tx2">
                  <a:lumMod val="50000"/>
                </a:schemeClr>
              </a:solidFill>
              <a:latin typeface="Roboto"/>
              <a:ea typeface="Roboto"/>
              <a:cs typeface="Roboto"/>
            </a:endParaRPr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7DF640B5-2FF9-0828-D01A-F5F3488C200E}"/>
              </a:ext>
            </a:extLst>
          </p:cNvPr>
          <p:cNvSpPr txBox="1">
            <a:spLocks/>
          </p:cNvSpPr>
          <p:nvPr/>
        </p:nvSpPr>
        <p:spPr>
          <a:xfrm>
            <a:off x="544637" y="1831595"/>
            <a:ext cx="10933200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514" rtl="0" eaLnBrk="1" latinLnBrk="0" hangingPunct="1">
              <a:spcBef>
                <a:spcPct val="0"/>
              </a:spcBef>
              <a:buNone/>
              <a:defRPr sz="1500" b="0" kern="1200" spc="19" baseline="0">
                <a:solidFill>
                  <a:schemeClr val="tx2">
                    <a:lumMod val="50000"/>
                  </a:schemeClr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j-cs"/>
              </a:defRPr>
            </a:lvl1pPr>
          </a:lstStyle>
          <a:p>
            <a:pPr marL="457200" indent="-457200">
              <a:buAutoNum type="arabicParenR"/>
            </a:pPr>
            <a:r>
              <a:rPr lang="en-US" sz="2400">
                <a:solidFill>
                  <a:schemeClr val="bg1"/>
                </a:solidFill>
                <a:latin typeface="Roboto Black"/>
                <a:ea typeface="Roboto Black"/>
                <a:cs typeface="Roboto Black"/>
              </a:rPr>
              <a:t>An International Scientific Panel on AI</a:t>
            </a:r>
            <a:endParaRPr lang="en-US" sz="1050">
              <a:solidFill>
                <a:schemeClr val="bg1"/>
              </a:solidFill>
              <a:cs typeface="Roboto Black"/>
            </a:endParaRPr>
          </a:p>
        </p:txBody>
      </p:sp>
    </p:spTree>
    <p:extLst>
      <p:ext uri="{BB962C8B-B14F-4D97-AF65-F5344CB8AC3E}">
        <p14:creationId xmlns:p14="http://schemas.microsoft.com/office/powerpoint/2010/main" val="27743647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6AF6F30-849C-6ABC-BDF4-7A2514F5EB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AF6F30-849C-6ABC-BDF4-7A2514F5EB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1D81AE62-F680-9B86-C7A2-D8C970AECC6F}"/>
              </a:ext>
            </a:extLst>
          </p:cNvPr>
          <p:cNvSpPr/>
          <p:nvPr/>
        </p:nvSpPr>
        <p:spPr>
          <a:xfrm>
            <a:off x="523217" y="1811003"/>
            <a:ext cx="5459820" cy="4419754"/>
          </a:xfrm>
          <a:prstGeom prst="rect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171450" indent="-171450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Font typeface="Calibri,Sans-Serif"/>
              <a:buChar char="-"/>
            </a:pPr>
            <a:endParaRPr lang="en-US" sz="1200">
              <a:solidFill>
                <a:schemeClr val="tx2">
                  <a:lumMod val="50000"/>
                </a:schemeClr>
              </a:solidFill>
              <a:latin typeface="Roboto"/>
              <a:ea typeface="Roboto"/>
              <a:cs typeface="Roboto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6867639-94F5-8FFF-E279-6C101263FF3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1624" y="2171062"/>
            <a:ext cx="5305029" cy="3757952"/>
          </a:xfrm>
        </p:spPr>
        <p:txBody>
          <a:bodyPr vert="horz" wrap="square" lIns="0" tIns="0" rIns="0" bIns="0" rtlCol="0" anchor="t">
            <a:spAutoFit/>
          </a:bodyPr>
          <a:lstStyle/>
          <a:p>
            <a:pPr>
              <a:spcBef>
                <a:spcPts val="400"/>
              </a:spcBef>
            </a:pPr>
            <a:r>
              <a:rPr lang="en-US" sz="1600" b="1" i="1">
                <a:solidFill>
                  <a:srgbClr val="131518"/>
                </a:solidFill>
                <a:latin typeface="+mn-lt"/>
                <a:ea typeface="Roboto Black"/>
                <a:cs typeface="Roboto Black"/>
              </a:rPr>
              <a:t>A new policy dialogue on AI governance at the UN to… </a:t>
            </a:r>
            <a:endParaRPr lang="en-US" sz="1600" b="1" i="1">
              <a:solidFill>
                <a:srgbClr val="131518"/>
              </a:solidFill>
              <a:latin typeface="+mn-lt"/>
            </a:endParaRPr>
          </a:p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131518"/>
                </a:solidFill>
                <a:latin typeface="+mn-lt"/>
                <a:ea typeface="Roboto Black"/>
              </a:rPr>
              <a:t>Foster common ground and regulatory interoperability rooted in human rights</a:t>
            </a:r>
          </a:p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131518"/>
                </a:solidFill>
                <a:latin typeface="+mn-lt"/>
                <a:ea typeface="Roboto Black"/>
              </a:rPr>
              <a:t>Featuring intergovernmental and multi-stakeholder meetings</a:t>
            </a:r>
          </a:p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endParaRPr lang="en-US" sz="1600">
              <a:solidFill>
                <a:srgbClr val="131518"/>
              </a:solidFill>
              <a:latin typeface="+mn-lt"/>
              <a:ea typeface="Roboto Black"/>
            </a:endParaRPr>
          </a:p>
          <a:p>
            <a:pPr>
              <a:spcBef>
                <a:spcPts val="400"/>
              </a:spcBef>
            </a:pPr>
            <a:r>
              <a:rPr lang="en-US" sz="1600" b="1">
                <a:solidFill>
                  <a:srgbClr val="131518"/>
                </a:solidFill>
                <a:latin typeface="+mn-lt"/>
                <a:ea typeface="Roboto Black"/>
              </a:rPr>
              <a:t>Suggested Deliverables</a:t>
            </a:r>
          </a:p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131518"/>
                </a:solidFill>
                <a:latin typeface="+mn-lt"/>
                <a:ea typeface="Roboto Black"/>
              </a:rPr>
              <a:t>Share best practices on AI governance</a:t>
            </a:r>
          </a:p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131518"/>
                </a:solidFill>
                <a:latin typeface="+mn-lt"/>
                <a:ea typeface="Roboto Black"/>
              </a:rPr>
              <a:t>Promote common understandings on the implementation of AI governance measures</a:t>
            </a:r>
          </a:p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131518"/>
                </a:solidFill>
                <a:latin typeface="+mn-lt"/>
                <a:ea typeface="Roboto Black"/>
              </a:rPr>
              <a:t>Share voluntarily significant AI incidents that stretched or exceeded the capacity of State agencies to respond</a:t>
            </a:r>
          </a:p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131518"/>
                </a:solidFill>
                <a:latin typeface="+mn-lt"/>
                <a:ea typeface="Roboto Black"/>
              </a:rPr>
              <a:t>Discuss International Scientific Panel on AI report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A80C4DE-D09E-7B51-56C3-AF3791E1A9E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r"/>
            <a:fld id="{73A950B1-DE82-4A29-B648-3078557F46E8}" type="slidenum">
              <a:rPr lang="en-CA" smtClean="0"/>
              <a:pPr algn="r"/>
              <a:t>14</a:t>
            </a:fld>
            <a:endParaRPr lang="en-CA"/>
          </a:p>
        </p:txBody>
      </p:sp>
      <p:sp>
        <p:nvSpPr>
          <p:cNvPr id="12" name="Title 2">
            <a:extLst>
              <a:ext uri="{FF2B5EF4-FFF2-40B4-BE49-F238E27FC236}">
                <a16:creationId xmlns:a16="http://schemas.microsoft.com/office/drawing/2014/main" id="{7E10CB33-10DA-D7B8-B029-57BD9AC72BCB}"/>
              </a:ext>
            </a:extLst>
          </p:cNvPr>
          <p:cNvSpPr txBox="1">
            <a:spLocks/>
          </p:cNvSpPr>
          <p:nvPr/>
        </p:nvSpPr>
        <p:spPr>
          <a:xfrm>
            <a:off x="526916" y="555688"/>
            <a:ext cx="10933200" cy="51552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514" rtl="0" eaLnBrk="1" latinLnBrk="0" hangingPunct="1">
              <a:spcBef>
                <a:spcPct val="0"/>
              </a:spcBef>
              <a:buNone/>
              <a:defRPr sz="1500" b="0" kern="1200" spc="19" baseline="0">
                <a:solidFill>
                  <a:schemeClr val="tx2">
                    <a:lumMod val="50000"/>
                  </a:schemeClr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j-cs"/>
              </a:defRPr>
            </a:lvl1pPr>
          </a:lstStyle>
          <a:p>
            <a:r>
              <a:rPr lang="en-US" sz="3350" dirty="0">
                <a:latin typeface="Roboto Black"/>
                <a:ea typeface="Roboto Black"/>
                <a:cs typeface="Roboto Black"/>
              </a:rPr>
              <a:t>HLAB-AI Proposals: Common Ground</a:t>
            </a:r>
            <a:endParaRPr lang="en-US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C1EF17F-4DE6-FE3A-E239-76E4F290D85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073293" y="149146"/>
            <a:ext cx="747402" cy="393369"/>
          </a:xfrm>
          <a:prstGeom prst="rect">
            <a:avLst/>
          </a:prstGeom>
        </p:spPr>
      </p:pic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8E15AF9-9999-F80B-B002-78D5AADF1063}"/>
              </a:ext>
            </a:extLst>
          </p:cNvPr>
          <p:cNvSpPr txBox="1">
            <a:spLocks/>
          </p:cNvSpPr>
          <p:nvPr/>
        </p:nvSpPr>
        <p:spPr>
          <a:xfrm>
            <a:off x="6305614" y="2166173"/>
            <a:ext cx="5200565" cy="344812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None/>
              <a:defRPr lang="en-CA" sz="1031" b="0" u="none" kern="700" spc="19" baseline="0" dirty="0">
                <a:solidFill>
                  <a:schemeClr val="bg1"/>
                </a:solidFill>
                <a:effectLst/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165200" indent="-16520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●"/>
              <a:defRPr lang="en-CA" sz="891" b="0" u="none" kern="700" spc="9" baseline="0" dirty="0">
                <a:solidFill>
                  <a:schemeClr val="tx2">
                    <a:lumMod val="50000"/>
                  </a:schemeClr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337840" indent="-174129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–"/>
              <a:defRPr lang="en-CA" sz="891" b="0" u="none" kern="700" spc="9" baseline="0" dirty="0">
                <a:solidFill>
                  <a:schemeClr val="tx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0" indent="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None/>
              <a:defRPr lang="en-CA" sz="703" b="0" u="none" kern="700" spc="9" baseline="0" dirty="0">
                <a:solidFill>
                  <a:schemeClr val="tx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845344" indent="-166688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Char char="»"/>
              <a:defRPr lang="en-CA" sz="703" b="0" u="none" kern="700" spc="9" dirty="0">
                <a:solidFill>
                  <a:schemeClr val="bg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914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171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428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686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400"/>
              </a:spcBef>
            </a:pPr>
            <a:r>
              <a:rPr lang="en-US" sz="1600" b="1" i="1">
                <a:solidFill>
                  <a:srgbClr val="131518"/>
                </a:solidFill>
                <a:latin typeface="+mn-lt"/>
                <a:ea typeface="Roboto Black"/>
                <a:cs typeface="Roboto Black"/>
              </a:rPr>
              <a:t>Global cooperation on AI Standards Exchange to…</a:t>
            </a:r>
            <a:endParaRPr lang="en-US" sz="1600" b="1" i="1">
              <a:solidFill>
                <a:srgbClr val="131518"/>
              </a:solidFill>
              <a:latin typeface="+mn-lt"/>
            </a:endParaRPr>
          </a:p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131518"/>
                </a:solidFill>
                <a:latin typeface="+mn-lt"/>
                <a:ea typeface="Roboto Black"/>
              </a:rPr>
              <a:t>Ensure technical interoperability of AI systems across borders</a:t>
            </a:r>
          </a:p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131518"/>
                </a:solidFill>
                <a:latin typeface="+mn-lt"/>
                <a:ea typeface="Roboto Black"/>
              </a:rPr>
              <a:t>Involving representatives from standards organizations, tech companies, and civil society</a:t>
            </a:r>
          </a:p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endParaRPr lang="en-US" sz="1600">
              <a:solidFill>
                <a:srgbClr val="131518"/>
              </a:solidFill>
              <a:latin typeface="+mn-lt"/>
              <a:ea typeface="Roboto Black"/>
            </a:endParaRPr>
          </a:p>
          <a:p>
            <a:pPr>
              <a:spcBef>
                <a:spcPts val="400"/>
              </a:spcBef>
            </a:pPr>
            <a:r>
              <a:rPr lang="en-US" sz="1600" b="1">
                <a:solidFill>
                  <a:srgbClr val="131518"/>
                </a:solidFill>
                <a:latin typeface="+mn-lt"/>
                <a:ea typeface="Roboto Black"/>
              </a:rPr>
              <a:t>Suggested Deliverables</a:t>
            </a:r>
          </a:p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131518"/>
                </a:solidFill>
                <a:latin typeface="+mn-lt"/>
                <a:ea typeface="Roboto Black"/>
              </a:rPr>
              <a:t>Developing and maintaining a register of definitions and applicable standards for measuring and evaluating AI systems</a:t>
            </a:r>
          </a:p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131518"/>
                </a:solidFill>
                <a:latin typeface="+mn-lt"/>
                <a:ea typeface="Roboto Black"/>
              </a:rPr>
              <a:t>Debating and evaluating the standards and processes</a:t>
            </a:r>
          </a:p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131518"/>
                </a:solidFill>
                <a:latin typeface="+mn-lt"/>
                <a:ea typeface="Roboto Black"/>
              </a:rPr>
              <a:t>Identifying gaps where new standards are needed</a:t>
            </a: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E384B3E2-8412-170E-104C-B49FA0368AB8}"/>
              </a:ext>
            </a:extLst>
          </p:cNvPr>
          <p:cNvSpPr txBox="1">
            <a:spLocks/>
          </p:cNvSpPr>
          <p:nvPr/>
        </p:nvSpPr>
        <p:spPr>
          <a:xfrm>
            <a:off x="526915" y="1388571"/>
            <a:ext cx="10933200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514" rtl="0" eaLnBrk="1" latinLnBrk="0" hangingPunct="1">
              <a:spcBef>
                <a:spcPct val="0"/>
              </a:spcBef>
              <a:buNone/>
              <a:defRPr sz="1500" b="0" kern="1200" spc="19" baseline="0">
                <a:solidFill>
                  <a:schemeClr val="tx2">
                    <a:lumMod val="50000"/>
                  </a:schemeClr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j-cs"/>
              </a:defRPr>
            </a:lvl1pPr>
          </a:lstStyle>
          <a:p>
            <a:r>
              <a:rPr lang="en-US" sz="2400" b="1">
                <a:solidFill>
                  <a:schemeClr val="bg1"/>
                </a:solidFill>
                <a:latin typeface="Roboto Black"/>
                <a:ea typeface="Roboto Black"/>
                <a:cs typeface="Roboto Black"/>
              </a:rPr>
              <a:t>2) Policy Dialogue on AI Governance</a:t>
            </a:r>
            <a:endParaRPr lang="en-US">
              <a:solidFill>
                <a:schemeClr val="bg1"/>
              </a:solidFill>
              <a:latin typeface="Roboto Black"/>
              <a:cs typeface="Roboto Black"/>
            </a:endParaRPr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F6E125D9-FA31-B433-094A-F0466F1330AB}"/>
              </a:ext>
            </a:extLst>
          </p:cNvPr>
          <p:cNvSpPr txBox="1">
            <a:spLocks/>
          </p:cNvSpPr>
          <p:nvPr/>
        </p:nvSpPr>
        <p:spPr>
          <a:xfrm>
            <a:off x="6162171" y="1388572"/>
            <a:ext cx="4500503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514" rtl="0" eaLnBrk="1" latinLnBrk="0" hangingPunct="1">
              <a:spcBef>
                <a:spcPct val="0"/>
              </a:spcBef>
              <a:buNone/>
              <a:defRPr sz="1500" b="0" kern="1200" spc="19" baseline="0">
                <a:solidFill>
                  <a:schemeClr val="tx2">
                    <a:lumMod val="50000"/>
                  </a:schemeClr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j-cs"/>
              </a:defRPr>
            </a:lvl1pPr>
          </a:lstStyle>
          <a:p>
            <a:r>
              <a:rPr lang="en-US" sz="2400" b="1">
                <a:solidFill>
                  <a:schemeClr val="bg1"/>
                </a:solidFill>
                <a:latin typeface="Roboto Black"/>
                <a:ea typeface="Roboto Black"/>
                <a:cs typeface="Roboto Black"/>
              </a:rPr>
              <a:t>3) AI Standards Exchange</a:t>
            </a:r>
            <a:endParaRPr lang="en-US">
              <a:solidFill>
                <a:schemeClr val="bg1"/>
              </a:solidFill>
              <a:latin typeface="Roboto Black"/>
              <a:cs typeface="Roboto Black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09C9866-1800-A2C1-F163-AA563955534D}"/>
              </a:ext>
            </a:extLst>
          </p:cNvPr>
          <p:cNvSpPr/>
          <p:nvPr/>
        </p:nvSpPr>
        <p:spPr>
          <a:xfrm>
            <a:off x="6158472" y="1819862"/>
            <a:ext cx="5459820" cy="4419754"/>
          </a:xfrm>
          <a:prstGeom prst="rect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171450" indent="-171450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Font typeface="Calibri,Sans-Serif"/>
              <a:buChar char="-"/>
            </a:pPr>
            <a:endParaRPr lang="en-US" sz="1200">
              <a:solidFill>
                <a:schemeClr val="tx2">
                  <a:lumMod val="50000"/>
                </a:schemeClr>
              </a:solidFill>
              <a:latin typeface="Roboto"/>
              <a:ea typeface="Roboto"/>
              <a:cs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116619508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6AF6F30-849C-6ABC-BDF4-7A2514F5EB4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AF6F30-849C-6ABC-BDF4-7A2514F5EB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6867639-94F5-8FFF-E279-6C101263FF3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6124" y="2109271"/>
            <a:ext cx="3473146" cy="3463128"/>
          </a:xfrm>
        </p:spPr>
        <p:txBody>
          <a:bodyPr vert="horz" wrap="square" lIns="0" tIns="0" rIns="0" bIns="0" rtlCol="0" anchor="t">
            <a:spAutoFit/>
          </a:bodyPr>
          <a:lstStyle/>
          <a:p>
            <a:pPr>
              <a:spcBef>
                <a:spcPts val="400"/>
              </a:spcBef>
            </a:pPr>
            <a:r>
              <a:rPr lang="en-US" sz="1400" b="1" i="1">
                <a:solidFill>
                  <a:srgbClr val="131518"/>
                </a:solidFill>
                <a:latin typeface="+mn-lt"/>
                <a:ea typeface="Roboto Black"/>
                <a:cs typeface="Roboto Black"/>
              </a:rPr>
              <a:t>Global Capacity Development Network to… </a:t>
            </a:r>
            <a:endParaRPr lang="en-US" sz="1400" b="1" i="1">
              <a:solidFill>
                <a:srgbClr val="131518"/>
              </a:solidFill>
              <a:latin typeface="+mn-lt"/>
            </a:endParaRPr>
          </a:p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131518"/>
                </a:solidFill>
                <a:latin typeface="+mn-lt"/>
                <a:ea typeface="Roboto Black"/>
              </a:rPr>
              <a:t>Boost AI governance capacities, offering training, compute resources, and AI datasets to researchers and social entrepreneurs</a:t>
            </a:r>
          </a:p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endParaRPr lang="en-US" sz="1400">
              <a:solidFill>
                <a:srgbClr val="131518"/>
              </a:solidFill>
              <a:latin typeface="+mn-lt"/>
              <a:ea typeface="Roboto Black"/>
            </a:endParaRPr>
          </a:p>
          <a:p>
            <a:pPr>
              <a:spcBef>
                <a:spcPts val="400"/>
              </a:spcBef>
            </a:pPr>
            <a:r>
              <a:rPr lang="en-US" sz="1400" b="1">
                <a:solidFill>
                  <a:srgbClr val="131518"/>
                </a:solidFill>
                <a:latin typeface="+mn-lt"/>
                <a:ea typeface="Roboto Black"/>
              </a:rPr>
              <a:t>Suggested Deliverables</a:t>
            </a:r>
          </a:p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rgbClr val="131518"/>
                </a:solidFill>
                <a:latin typeface="+mn-lt"/>
                <a:ea typeface="Roboto Black"/>
              </a:rPr>
              <a:t>Catalyse</a:t>
            </a:r>
            <a:r>
              <a:rPr lang="en-US" sz="1400">
                <a:solidFill>
                  <a:srgbClr val="131518"/>
                </a:solidFill>
                <a:latin typeface="+mn-lt"/>
                <a:ea typeface="Roboto Black"/>
              </a:rPr>
              <a:t> and align regional and global AI capacity efforts</a:t>
            </a:r>
          </a:p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131518"/>
                </a:solidFill>
                <a:latin typeface="+mn-lt"/>
                <a:ea typeface="Roboto Black"/>
              </a:rPr>
              <a:t>Build AI governance capacity of public officials </a:t>
            </a:r>
          </a:p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131518"/>
                </a:solidFill>
                <a:latin typeface="+mn-lt"/>
                <a:ea typeface="Roboto Black"/>
              </a:rPr>
              <a:t>Make available trainers, compute and AI training data across multiple </a:t>
            </a:r>
            <a:r>
              <a:rPr lang="en-US" sz="1400" err="1">
                <a:solidFill>
                  <a:srgbClr val="131518"/>
                </a:solidFill>
                <a:latin typeface="+mn-lt"/>
                <a:ea typeface="Roboto Black"/>
              </a:rPr>
              <a:t>centres</a:t>
            </a:r>
            <a:r>
              <a:rPr lang="en-US" sz="1400">
                <a:solidFill>
                  <a:srgbClr val="131518"/>
                </a:solidFill>
                <a:latin typeface="+mn-lt"/>
                <a:ea typeface="Roboto Black"/>
              </a:rPr>
              <a:t> to researchers and social entrepreneur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A80C4DE-D09E-7B51-56C3-AF3791E1A9E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algn="r"/>
            <a:fld id="{73A950B1-DE82-4A29-B648-3078557F46E8}" type="slidenum">
              <a:rPr lang="en-CA" smtClean="0"/>
              <a:pPr algn="r"/>
              <a:t>15</a:t>
            </a:fld>
            <a:endParaRPr lang="en-CA"/>
          </a:p>
        </p:txBody>
      </p:sp>
      <p:sp>
        <p:nvSpPr>
          <p:cNvPr id="12" name="Title 2">
            <a:extLst>
              <a:ext uri="{FF2B5EF4-FFF2-40B4-BE49-F238E27FC236}">
                <a16:creationId xmlns:a16="http://schemas.microsoft.com/office/drawing/2014/main" id="{7E10CB33-10DA-D7B8-B029-57BD9AC72BCB}"/>
              </a:ext>
            </a:extLst>
          </p:cNvPr>
          <p:cNvSpPr txBox="1">
            <a:spLocks/>
          </p:cNvSpPr>
          <p:nvPr/>
        </p:nvSpPr>
        <p:spPr>
          <a:xfrm>
            <a:off x="526916" y="555688"/>
            <a:ext cx="10933200" cy="51552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514" rtl="0" eaLnBrk="1" latinLnBrk="0" hangingPunct="1">
              <a:spcBef>
                <a:spcPct val="0"/>
              </a:spcBef>
              <a:buNone/>
              <a:defRPr sz="1500" b="0" kern="1200" spc="19" baseline="0">
                <a:solidFill>
                  <a:schemeClr val="tx2">
                    <a:lumMod val="50000"/>
                  </a:schemeClr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j-cs"/>
              </a:defRPr>
            </a:lvl1pPr>
          </a:lstStyle>
          <a:p>
            <a:r>
              <a:rPr lang="en-US" sz="3350" dirty="0">
                <a:latin typeface="Roboto Black"/>
                <a:ea typeface="Roboto Black"/>
                <a:cs typeface="Roboto Black"/>
              </a:rPr>
              <a:t>HLAB-AI Proposals: Common Benefit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C1EF17F-4DE6-FE3A-E239-76E4F290D85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073293" y="149146"/>
            <a:ext cx="747402" cy="393369"/>
          </a:xfrm>
          <a:prstGeom prst="rect">
            <a:avLst/>
          </a:prstGeom>
        </p:spPr>
      </p:pic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8E15AF9-9999-F80B-B002-78D5AADF1063}"/>
              </a:ext>
            </a:extLst>
          </p:cNvPr>
          <p:cNvSpPr txBox="1">
            <a:spLocks/>
          </p:cNvSpPr>
          <p:nvPr/>
        </p:nvSpPr>
        <p:spPr>
          <a:xfrm>
            <a:off x="4383999" y="2109271"/>
            <a:ext cx="3500037" cy="401815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None/>
              <a:defRPr lang="en-CA" sz="1031" b="0" u="none" kern="700" spc="19" baseline="0" dirty="0">
                <a:solidFill>
                  <a:schemeClr val="bg1"/>
                </a:solidFill>
                <a:effectLst/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165200" indent="-16520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●"/>
              <a:defRPr lang="en-CA" sz="891" b="0" u="none" kern="700" spc="9" baseline="0" dirty="0">
                <a:solidFill>
                  <a:schemeClr val="tx2">
                    <a:lumMod val="50000"/>
                  </a:schemeClr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337840" indent="-174129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–"/>
              <a:defRPr lang="en-CA" sz="891" b="0" u="none" kern="700" spc="9" baseline="0" dirty="0">
                <a:solidFill>
                  <a:schemeClr val="tx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0" indent="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None/>
              <a:defRPr lang="en-CA" sz="703" b="0" u="none" kern="700" spc="9" baseline="0" dirty="0">
                <a:solidFill>
                  <a:schemeClr val="tx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845344" indent="-166688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Char char="»"/>
              <a:defRPr lang="en-CA" sz="703" b="0" u="none" kern="700" spc="9" dirty="0">
                <a:solidFill>
                  <a:schemeClr val="bg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914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171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428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686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400"/>
              </a:spcBef>
            </a:pPr>
            <a:r>
              <a:rPr lang="en-US" sz="1400" b="1" i="1">
                <a:solidFill>
                  <a:srgbClr val="131518"/>
                </a:solidFill>
                <a:latin typeface="+mn-lt"/>
                <a:ea typeface="Roboto Black"/>
                <a:cs typeface="Roboto Black"/>
              </a:rPr>
              <a:t>Establishing Global AI Fund to…</a:t>
            </a:r>
            <a:endParaRPr lang="en-US" sz="1400" b="1" i="1">
              <a:solidFill>
                <a:srgbClr val="131518"/>
              </a:solidFill>
              <a:latin typeface="+mn-lt"/>
            </a:endParaRPr>
          </a:p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131518"/>
                </a:solidFill>
                <a:latin typeface="+mn-lt"/>
                <a:ea typeface="Roboto Black"/>
              </a:rPr>
              <a:t>Address gaps in capacity and collaboration</a:t>
            </a:r>
          </a:p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131518"/>
                </a:solidFill>
                <a:latin typeface="+mn-lt"/>
                <a:ea typeface="Roboto Black"/>
              </a:rPr>
              <a:t>Empower local efforts to further the SDGs</a:t>
            </a:r>
            <a:endParaRPr lang="en-US" sz="1400">
              <a:solidFill>
                <a:srgbClr val="131518"/>
              </a:solidFill>
              <a:latin typeface="+mn-lt"/>
              <a:ea typeface="Roboto Black"/>
              <a:cs typeface="Roboto"/>
            </a:endParaRPr>
          </a:p>
          <a:p>
            <a:pPr>
              <a:spcBef>
                <a:spcPts val="400"/>
              </a:spcBef>
            </a:pPr>
            <a:r>
              <a:rPr lang="en-US" sz="1400" b="1">
                <a:solidFill>
                  <a:srgbClr val="131518"/>
                </a:solidFill>
                <a:latin typeface="+mn-lt"/>
                <a:ea typeface="Roboto Black"/>
              </a:rPr>
              <a:t>Suggested Deliverables</a:t>
            </a:r>
            <a:endParaRPr lang="en-US" sz="1400" b="1">
              <a:solidFill>
                <a:srgbClr val="131518"/>
              </a:solidFill>
              <a:latin typeface="+mn-lt"/>
              <a:ea typeface="Roboto Black"/>
              <a:cs typeface="Roboto"/>
            </a:endParaRPr>
          </a:p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131518"/>
                </a:solidFill>
                <a:latin typeface="+mn-lt"/>
                <a:ea typeface="Roboto Black"/>
              </a:rPr>
              <a:t>Computing resources for model training and fine-tuning by AI developers </a:t>
            </a:r>
            <a:endParaRPr lang="en-US" sz="1400">
              <a:solidFill>
                <a:srgbClr val="131518"/>
              </a:solidFill>
              <a:latin typeface="+mn-lt"/>
              <a:ea typeface="Roboto Black"/>
              <a:cs typeface="Roboto"/>
            </a:endParaRPr>
          </a:p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131518"/>
                </a:solidFill>
                <a:latin typeface="+mn-lt"/>
                <a:ea typeface="Roboto Black"/>
              </a:rPr>
              <a:t>Sandboxes, benchmarking and testing tools to mainstream best practices</a:t>
            </a:r>
            <a:endParaRPr lang="en-US" sz="1400">
              <a:solidFill>
                <a:srgbClr val="131518"/>
              </a:solidFill>
              <a:latin typeface="+mn-lt"/>
              <a:ea typeface="Roboto Black"/>
              <a:cs typeface="Roboto"/>
            </a:endParaRPr>
          </a:p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131518"/>
                </a:solidFill>
                <a:latin typeface="+mn-lt"/>
                <a:ea typeface="Roboto Black"/>
              </a:rPr>
              <a:t>Governance, safety and interoperability solutions with global applicability</a:t>
            </a:r>
            <a:endParaRPr lang="en-US" sz="1400">
              <a:solidFill>
                <a:srgbClr val="131518"/>
              </a:solidFill>
              <a:latin typeface="+mn-lt"/>
              <a:ea typeface="Roboto Black"/>
              <a:cs typeface="Roboto"/>
            </a:endParaRPr>
          </a:p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131518"/>
                </a:solidFill>
                <a:latin typeface="+mn-lt"/>
                <a:ea typeface="Roboto Black"/>
              </a:rPr>
              <a:t>Research on how data and models could be combined for SDG-related projects</a:t>
            </a:r>
            <a:endParaRPr lang="en-US" sz="1400">
              <a:solidFill>
                <a:srgbClr val="131518"/>
              </a:solidFill>
              <a:latin typeface="+mn-lt"/>
              <a:ea typeface="Roboto Black"/>
              <a:cs typeface="Roboto"/>
            </a:endParaRPr>
          </a:p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131518"/>
                </a:solidFill>
                <a:latin typeface="+mn-lt"/>
                <a:ea typeface="Roboto Black"/>
              </a:rPr>
              <a:t>A repository of AI models and curated data sets for the SDG</a:t>
            </a:r>
            <a:endParaRPr lang="en-US" sz="1400">
              <a:solidFill>
                <a:srgbClr val="131518"/>
              </a:solidFill>
              <a:latin typeface="+mn-lt"/>
              <a:ea typeface="Roboto Black"/>
              <a:cs typeface="Roboto"/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51E8315A-272E-1A8B-59A4-830EE034DF99}"/>
              </a:ext>
            </a:extLst>
          </p:cNvPr>
          <p:cNvSpPr txBox="1">
            <a:spLocks/>
          </p:cNvSpPr>
          <p:nvPr/>
        </p:nvSpPr>
        <p:spPr>
          <a:xfrm>
            <a:off x="8281532" y="2109270"/>
            <a:ext cx="3339856" cy="3514424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None/>
              <a:defRPr lang="en-CA" sz="1031" b="0" u="none" kern="700" spc="19" baseline="0" dirty="0">
                <a:solidFill>
                  <a:schemeClr val="bg1"/>
                </a:solidFill>
                <a:effectLst/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165200" indent="-16520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●"/>
              <a:defRPr lang="en-CA" sz="891" b="0" u="none" kern="700" spc="9" baseline="0" dirty="0">
                <a:solidFill>
                  <a:schemeClr val="tx2">
                    <a:lumMod val="50000"/>
                  </a:schemeClr>
                </a:solidFill>
                <a:effectLst/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2pPr>
            <a:lvl3pPr marL="337840" indent="-174129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–"/>
              <a:defRPr lang="en-CA" sz="891" b="0" u="none" kern="700" spc="9" baseline="0" dirty="0">
                <a:solidFill>
                  <a:schemeClr val="tx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3pPr>
            <a:lvl4pPr marL="0" indent="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None/>
              <a:defRPr lang="en-CA" sz="703" b="0" u="none" kern="700" spc="9" baseline="0" dirty="0">
                <a:solidFill>
                  <a:schemeClr val="tx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4pPr>
            <a:lvl5pPr marL="845344" indent="-166688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Char char="»"/>
              <a:defRPr lang="en-CA" sz="703" b="0" u="none" kern="700" spc="9" dirty="0">
                <a:solidFill>
                  <a:schemeClr val="bg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914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171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428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686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400"/>
              </a:spcBef>
            </a:pPr>
            <a:r>
              <a:rPr lang="en-US" sz="1400" b="1" i="1">
                <a:solidFill>
                  <a:srgbClr val="131518"/>
                </a:solidFill>
                <a:latin typeface="+mn-lt"/>
                <a:ea typeface="Roboto Black"/>
                <a:cs typeface="Roboto Black"/>
              </a:rPr>
              <a:t>Fostering Global AI Data Framework to… </a:t>
            </a:r>
            <a:endParaRPr lang="en-US" sz="1400" b="1" i="1">
              <a:solidFill>
                <a:srgbClr val="131518"/>
              </a:solidFill>
              <a:latin typeface="+mn-lt"/>
            </a:endParaRPr>
          </a:p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131518"/>
                </a:solidFill>
                <a:latin typeface="+mn-lt"/>
                <a:ea typeface="Roboto Black"/>
              </a:rPr>
              <a:t>Standardize data-related definitions, principles, and stewardship</a:t>
            </a:r>
          </a:p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131518"/>
                </a:solidFill>
                <a:latin typeface="+mn-lt"/>
                <a:ea typeface="Roboto Black"/>
              </a:rPr>
              <a:t>Ensure transparency and accountability in AI systems</a:t>
            </a:r>
          </a:p>
          <a:p>
            <a:pPr>
              <a:spcBef>
                <a:spcPts val="400"/>
              </a:spcBef>
            </a:pPr>
            <a:endParaRPr lang="en-US" sz="1400">
              <a:solidFill>
                <a:srgbClr val="131518"/>
              </a:solidFill>
              <a:latin typeface="+mn-lt"/>
              <a:ea typeface="Roboto Black"/>
            </a:endParaRPr>
          </a:p>
          <a:p>
            <a:pPr>
              <a:spcBef>
                <a:spcPts val="400"/>
              </a:spcBef>
            </a:pPr>
            <a:r>
              <a:rPr lang="en-US" sz="1400" b="1">
                <a:solidFill>
                  <a:srgbClr val="131518"/>
                </a:solidFill>
                <a:latin typeface="+mn-lt"/>
                <a:ea typeface="Roboto Black"/>
              </a:rPr>
              <a:t>Suggested Deliverables</a:t>
            </a:r>
          </a:p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131518"/>
                </a:solidFill>
                <a:latin typeface="+mn-lt"/>
                <a:ea typeface="Roboto Black"/>
              </a:rPr>
              <a:t>Outlining data-related definitions and principles for global governance of AI training data</a:t>
            </a:r>
          </a:p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131518"/>
                </a:solidFill>
                <a:latin typeface="+mn-lt"/>
                <a:ea typeface="Roboto Black"/>
              </a:rPr>
              <a:t>Common standards around AI training data provenance</a:t>
            </a:r>
          </a:p>
          <a:p>
            <a:pPr marL="171450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rgbClr val="131518"/>
                </a:solidFill>
                <a:latin typeface="+mn-lt"/>
                <a:ea typeface="Roboto Black"/>
              </a:rPr>
              <a:t>Market-shaping data stewardship and exchange mechanisms</a:t>
            </a:r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95A26583-7F5B-9D35-CD9B-AB1084227EF6}"/>
              </a:ext>
            </a:extLst>
          </p:cNvPr>
          <p:cNvSpPr txBox="1">
            <a:spLocks/>
          </p:cNvSpPr>
          <p:nvPr/>
        </p:nvSpPr>
        <p:spPr>
          <a:xfrm>
            <a:off x="367427" y="1450595"/>
            <a:ext cx="10933200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514" rtl="0" eaLnBrk="1" latinLnBrk="0" hangingPunct="1">
              <a:spcBef>
                <a:spcPct val="0"/>
              </a:spcBef>
              <a:buNone/>
              <a:defRPr sz="1500" b="0" kern="1200" spc="19" baseline="0">
                <a:solidFill>
                  <a:schemeClr val="tx2">
                    <a:lumMod val="50000"/>
                  </a:schemeClr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j-cs"/>
              </a:defRPr>
            </a:lvl1pPr>
          </a:lstStyle>
          <a:p>
            <a:r>
              <a:rPr lang="en-US" sz="1800" b="1">
                <a:solidFill>
                  <a:schemeClr val="bg1"/>
                </a:solidFill>
                <a:latin typeface="Roboto Black"/>
                <a:ea typeface="Roboto Black"/>
                <a:cs typeface="Roboto Black"/>
              </a:rPr>
              <a:t>4) Capacity Development Network     5) Global Fund for AI                            6) Global AI Data Framework</a:t>
            </a:r>
            <a:endParaRPr lang="en-US" sz="1800">
              <a:solidFill>
                <a:schemeClr val="bg1"/>
              </a:solidFill>
              <a:latin typeface="Roboto Black"/>
              <a:cs typeface="Roboto Black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AAE9BD9-14E9-C6F7-7C8F-3926607B6CD7}"/>
              </a:ext>
            </a:extLst>
          </p:cNvPr>
          <p:cNvSpPr/>
          <p:nvPr/>
        </p:nvSpPr>
        <p:spPr>
          <a:xfrm>
            <a:off x="4255179" y="1855304"/>
            <a:ext cx="3631019" cy="4464057"/>
          </a:xfrm>
          <a:prstGeom prst="rect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171450" indent="-171450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Font typeface="Calibri,Sans-Serif"/>
              <a:buChar char="-"/>
            </a:pPr>
            <a:endParaRPr lang="en-US" sz="1200">
              <a:solidFill>
                <a:schemeClr val="tx2">
                  <a:lumMod val="50000"/>
                </a:schemeClr>
              </a:solidFill>
              <a:latin typeface="Roboto"/>
              <a:ea typeface="Roboto"/>
              <a:cs typeface="Roboto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044D8CC-9706-A987-C413-5AEE00BC3BD6}"/>
              </a:ext>
            </a:extLst>
          </p:cNvPr>
          <p:cNvSpPr/>
          <p:nvPr/>
        </p:nvSpPr>
        <p:spPr>
          <a:xfrm>
            <a:off x="365434" y="1855303"/>
            <a:ext cx="3631019" cy="4464057"/>
          </a:xfrm>
          <a:prstGeom prst="rect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171450" indent="-171450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Font typeface="Calibri,Sans-Serif"/>
              <a:buChar char="-"/>
            </a:pPr>
            <a:endParaRPr lang="en-US" sz="1200">
              <a:solidFill>
                <a:schemeClr val="tx2">
                  <a:lumMod val="50000"/>
                </a:schemeClr>
              </a:solidFill>
              <a:latin typeface="Roboto"/>
              <a:ea typeface="Roboto"/>
              <a:cs typeface="Roboto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0990DBC-E48F-6F85-25BA-3B7E5ED3366B}"/>
              </a:ext>
            </a:extLst>
          </p:cNvPr>
          <p:cNvSpPr/>
          <p:nvPr/>
        </p:nvSpPr>
        <p:spPr>
          <a:xfrm>
            <a:off x="8144923" y="1855304"/>
            <a:ext cx="3631019" cy="4464057"/>
          </a:xfrm>
          <a:prstGeom prst="rect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171450" indent="-171450">
              <a:lnSpc>
                <a:spcPct val="90000"/>
              </a:lnSpc>
              <a:spcBef>
                <a:spcPct val="0"/>
              </a:spcBef>
              <a:spcAft>
                <a:spcPts val="300"/>
              </a:spcAft>
              <a:buFont typeface="Calibri,Sans-Serif"/>
              <a:buChar char="-"/>
            </a:pPr>
            <a:endParaRPr lang="en-US" sz="1200">
              <a:solidFill>
                <a:schemeClr val="tx2">
                  <a:lumMod val="50000"/>
                </a:schemeClr>
              </a:solidFill>
              <a:latin typeface="Roboto"/>
              <a:ea typeface="Roboto"/>
              <a:cs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93968645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99A1C4-F988-BFB3-88D9-A25C03CA89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stions</a:t>
            </a:r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31594237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Summit of the Future 2024: UN member states adopt &quot;Pact for the Future ...">
            <a:extLst>
              <a:ext uri="{FF2B5EF4-FFF2-40B4-BE49-F238E27FC236}">
                <a16:creationId xmlns:a16="http://schemas.microsoft.com/office/drawing/2014/main" id="{740E6D10-5082-2C3B-E44E-390C7142FAFF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0" y="10"/>
            <a:ext cx="12191980" cy="6857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40" name="Freeform 12">
            <a:extLst>
              <a:ext uri="{FF2B5EF4-FFF2-40B4-BE49-F238E27FC236}">
                <a16:creationId xmlns:a16="http://schemas.microsoft.com/office/drawing/2014/main" id="{522A94E1-AEBD-4286-BFF8-0711E4CD3E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V="1">
            <a:off x="1622650" y="5181600"/>
            <a:ext cx="9165010" cy="1174750"/>
          </a:xfrm>
          <a:custGeom>
            <a:avLst/>
            <a:gdLst>
              <a:gd name="connsiteX0" fmla="*/ 0 w 9165010"/>
              <a:gd name="connsiteY0" fmla="*/ 1073384 h 1073384"/>
              <a:gd name="connsiteX1" fmla="*/ 9165010 w 9165010"/>
              <a:gd name="connsiteY1" fmla="*/ 1073384 h 1073384"/>
              <a:gd name="connsiteX2" fmla="*/ 9165010 w 9165010"/>
              <a:gd name="connsiteY2" fmla="*/ 266817 h 1073384"/>
              <a:gd name="connsiteX3" fmla="*/ 4757604 w 9165010"/>
              <a:gd name="connsiteY3" fmla="*/ 266817 h 1073384"/>
              <a:gd name="connsiteX4" fmla="*/ 4582505 w 9165010"/>
              <a:gd name="connsiteY4" fmla="*/ 0 h 1073384"/>
              <a:gd name="connsiteX5" fmla="*/ 4407407 w 9165010"/>
              <a:gd name="connsiteY5" fmla="*/ 266817 h 1073384"/>
              <a:gd name="connsiteX6" fmla="*/ 0 w 9165010"/>
              <a:gd name="connsiteY6" fmla="*/ 266817 h 10733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165010" h="1073384">
                <a:moveTo>
                  <a:pt x="0" y="1073384"/>
                </a:moveTo>
                <a:lnTo>
                  <a:pt x="9165010" y="1073384"/>
                </a:lnTo>
                <a:lnTo>
                  <a:pt x="9165010" y="266817"/>
                </a:lnTo>
                <a:lnTo>
                  <a:pt x="4757604" y="266817"/>
                </a:lnTo>
                <a:lnTo>
                  <a:pt x="4582505" y="0"/>
                </a:lnTo>
                <a:lnTo>
                  <a:pt x="4407407" y="266817"/>
                </a:lnTo>
                <a:lnTo>
                  <a:pt x="0" y="266817"/>
                </a:lnTo>
                <a:close/>
              </a:path>
            </a:pathLst>
          </a:custGeom>
          <a:solidFill>
            <a:srgbClr val="404040">
              <a:alpha val="9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F001DD-D2F9-E373-0FFF-0717A2A60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1650" y="5254391"/>
            <a:ext cx="8867012" cy="774934"/>
          </a:xfrm>
          <a:noFill/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4000">
                <a:solidFill>
                  <a:srgbClr val="FFFFFF"/>
                </a:solidFill>
              </a:rPr>
              <a:t>Summit of the Future</a:t>
            </a:r>
          </a:p>
        </p:txBody>
      </p:sp>
    </p:spTree>
    <p:extLst>
      <p:ext uri="{BB962C8B-B14F-4D97-AF65-F5344CB8AC3E}">
        <p14:creationId xmlns:p14="http://schemas.microsoft.com/office/powerpoint/2010/main" val="14912163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66195E0-D393-F0CE-E4DC-82D107A723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66195E0-D393-F0CE-E4DC-82D107A723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25ED69A-709B-4324-FB5E-A80DBF1A94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892" y="584971"/>
            <a:ext cx="8775771" cy="1325563"/>
          </a:xfrm>
        </p:spPr>
        <p:txBody>
          <a:bodyPr vert="horz"/>
          <a:lstStyle/>
          <a:p>
            <a:r>
              <a:rPr lang="en-US" dirty="0">
                <a:ea typeface="Roboto"/>
                <a:cs typeface="Roboto"/>
              </a:rPr>
              <a:t>A comprehensive framework for the global governance of digital technology and AI </a:t>
            </a:r>
            <a:endParaRPr lang="en-US" dirty="0"/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ACA4679A-BCB8-4E42-8343-2D97F2F0FB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8247" y="1541166"/>
            <a:ext cx="7311013" cy="740648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>
                <a:ea typeface="Roboto" panose="020B0604020202020204"/>
                <a:cs typeface="Roboto" panose="020B0604020202020204"/>
              </a:rPr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B81657-EF07-D171-F0AE-31B1A02906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ffice for Digital and Emerging Technologi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460599-FA97-70F6-8049-52B7F3842E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5EDD575-C673-CF4D-BF44-B5D5410D0CFA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F37C314-E6C1-21B3-D0D3-04FF0ACD9647}"/>
              </a:ext>
            </a:extLst>
          </p:cNvPr>
          <p:cNvSpPr txBox="1">
            <a:spLocks/>
          </p:cNvSpPr>
          <p:nvPr/>
        </p:nvSpPr>
        <p:spPr>
          <a:xfrm>
            <a:off x="589922" y="2413697"/>
            <a:ext cx="5158992" cy="133517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16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279393" algn="l" defTabSz="914377" rtl="0" eaLnBrk="1" latinLnBrk="0" hangingPunct="1">
              <a:lnSpc>
                <a:spcPct val="110000"/>
              </a:lnSpc>
              <a:spcBef>
                <a:spcPts val="800"/>
              </a:spcBef>
              <a:buClr>
                <a:schemeClr val="accent1"/>
              </a:buClr>
              <a:buFont typeface="System Font Regular"/>
              <a:buChar char="⁃"/>
              <a:tabLst/>
              <a:defRPr sz="22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4660" indent="-287331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2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1992" indent="-287331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System Font Regular"/>
              <a:buChar char="⁃"/>
              <a:tabLst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443" indent="-342891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>
                <a:ea typeface="Roboto"/>
                <a:cs typeface="Roboto"/>
              </a:rPr>
              <a:t>Negotiated and agreed by 193 Member States and multistakeholder consulta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>
                <a:ea typeface="Roboto"/>
                <a:cs typeface="Roboto"/>
              </a:rPr>
              <a:t>Aims to harness digital technology potential and close digital divides with </a:t>
            </a:r>
            <a:r>
              <a:rPr lang="en-US" sz="1800">
                <a:ea typeface="+mn-lt"/>
                <a:cs typeface="+mn-lt"/>
              </a:rPr>
              <a:t>concrete commitments &amp; actions by Governments &amp; stakehold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>
                <a:ea typeface="Roboto" panose="020B0604020202020204"/>
                <a:cs typeface="Roboto" panose="020B0604020202020204"/>
              </a:rPr>
              <a:t>Commits to upholding international law and human rights onlin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>
              <a:ea typeface="Roboto" panose="020B0604020202020204"/>
              <a:cs typeface="Roboto" panose="020B0604020202020204"/>
            </a:endParaRPr>
          </a:p>
        </p:txBody>
      </p:sp>
      <p:sp>
        <p:nvSpPr>
          <p:cNvPr id="4" name="Freeform 2">
            <a:extLst>
              <a:ext uri="{FF2B5EF4-FFF2-40B4-BE49-F238E27FC236}">
                <a16:creationId xmlns:a16="http://schemas.microsoft.com/office/drawing/2014/main" id="{5953D0D6-5B60-2248-6F08-45537F9FAB3D}"/>
              </a:ext>
            </a:extLst>
          </p:cNvPr>
          <p:cNvSpPr/>
          <p:nvPr/>
        </p:nvSpPr>
        <p:spPr>
          <a:xfrm>
            <a:off x="6662034" y="887632"/>
            <a:ext cx="5524405" cy="5417626"/>
          </a:xfrm>
          <a:custGeom>
            <a:avLst/>
            <a:gdLst/>
            <a:ahLst/>
            <a:cxnLst/>
            <a:rect l="l" t="t" r="r" b="b"/>
            <a:pathLst>
              <a:path w="8801585" h="8779581">
                <a:moveTo>
                  <a:pt x="0" y="0"/>
                </a:moveTo>
                <a:lnTo>
                  <a:pt x="8801586" y="0"/>
                </a:lnTo>
                <a:lnTo>
                  <a:pt x="8801586" y="8779581"/>
                </a:lnTo>
                <a:lnTo>
                  <a:pt x="0" y="8779581"/>
                </a:lnTo>
                <a:lnTo>
                  <a:pt x="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KR" sz="800"/>
          </a:p>
        </p:txBody>
      </p:sp>
      <p:sp>
        <p:nvSpPr>
          <p:cNvPr id="10" name="TextBox 3">
            <a:extLst>
              <a:ext uri="{FF2B5EF4-FFF2-40B4-BE49-F238E27FC236}">
                <a16:creationId xmlns:a16="http://schemas.microsoft.com/office/drawing/2014/main" id="{1A7573D7-F2B2-9CAB-4820-4320401B8360}"/>
              </a:ext>
            </a:extLst>
          </p:cNvPr>
          <p:cNvSpPr txBox="1"/>
          <p:nvPr/>
        </p:nvSpPr>
        <p:spPr>
          <a:xfrm>
            <a:off x="8672080" y="1375290"/>
            <a:ext cx="1495939" cy="103874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4200"/>
              </a:lnSpc>
            </a:pPr>
            <a:r>
              <a:rPr lang="en-US" sz="2000" b="1" dirty="0">
                <a:solidFill>
                  <a:srgbClr val="000000"/>
                </a:solidFill>
                <a:latin typeface="Roboto Bold"/>
                <a:ea typeface="Roboto Bold"/>
                <a:cs typeface="Roboto Bold"/>
                <a:sym typeface="Roboto Bold"/>
              </a:rPr>
              <a:t>Member</a:t>
            </a:r>
          </a:p>
          <a:p>
            <a:pPr algn="ctr">
              <a:lnSpc>
                <a:spcPts val="4200"/>
              </a:lnSpc>
              <a:spcBef>
                <a:spcPct val="0"/>
              </a:spcBef>
            </a:pPr>
            <a:r>
              <a:rPr lang="en-US" sz="2000" b="1" dirty="0">
                <a:solidFill>
                  <a:srgbClr val="000000"/>
                </a:solidFill>
                <a:latin typeface="Roboto Bold"/>
                <a:ea typeface="Roboto Bold"/>
                <a:cs typeface="Roboto Bold"/>
                <a:sym typeface="Roboto Bold"/>
              </a:rPr>
              <a:t>States</a:t>
            </a:r>
          </a:p>
        </p:txBody>
      </p:sp>
      <p:sp>
        <p:nvSpPr>
          <p:cNvPr id="12" name="TextBox 4">
            <a:extLst>
              <a:ext uri="{FF2B5EF4-FFF2-40B4-BE49-F238E27FC236}">
                <a16:creationId xmlns:a16="http://schemas.microsoft.com/office/drawing/2014/main" id="{A023536E-C174-598B-8B68-C2BFB6BF4657}"/>
              </a:ext>
            </a:extLst>
          </p:cNvPr>
          <p:cNvSpPr txBox="1"/>
          <p:nvPr/>
        </p:nvSpPr>
        <p:spPr>
          <a:xfrm>
            <a:off x="10067535" y="2757547"/>
            <a:ext cx="1791678" cy="46807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4200"/>
              </a:lnSpc>
              <a:spcBef>
                <a:spcPct val="0"/>
              </a:spcBef>
            </a:pPr>
            <a:r>
              <a:rPr lang="en-US" sz="1800" b="1" dirty="0">
                <a:solidFill>
                  <a:srgbClr val="000000"/>
                </a:solidFill>
                <a:latin typeface="Roboto Bold"/>
                <a:ea typeface="Roboto Bold"/>
                <a:cs typeface="Roboto Bold"/>
                <a:sym typeface="Roboto Bold"/>
              </a:rPr>
              <a:t>UN System</a:t>
            </a:r>
          </a:p>
        </p:txBody>
      </p:sp>
      <p:sp>
        <p:nvSpPr>
          <p:cNvPr id="15" name="TextBox 5">
            <a:extLst>
              <a:ext uri="{FF2B5EF4-FFF2-40B4-BE49-F238E27FC236}">
                <a16:creationId xmlns:a16="http://schemas.microsoft.com/office/drawing/2014/main" id="{FB184166-D42C-1AB2-B608-18280FD0C028}"/>
              </a:ext>
            </a:extLst>
          </p:cNvPr>
          <p:cNvSpPr txBox="1"/>
          <p:nvPr/>
        </p:nvSpPr>
        <p:spPr>
          <a:xfrm>
            <a:off x="8780937" y="4508029"/>
            <a:ext cx="1859409" cy="123860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3267"/>
              </a:lnSpc>
            </a:pPr>
            <a:r>
              <a:rPr lang="en-US" sz="1600" b="1" dirty="0">
                <a:solidFill>
                  <a:srgbClr val="000000"/>
                </a:solidFill>
                <a:latin typeface="Roboto Bold"/>
                <a:ea typeface="Roboto Bold"/>
                <a:cs typeface="Roboto Bold"/>
                <a:sym typeface="Roboto Bold"/>
              </a:rPr>
              <a:t>Regional &amp;</a:t>
            </a:r>
          </a:p>
          <a:p>
            <a:pPr algn="ctr">
              <a:lnSpc>
                <a:spcPts val="3267"/>
              </a:lnSpc>
            </a:pPr>
            <a:r>
              <a:rPr lang="en-US" sz="1600" b="1" dirty="0">
                <a:solidFill>
                  <a:srgbClr val="000000"/>
                </a:solidFill>
                <a:latin typeface="Roboto Bold"/>
                <a:ea typeface="Roboto Bold"/>
                <a:cs typeface="Roboto Bold"/>
                <a:sym typeface="Roboto Bold"/>
              </a:rPr>
              <a:t>International</a:t>
            </a:r>
          </a:p>
          <a:p>
            <a:pPr algn="ctr">
              <a:lnSpc>
                <a:spcPts val="3267"/>
              </a:lnSpc>
              <a:spcBef>
                <a:spcPct val="0"/>
              </a:spcBef>
            </a:pPr>
            <a:r>
              <a:rPr lang="en-US" sz="1600" b="1" dirty="0">
                <a:solidFill>
                  <a:srgbClr val="000000"/>
                </a:solidFill>
                <a:latin typeface="Roboto Bold"/>
                <a:ea typeface="Roboto Bold"/>
                <a:cs typeface="Roboto Bold"/>
                <a:sym typeface="Roboto Bold"/>
              </a:rPr>
              <a:t>Organizations</a:t>
            </a:r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946231DD-C1E8-E8FD-03B1-EA93C3BA36CE}"/>
              </a:ext>
            </a:extLst>
          </p:cNvPr>
          <p:cNvSpPr txBox="1"/>
          <p:nvPr/>
        </p:nvSpPr>
        <p:spPr>
          <a:xfrm>
            <a:off x="6834018" y="3088443"/>
            <a:ext cx="1821316" cy="140423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800"/>
              </a:lnSpc>
            </a:pPr>
            <a:r>
              <a:rPr lang="en-US" sz="1600" b="1" dirty="0">
                <a:solidFill>
                  <a:srgbClr val="000000"/>
                </a:solidFill>
                <a:latin typeface="Roboto Bold"/>
                <a:ea typeface="Roboto Bold"/>
                <a:cs typeface="Roboto Bold"/>
                <a:sym typeface="Roboto Bold"/>
              </a:rPr>
              <a:t>Private Sector</a:t>
            </a:r>
          </a:p>
          <a:p>
            <a:pPr algn="ctr">
              <a:lnSpc>
                <a:spcPts val="2800"/>
              </a:lnSpc>
            </a:pPr>
            <a:r>
              <a:rPr lang="en-US" sz="1600" b="1" dirty="0">
                <a:solidFill>
                  <a:srgbClr val="000000"/>
                </a:solidFill>
                <a:latin typeface="Roboto Bold"/>
                <a:ea typeface="Roboto Bold"/>
                <a:cs typeface="Roboto Bold"/>
                <a:sym typeface="Roboto Bold"/>
              </a:rPr>
              <a:t>Civil Society</a:t>
            </a:r>
          </a:p>
          <a:p>
            <a:pPr algn="ctr">
              <a:lnSpc>
                <a:spcPts val="2800"/>
              </a:lnSpc>
            </a:pPr>
            <a:r>
              <a:rPr lang="en-US" sz="1600" b="1" dirty="0">
                <a:solidFill>
                  <a:srgbClr val="000000"/>
                </a:solidFill>
                <a:latin typeface="Roboto Bold"/>
                <a:ea typeface="Roboto Bold"/>
                <a:cs typeface="Roboto Bold"/>
                <a:sym typeface="Roboto Bold"/>
              </a:rPr>
              <a:t>Tech Community</a:t>
            </a:r>
          </a:p>
          <a:p>
            <a:pPr algn="ctr">
              <a:lnSpc>
                <a:spcPts val="2800"/>
              </a:lnSpc>
              <a:spcBef>
                <a:spcPct val="0"/>
              </a:spcBef>
            </a:pPr>
            <a:r>
              <a:rPr lang="en-US" sz="1600" b="1" dirty="0">
                <a:solidFill>
                  <a:srgbClr val="000000"/>
                </a:solidFill>
                <a:latin typeface="Roboto Bold"/>
                <a:ea typeface="Roboto Bold"/>
                <a:cs typeface="Roboto Bold"/>
                <a:sym typeface="Roboto Bold"/>
              </a:rPr>
              <a:t>Academia</a:t>
            </a:r>
          </a:p>
        </p:txBody>
      </p:sp>
    </p:spTree>
    <p:extLst>
      <p:ext uri="{BB962C8B-B14F-4D97-AF65-F5344CB8AC3E}">
        <p14:creationId xmlns:p14="http://schemas.microsoft.com/office/powerpoint/2010/main" val="38426022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A13BE6-CD49-CFBB-C73D-D5969B0D20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479493"/>
            <a:ext cx="5257800" cy="1325563"/>
          </a:xfrm>
        </p:spPr>
        <p:txBody>
          <a:bodyPr>
            <a:normAutofit/>
          </a:bodyPr>
          <a:lstStyle/>
          <a:p>
            <a:r>
              <a:rPr lang="en-US" dirty="0"/>
              <a:t>Global Digital Compact</a:t>
            </a:r>
            <a:endParaRPr lang="fr-CH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EA556EB2-7C43-A0B0-23A9-FAEB09701C4B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838201" y="1984443"/>
          <a:ext cx="5257800" cy="4192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07BA17F4-F11C-68D9-C364-CC13D941DEF3}"/>
              </a:ext>
            </a:extLst>
          </p:cNvPr>
          <p:cNvSpPr txBox="1"/>
          <p:nvPr/>
        </p:nvSpPr>
        <p:spPr>
          <a:xfrm>
            <a:off x="7264203" y="2372543"/>
            <a:ext cx="3518909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>
                <a:solidFill>
                  <a:schemeClr val="tx2"/>
                </a:solidFill>
              </a:rPr>
              <a:t>Vision</a:t>
            </a:r>
          </a:p>
          <a:p>
            <a:r>
              <a:rPr lang="en-US" b="1" dirty="0">
                <a:solidFill>
                  <a:schemeClr val="tx2"/>
                </a:solidFill>
              </a:rPr>
              <a:t>Principles and objectives for strengthened digital cooperation.</a:t>
            </a:r>
          </a:p>
          <a:p>
            <a:endParaRPr lang="en-US" b="1" dirty="0">
              <a:solidFill>
                <a:schemeClr val="tx2"/>
              </a:solidFill>
            </a:endParaRPr>
          </a:p>
          <a:p>
            <a:r>
              <a:rPr lang="en-US" i="1" dirty="0">
                <a:solidFill>
                  <a:schemeClr val="tx2"/>
                </a:solidFill>
              </a:rPr>
              <a:t>Action</a:t>
            </a:r>
          </a:p>
          <a:p>
            <a:r>
              <a:rPr lang="en-US" b="1" dirty="0">
                <a:solidFill>
                  <a:schemeClr val="tx2"/>
                </a:solidFill>
              </a:rPr>
              <a:t>Concrete commitments &amp; actions by Governments &amp; stakeholders.</a:t>
            </a:r>
          </a:p>
          <a:p>
            <a:endParaRPr lang="en-US" b="1" dirty="0">
              <a:solidFill>
                <a:schemeClr val="tx2"/>
              </a:solidFill>
            </a:endParaRPr>
          </a:p>
          <a:p>
            <a:r>
              <a:rPr lang="en-US" i="1" dirty="0">
                <a:solidFill>
                  <a:schemeClr val="tx2"/>
                </a:solidFill>
              </a:rPr>
              <a:t>Follow up</a:t>
            </a:r>
          </a:p>
          <a:p>
            <a:r>
              <a:rPr lang="en-US" b="1" dirty="0">
                <a:solidFill>
                  <a:schemeClr val="tx2"/>
                </a:solidFill>
              </a:rPr>
              <a:t>Implementation actions and high-level review (2027). </a:t>
            </a:r>
          </a:p>
          <a:p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6463965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1BA204-1538-A0C2-52CB-F53FD2CD1D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BBE4F41-9B1E-CB25-D849-ACB5CD769E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80054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BE4F41-9B1E-CB25-D849-ACB5CD769E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E12E4A4-5ECE-3DD6-189F-D7F16CA775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6149" y="407418"/>
            <a:ext cx="8724972" cy="686935"/>
          </a:xfrm>
        </p:spPr>
        <p:txBody>
          <a:bodyPr vert="horz"/>
          <a:lstStyle/>
          <a:p>
            <a:r>
              <a:rPr lang="en-US" dirty="0">
                <a:ea typeface="Roboto"/>
                <a:cs typeface="Roboto"/>
              </a:rPr>
              <a:t>Principles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B14701-E6F8-3AE3-A0E1-A1E534F5F93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ffice for Digital and Emerging Technologi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897592-8F2F-411F-6CDE-ECB648A3BCB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5EDD575-C673-CF4D-BF44-B5D5410D0CFA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58E104E-8D26-B897-631C-62DCD6AD074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78643" y="1485899"/>
            <a:ext cx="3429000" cy="3771900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>
                <a:ea typeface="Roboto"/>
                <a:cs typeface="Roboto"/>
              </a:rPr>
              <a:t>Inclusive</a:t>
            </a:r>
          </a:p>
          <a:p>
            <a:r>
              <a:rPr lang="en-US">
                <a:ea typeface="Roboto"/>
                <a:cs typeface="Roboto"/>
              </a:rPr>
              <a:t>Development-oriented</a:t>
            </a:r>
          </a:p>
          <a:p>
            <a:r>
              <a:rPr lang="en-US">
                <a:ea typeface="Roboto"/>
                <a:cs typeface="Roboto"/>
              </a:rPr>
              <a:t>Human rights-based</a:t>
            </a:r>
          </a:p>
          <a:p>
            <a:r>
              <a:rPr lang="en-US">
                <a:ea typeface="Roboto"/>
                <a:cs typeface="Roboto"/>
              </a:rPr>
              <a:t>Gender empowering</a:t>
            </a:r>
          </a:p>
          <a:p>
            <a:r>
              <a:rPr lang="en-US">
                <a:ea typeface="Roboto"/>
                <a:cs typeface="Roboto"/>
              </a:rPr>
              <a:t>Sustainable</a:t>
            </a:r>
          </a:p>
          <a:p>
            <a:r>
              <a:rPr lang="en-US">
                <a:ea typeface="Roboto"/>
                <a:cs typeface="Roboto"/>
              </a:rPr>
              <a:t>Equitable</a:t>
            </a:r>
          </a:p>
          <a:p>
            <a:r>
              <a:rPr lang="en-US">
                <a:ea typeface="Roboto"/>
                <a:cs typeface="Roboto"/>
              </a:rPr>
              <a:t>Accessible</a:t>
            </a:r>
          </a:p>
          <a:p>
            <a:endParaRPr lang="en-US">
              <a:ea typeface="Roboto"/>
              <a:cs typeface="Roboto"/>
            </a:endParaRP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B4A57D1B-2BF5-F3A4-114C-07AEC9E8E35F}"/>
              </a:ext>
            </a:extLst>
          </p:cNvPr>
          <p:cNvSpPr txBox="1">
            <a:spLocks/>
          </p:cNvSpPr>
          <p:nvPr/>
        </p:nvSpPr>
        <p:spPr>
          <a:xfrm>
            <a:off x="6783614" y="1493156"/>
            <a:ext cx="5410200" cy="37719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1600"/>
              </a:spcBef>
              <a:buClr>
                <a:schemeClr val="accent1"/>
              </a:buClr>
              <a:buFont typeface="Arial" panose="020B0604020202020204" pitchFamily="34" charset="0"/>
              <a:buNone/>
              <a:defRPr sz="2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7331" indent="-279393" algn="l" defTabSz="914377" rtl="0" eaLnBrk="1" latinLnBrk="0" hangingPunct="1">
              <a:lnSpc>
                <a:spcPct val="110000"/>
              </a:lnSpc>
              <a:spcBef>
                <a:spcPts val="800"/>
              </a:spcBef>
              <a:buClr>
                <a:schemeClr val="accent1"/>
              </a:buClr>
              <a:buFont typeface="System Font Regular"/>
              <a:buChar char="⁃"/>
              <a:tabLst/>
              <a:defRPr sz="22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4660" indent="-287331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20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1992" indent="-287331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System Font Regular"/>
              <a:buChar char="⁃"/>
              <a:tabLst/>
              <a:defRPr sz="18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60443" indent="-342891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6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ea typeface="Roboto"/>
                <a:cs typeface="Roboto"/>
              </a:rPr>
              <a:t>Interoperable</a:t>
            </a:r>
          </a:p>
          <a:p>
            <a:r>
              <a:rPr lang="en-US">
                <a:ea typeface="Roboto"/>
                <a:cs typeface="Roboto"/>
              </a:rPr>
              <a:t>Responsible</a:t>
            </a:r>
          </a:p>
          <a:p>
            <a:r>
              <a:rPr lang="en-US">
                <a:ea typeface="Roboto"/>
                <a:cs typeface="Roboto"/>
              </a:rPr>
              <a:t>Innovation-friendly</a:t>
            </a:r>
          </a:p>
          <a:p>
            <a:r>
              <a:rPr lang="en-US">
                <a:ea typeface="Roboto"/>
                <a:cs typeface="Roboto"/>
              </a:rPr>
              <a:t>Multistakeholder</a:t>
            </a:r>
          </a:p>
          <a:p>
            <a:r>
              <a:rPr lang="en-US">
                <a:ea typeface="Roboto"/>
                <a:cs typeface="Roboto"/>
              </a:rPr>
              <a:t>Implementation-directed</a:t>
            </a:r>
          </a:p>
          <a:p>
            <a:r>
              <a:rPr lang="en-US">
                <a:ea typeface="Roboto"/>
                <a:cs typeface="Roboto"/>
              </a:rPr>
              <a:t>Future-oriented</a:t>
            </a:r>
          </a:p>
          <a:p>
            <a:endParaRPr lang="en-US">
              <a:ea typeface="Roboto"/>
              <a:cs typeface="Roboto"/>
            </a:endParaRPr>
          </a:p>
        </p:txBody>
      </p:sp>
      <p:pic>
        <p:nvPicPr>
          <p:cNvPr id="15" name="Picture 14" descr="A blue outline of hands holding a square&#10;&#10;Description automatically generated">
            <a:extLst>
              <a:ext uri="{FF2B5EF4-FFF2-40B4-BE49-F238E27FC236}">
                <a16:creationId xmlns:a16="http://schemas.microsoft.com/office/drawing/2014/main" id="{2491A947-AB26-3D9D-CF36-6A5FF4F68FD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6085" y="1480457"/>
            <a:ext cx="429546" cy="384632"/>
          </a:xfrm>
          <a:prstGeom prst="rect">
            <a:avLst/>
          </a:prstGeom>
        </p:spPr>
      </p:pic>
      <p:pic>
        <p:nvPicPr>
          <p:cNvPr id="16" name="Picture 15" descr="A light bulb with a puzzle piece&#10;&#10;Description automatically generated">
            <a:extLst>
              <a:ext uri="{FF2B5EF4-FFF2-40B4-BE49-F238E27FC236}">
                <a16:creationId xmlns:a16="http://schemas.microsoft.com/office/drawing/2014/main" id="{CB622FEB-5D47-01B6-2CD9-8D5550A5039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8477" y="2053770"/>
            <a:ext cx="384760" cy="384632"/>
          </a:xfrm>
          <a:prstGeom prst="rect">
            <a:avLst/>
          </a:prstGeom>
        </p:spPr>
      </p:pic>
      <p:pic>
        <p:nvPicPr>
          <p:cNvPr id="17" name="Picture 16" descr="A blue outline of a group of people in a hands&#10;&#10;Description automatically generated">
            <a:extLst>
              <a:ext uri="{FF2B5EF4-FFF2-40B4-BE49-F238E27FC236}">
                <a16:creationId xmlns:a16="http://schemas.microsoft.com/office/drawing/2014/main" id="{77CF0144-F18F-44CE-A43E-15FF2162B7F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3317" y="2612569"/>
            <a:ext cx="395077" cy="384632"/>
          </a:xfrm>
          <a:prstGeom prst="rect">
            <a:avLst/>
          </a:prstGeom>
        </p:spPr>
      </p:pic>
      <p:pic>
        <p:nvPicPr>
          <p:cNvPr id="18" name="Picture 17" descr="A blue and black symbol&#10;&#10;Description automatically generated">
            <a:extLst>
              <a:ext uri="{FF2B5EF4-FFF2-40B4-BE49-F238E27FC236}">
                <a16:creationId xmlns:a16="http://schemas.microsoft.com/office/drawing/2014/main" id="{B9BB12D5-21CB-7822-8BA5-145F10A00D8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1562" y="3171369"/>
            <a:ext cx="338588" cy="384632"/>
          </a:xfrm>
          <a:prstGeom prst="rect">
            <a:avLst/>
          </a:prstGeom>
        </p:spPr>
      </p:pic>
      <p:pic>
        <p:nvPicPr>
          <p:cNvPr id="19" name="Picture 18" descr="A blue outline of a globe in hands&#10;&#10;Description automatically generated">
            <a:extLst>
              <a:ext uri="{FF2B5EF4-FFF2-40B4-BE49-F238E27FC236}">
                <a16:creationId xmlns:a16="http://schemas.microsoft.com/office/drawing/2014/main" id="{DA46FE31-DF49-6935-5C06-07AFF414633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56084" y="3775103"/>
            <a:ext cx="429546" cy="367336"/>
          </a:xfrm>
          <a:prstGeom prst="rect">
            <a:avLst/>
          </a:prstGeom>
        </p:spPr>
      </p:pic>
      <p:pic>
        <p:nvPicPr>
          <p:cNvPr id="20" name="Picture 19" descr="A blue line drawing of people on a scale&#10;&#10;Description automatically generated">
            <a:extLst>
              <a:ext uri="{FF2B5EF4-FFF2-40B4-BE49-F238E27FC236}">
                <a16:creationId xmlns:a16="http://schemas.microsoft.com/office/drawing/2014/main" id="{19645F4A-0F88-FFEF-32CD-5FF158FE9B8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78477" y="4325255"/>
            <a:ext cx="384760" cy="384632"/>
          </a:xfrm>
          <a:prstGeom prst="rect">
            <a:avLst/>
          </a:prstGeom>
        </p:spPr>
      </p:pic>
      <p:pic>
        <p:nvPicPr>
          <p:cNvPr id="21" name="Picture 20" descr="A blue hand with a black background&#10;&#10;Description automatically generated">
            <a:extLst>
              <a:ext uri="{FF2B5EF4-FFF2-40B4-BE49-F238E27FC236}">
                <a16:creationId xmlns:a16="http://schemas.microsoft.com/office/drawing/2014/main" id="{FD9313C0-1F3D-6C44-3512-C8227FEC05E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95233" y="4862284"/>
            <a:ext cx="351247" cy="384632"/>
          </a:xfrm>
          <a:prstGeom prst="rect">
            <a:avLst/>
          </a:prstGeom>
        </p:spPr>
      </p:pic>
      <p:pic>
        <p:nvPicPr>
          <p:cNvPr id="22" name="Picture 21" descr="A blue and black logo&#10;&#10;Description automatically generated">
            <a:extLst>
              <a:ext uri="{FF2B5EF4-FFF2-40B4-BE49-F238E27FC236}">
                <a16:creationId xmlns:a16="http://schemas.microsoft.com/office/drawing/2014/main" id="{593F0BFB-4A07-AE5D-E461-D09D75472FE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903750" y="1494970"/>
            <a:ext cx="384500" cy="384632"/>
          </a:xfrm>
          <a:prstGeom prst="rect">
            <a:avLst/>
          </a:prstGeom>
        </p:spPr>
      </p:pic>
      <p:pic>
        <p:nvPicPr>
          <p:cNvPr id="23" name="Picture 22" descr="A group of people with a light bulb&#10;&#10;Description automatically generated">
            <a:extLst>
              <a:ext uri="{FF2B5EF4-FFF2-40B4-BE49-F238E27FC236}">
                <a16:creationId xmlns:a16="http://schemas.microsoft.com/office/drawing/2014/main" id="{359752CC-FD34-A95E-8BCB-8E1FA018B65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930191" y="2068283"/>
            <a:ext cx="331615" cy="384632"/>
          </a:xfrm>
          <a:prstGeom prst="rect">
            <a:avLst/>
          </a:prstGeom>
        </p:spPr>
      </p:pic>
      <p:pic>
        <p:nvPicPr>
          <p:cNvPr id="24" name="Picture 23" descr="A blue line drawing of a rocket&#10;&#10;Description automatically generated">
            <a:extLst>
              <a:ext uri="{FF2B5EF4-FFF2-40B4-BE49-F238E27FC236}">
                <a16:creationId xmlns:a16="http://schemas.microsoft.com/office/drawing/2014/main" id="{55604426-E8D3-EC63-5E29-375CE3A7BE18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903683" y="2627084"/>
            <a:ext cx="384632" cy="384632"/>
          </a:xfrm>
          <a:prstGeom prst="rect">
            <a:avLst/>
          </a:prstGeom>
        </p:spPr>
      </p:pic>
      <p:pic>
        <p:nvPicPr>
          <p:cNvPr id="25" name="Picture 24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DB06358D-C48C-CF51-5B9D-552376AF5534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881226" y="3200541"/>
            <a:ext cx="429546" cy="355317"/>
          </a:xfrm>
          <a:prstGeom prst="rect">
            <a:avLst/>
          </a:prstGeom>
        </p:spPr>
      </p:pic>
      <p:pic>
        <p:nvPicPr>
          <p:cNvPr id="26" name="Picture 25" descr="A blue and black clipboard with a check mark&#10;&#10;Description automatically generated">
            <a:extLst>
              <a:ext uri="{FF2B5EF4-FFF2-40B4-BE49-F238E27FC236}">
                <a16:creationId xmlns:a16="http://schemas.microsoft.com/office/drawing/2014/main" id="{E7121D89-773A-10F7-DFFE-AA56BED7CCE7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952902" y="3773712"/>
            <a:ext cx="286196" cy="384632"/>
          </a:xfrm>
          <a:prstGeom prst="rect">
            <a:avLst/>
          </a:prstGeom>
        </p:spPr>
      </p:pic>
      <p:pic>
        <p:nvPicPr>
          <p:cNvPr id="27" name="Picture 26" descr="A blue line drawing of a mountain peak&#10;&#10;Description automatically generated">
            <a:extLst>
              <a:ext uri="{FF2B5EF4-FFF2-40B4-BE49-F238E27FC236}">
                <a16:creationId xmlns:a16="http://schemas.microsoft.com/office/drawing/2014/main" id="{2437FBB9-CC30-E210-F139-CD0E295BB7C6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881227" y="4379232"/>
            <a:ext cx="429546" cy="305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08859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66195E0-D393-F0CE-E4DC-82D107A723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66195E0-D393-F0CE-E4DC-82D107A723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25ED69A-709B-4324-FB5E-A80DBF1A94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ea typeface="Roboto"/>
                <a:cs typeface="Roboto"/>
              </a:rPr>
              <a:t>Commitments and Action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B81657-EF07-D171-F0AE-31B1A02906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ffice for Digital and Emerging Technologi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460599-FA97-70F6-8049-52B7F3842E1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5EDD575-C673-CF4D-BF44-B5D5410D0CFA}" type="slidenum">
              <a:rPr lang="en-US" smtClean="0"/>
              <a:pPr/>
              <a:t>6</a:t>
            </a:fld>
            <a:endParaRPr lang="en-US"/>
          </a:p>
        </p:txBody>
      </p:sp>
      <p:pic>
        <p:nvPicPr>
          <p:cNvPr id="7" name="Picture 6" descr="A group of labels with text&#10;&#10;Description automatically generated">
            <a:extLst>
              <a:ext uri="{FF2B5EF4-FFF2-40B4-BE49-F238E27FC236}">
                <a16:creationId xmlns:a16="http://schemas.microsoft.com/office/drawing/2014/main" id="{1FD5B251-82E5-AD1F-9545-81ED082DB46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6154" y="1355901"/>
            <a:ext cx="11187165" cy="4631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7249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B871D8-255A-312F-5150-87CC2C70B8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A52E75AB-D2FF-CDDB-4492-4EF668177A2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2E75AB-D2FF-CDDB-4492-4EF668177A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257530-3145-9243-80BA-C091A31583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9372" y="407418"/>
            <a:ext cx="8745291" cy="655003"/>
          </a:xfrm>
        </p:spPr>
        <p:txBody>
          <a:bodyPr vert="horz"/>
          <a:lstStyle/>
          <a:p>
            <a:r>
              <a:rPr lang="en-US" dirty="0">
                <a:ea typeface="Roboto"/>
                <a:cs typeface="Roboto"/>
              </a:rPr>
              <a:t>Implementation Timelin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99500C-D526-15FA-3D17-569574D64D8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Office for Digital and Emerging Technologi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7CA84EF-0CA7-D386-E0B2-68D11E6F6C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5EDD575-C673-CF4D-BF44-B5D5410D0CFA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22" name="AutoShape 2">
            <a:extLst>
              <a:ext uri="{FF2B5EF4-FFF2-40B4-BE49-F238E27FC236}">
                <a16:creationId xmlns:a16="http://schemas.microsoft.com/office/drawing/2014/main" id="{F8A3D127-79FF-2120-8ECB-61A9BC8F3E9A}"/>
              </a:ext>
            </a:extLst>
          </p:cNvPr>
          <p:cNvSpPr/>
          <p:nvPr/>
        </p:nvSpPr>
        <p:spPr>
          <a:xfrm>
            <a:off x="3602931" y="3056888"/>
            <a:ext cx="840505" cy="0"/>
          </a:xfrm>
          <a:prstGeom prst="line">
            <a:avLst/>
          </a:prstGeom>
          <a:ln w="57150" cap="flat">
            <a:solidFill>
              <a:srgbClr val="3EDAD8"/>
            </a:solidFill>
            <a:prstDash val="solid"/>
            <a:headEnd type="none" w="sm" len="sm"/>
            <a:tailEnd type="none" w="sm" len="sm"/>
          </a:ln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KR" sz="800"/>
          </a:p>
        </p:txBody>
      </p:sp>
      <p:sp>
        <p:nvSpPr>
          <p:cNvPr id="24" name="AutoShape 3">
            <a:extLst>
              <a:ext uri="{FF2B5EF4-FFF2-40B4-BE49-F238E27FC236}">
                <a16:creationId xmlns:a16="http://schemas.microsoft.com/office/drawing/2014/main" id="{EF3D223A-BA15-1C47-E167-19C4394B6680}"/>
              </a:ext>
            </a:extLst>
          </p:cNvPr>
          <p:cNvSpPr/>
          <p:nvPr/>
        </p:nvSpPr>
        <p:spPr>
          <a:xfrm>
            <a:off x="5364843" y="3056888"/>
            <a:ext cx="857250" cy="0"/>
          </a:xfrm>
          <a:prstGeom prst="line">
            <a:avLst/>
          </a:prstGeom>
          <a:ln w="57150" cap="flat">
            <a:solidFill>
              <a:srgbClr val="18AFD6"/>
            </a:solidFill>
            <a:prstDash val="solid"/>
            <a:headEnd type="none" w="sm" len="sm"/>
            <a:tailEnd type="none" w="sm" len="sm"/>
          </a:ln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KR" sz="800"/>
          </a:p>
        </p:txBody>
      </p:sp>
      <p:sp>
        <p:nvSpPr>
          <p:cNvPr id="26" name="AutoShape 4">
            <a:extLst>
              <a:ext uri="{FF2B5EF4-FFF2-40B4-BE49-F238E27FC236}">
                <a16:creationId xmlns:a16="http://schemas.microsoft.com/office/drawing/2014/main" id="{8654F3B1-6166-ED1F-EC3B-AC24EF4124F9}"/>
              </a:ext>
            </a:extLst>
          </p:cNvPr>
          <p:cNvSpPr/>
          <p:nvPr/>
        </p:nvSpPr>
        <p:spPr>
          <a:xfrm>
            <a:off x="7143500" y="3056888"/>
            <a:ext cx="801070" cy="0"/>
          </a:xfrm>
          <a:prstGeom prst="line">
            <a:avLst/>
          </a:prstGeom>
          <a:ln w="57150" cap="flat">
            <a:solidFill>
              <a:srgbClr val="1C88CF"/>
            </a:solidFill>
            <a:prstDash val="solid"/>
            <a:headEnd type="none" w="sm" len="sm"/>
            <a:tailEnd type="none" w="sm" len="sm"/>
          </a:ln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KR" sz="800"/>
          </a:p>
        </p:txBody>
      </p:sp>
      <p:grpSp>
        <p:nvGrpSpPr>
          <p:cNvPr id="30" name="Group 5">
            <a:extLst>
              <a:ext uri="{FF2B5EF4-FFF2-40B4-BE49-F238E27FC236}">
                <a16:creationId xmlns:a16="http://schemas.microsoft.com/office/drawing/2014/main" id="{8BE54FA5-1FE6-F37B-9618-AEABD794EDCD}"/>
              </a:ext>
            </a:extLst>
          </p:cNvPr>
          <p:cNvGrpSpPr/>
          <p:nvPr/>
        </p:nvGrpSpPr>
        <p:grpSpPr>
          <a:xfrm>
            <a:off x="2681524" y="2615235"/>
            <a:ext cx="921407" cy="921407"/>
            <a:chOff x="0" y="0"/>
            <a:chExt cx="812800" cy="812800"/>
          </a:xfrm>
        </p:grpSpPr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14F95108-2AC1-DF2A-AD22-37770B838328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3EDAD8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KR" sz="800"/>
            </a:p>
          </p:txBody>
        </p:sp>
        <p:sp>
          <p:nvSpPr>
            <p:cNvPr id="29" name="TextBox 7">
              <a:extLst>
                <a:ext uri="{FF2B5EF4-FFF2-40B4-BE49-F238E27FC236}">
                  <a16:creationId xmlns:a16="http://schemas.microsoft.com/office/drawing/2014/main" id="{27B729B7-F551-77ED-B5EB-F2EFFE23B698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400"/>
                </a:lnSpc>
              </a:pPr>
              <a:endParaRPr sz="800"/>
            </a:p>
          </p:txBody>
        </p:sp>
      </p:grpSp>
      <p:grpSp>
        <p:nvGrpSpPr>
          <p:cNvPr id="34" name="Group 8">
            <a:extLst>
              <a:ext uri="{FF2B5EF4-FFF2-40B4-BE49-F238E27FC236}">
                <a16:creationId xmlns:a16="http://schemas.microsoft.com/office/drawing/2014/main" id="{9CFFC9D6-6508-AF0D-F88E-FE406C965081}"/>
              </a:ext>
            </a:extLst>
          </p:cNvPr>
          <p:cNvGrpSpPr/>
          <p:nvPr/>
        </p:nvGrpSpPr>
        <p:grpSpPr>
          <a:xfrm>
            <a:off x="4443436" y="2615235"/>
            <a:ext cx="921407" cy="921407"/>
            <a:chOff x="0" y="0"/>
            <a:chExt cx="812800" cy="812800"/>
          </a:xfrm>
        </p:grpSpPr>
        <p:sp>
          <p:nvSpPr>
            <p:cNvPr id="32" name="Freeform 9">
              <a:extLst>
                <a:ext uri="{FF2B5EF4-FFF2-40B4-BE49-F238E27FC236}">
                  <a16:creationId xmlns:a16="http://schemas.microsoft.com/office/drawing/2014/main" id="{F8262BC9-1A97-2DBA-303C-469BA760044D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37C9EF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KR" sz="800"/>
            </a:p>
          </p:txBody>
        </p:sp>
        <p:sp>
          <p:nvSpPr>
            <p:cNvPr id="33" name="TextBox 10">
              <a:extLst>
                <a:ext uri="{FF2B5EF4-FFF2-40B4-BE49-F238E27FC236}">
                  <a16:creationId xmlns:a16="http://schemas.microsoft.com/office/drawing/2014/main" id="{A28CA93A-3F90-3AED-377F-F16AC4E6C3E4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400"/>
                </a:lnSpc>
              </a:pPr>
              <a:endParaRPr sz="800"/>
            </a:p>
          </p:txBody>
        </p:sp>
      </p:grpSp>
      <p:grpSp>
        <p:nvGrpSpPr>
          <p:cNvPr id="38" name="Group 11">
            <a:extLst>
              <a:ext uri="{FF2B5EF4-FFF2-40B4-BE49-F238E27FC236}">
                <a16:creationId xmlns:a16="http://schemas.microsoft.com/office/drawing/2014/main" id="{C2759DB5-1CBC-065B-C8BA-8021C27BA951}"/>
              </a:ext>
            </a:extLst>
          </p:cNvPr>
          <p:cNvGrpSpPr/>
          <p:nvPr/>
        </p:nvGrpSpPr>
        <p:grpSpPr>
          <a:xfrm>
            <a:off x="6222093" y="2615235"/>
            <a:ext cx="921407" cy="921407"/>
            <a:chOff x="0" y="0"/>
            <a:chExt cx="812800" cy="812800"/>
          </a:xfrm>
        </p:grpSpPr>
        <p:sp>
          <p:nvSpPr>
            <p:cNvPr id="36" name="Freeform 12">
              <a:extLst>
                <a:ext uri="{FF2B5EF4-FFF2-40B4-BE49-F238E27FC236}">
                  <a16:creationId xmlns:a16="http://schemas.microsoft.com/office/drawing/2014/main" id="{2FEC8815-6641-E708-BA33-B1C1F61D9D73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18AFD6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KR" sz="800"/>
            </a:p>
          </p:txBody>
        </p:sp>
        <p:sp>
          <p:nvSpPr>
            <p:cNvPr id="37" name="TextBox 13">
              <a:extLst>
                <a:ext uri="{FF2B5EF4-FFF2-40B4-BE49-F238E27FC236}">
                  <a16:creationId xmlns:a16="http://schemas.microsoft.com/office/drawing/2014/main" id="{8C7A0217-1C09-5760-6C78-9A438CAB11ED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400"/>
                </a:lnSpc>
              </a:pPr>
              <a:endParaRPr sz="800"/>
            </a:p>
          </p:txBody>
        </p:sp>
      </p:grpSp>
      <p:grpSp>
        <p:nvGrpSpPr>
          <p:cNvPr id="42" name="Group 14">
            <a:extLst>
              <a:ext uri="{FF2B5EF4-FFF2-40B4-BE49-F238E27FC236}">
                <a16:creationId xmlns:a16="http://schemas.microsoft.com/office/drawing/2014/main" id="{2721C83D-FAE4-7933-0A71-2CE550C1AD90}"/>
              </a:ext>
            </a:extLst>
          </p:cNvPr>
          <p:cNvGrpSpPr/>
          <p:nvPr/>
        </p:nvGrpSpPr>
        <p:grpSpPr>
          <a:xfrm>
            <a:off x="7944570" y="2615235"/>
            <a:ext cx="921407" cy="921407"/>
            <a:chOff x="0" y="0"/>
            <a:chExt cx="812800" cy="812800"/>
          </a:xfrm>
        </p:grpSpPr>
        <p:sp>
          <p:nvSpPr>
            <p:cNvPr id="40" name="Freeform 15">
              <a:extLst>
                <a:ext uri="{FF2B5EF4-FFF2-40B4-BE49-F238E27FC236}">
                  <a16:creationId xmlns:a16="http://schemas.microsoft.com/office/drawing/2014/main" id="{8BD47A4C-5119-085F-7004-95A3569EAED8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1C88CF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KR" sz="800"/>
            </a:p>
          </p:txBody>
        </p:sp>
        <p:sp>
          <p:nvSpPr>
            <p:cNvPr id="41" name="TextBox 16">
              <a:extLst>
                <a:ext uri="{FF2B5EF4-FFF2-40B4-BE49-F238E27FC236}">
                  <a16:creationId xmlns:a16="http://schemas.microsoft.com/office/drawing/2014/main" id="{FC972C6B-D1C6-4A71-7DC1-2D638FBC380E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400"/>
                </a:lnSpc>
              </a:pPr>
              <a:endParaRPr sz="800"/>
            </a:p>
          </p:txBody>
        </p:sp>
      </p:grpSp>
      <p:sp>
        <p:nvSpPr>
          <p:cNvPr id="44" name="TextBox 17">
            <a:extLst>
              <a:ext uri="{FF2B5EF4-FFF2-40B4-BE49-F238E27FC236}">
                <a16:creationId xmlns:a16="http://schemas.microsoft.com/office/drawing/2014/main" id="{52FB6BF1-F1DD-7688-7E8B-48CF735C019A}"/>
              </a:ext>
            </a:extLst>
          </p:cNvPr>
          <p:cNvSpPr txBox="1"/>
          <p:nvPr/>
        </p:nvSpPr>
        <p:spPr>
          <a:xfrm>
            <a:off x="2462366" y="1467882"/>
            <a:ext cx="1379699" cy="4889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999"/>
              </a:lnSpc>
            </a:pPr>
            <a:r>
              <a:rPr lang="en-US" sz="1333" spc="19">
                <a:solidFill>
                  <a:srgbClr val="191919"/>
                </a:solidFill>
                <a:latin typeface="Roboto"/>
                <a:ea typeface="Roboto"/>
                <a:cs typeface="Roboto"/>
                <a:sym typeface="Roboto"/>
              </a:rPr>
              <a:t>Compact open for endorsement</a:t>
            </a:r>
          </a:p>
        </p:txBody>
      </p:sp>
      <p:sp>
        <p:nvSpPr>
          <p:cNvPr id="46" name="TextBox 18">
            <a:extLst>
              <a:ext uri="{FF2B5EF4-FFF2-40B4-BE49-F238E27FC236}">
                <a16:creationId xmlns:a16="http://schemas.microsoft.com/office/drawing/2014/main" id="{F6B232B9-794E-0116-FCA2-6A6A392AB513}"/>
              </a:ext>
            </a:extLst>
          </p:cNvPr>
          <p:cNvSpPr txBox="1"/>
          <p:nvPr/>
        </p:nvSpPr>
        <p:spPr>
          <a:xfrm>
            <a:off x="2463971" y="3791409"/>
            <a:ext cx="1361548" cy="30457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080"/>
              </a:lnSpc>
            </a:pPr>
            <a:r>
              <a:rPr lang="en-US" sz="3200" b="1">
                <a:solidFill>
                  <a:srgbClr val="191919"/>
                </a:solidFill>
                <a:latin typeface="Roboto Bold"/>
                <a:ea typeface="Roboto Bold"/>
                <a:cs typeface="Roboto Bold"/>
                <a:sym typeface="Roboto Bold"/>
              </a:rPr>
              <a:t>2024</a:t>
            </a:r>
          </a:p>
        </p:txBody>
      </p:sp>
      <p:sp>
        <p:nvSpPr>
          <p:cNvPr id="48" name="TextBox 19">
            <a:extLst>
              <a:ext uri="{FF2B5EF4-FFF2-40B4-BE49-F238E27FC236}">
                <a16:creationId xmlns:a16="http://schemas.microsoft.com/office/drawing/2014/main" id="{F97C45B4-3335-2654-D699-AC0C8C9DA281}"/>
              </a:ext>
            </a:extLst>
          </p:cNvPr>
          <p:cNvSpPr txBox="1"/>
          <p:nvPr/>
        </p:nvSpPr>
        <p:spPr>
          <a:xfrm>
            <a:off x="4223364" y="1183407"/>
            <a:ext cx="1361548" cy="100457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999"/>
              </a:lnSpc>
            </a:pPr>
            <a:r>
              <a:rPr lang="en-US" sz="1333" spc="19">
                <a:solidFill>
                  <a:srgbClr val="191919"/>
                </a:solidFill>
                <a:latin typeface="Roboto"/>
                <a:ea typeface="Roboto"/>
                <a:cs typeface="Roboto"/>
                <a:sym typeface="Roboto"/>
              </a:rPr>
              <a:t>Compact implementation map &amp; endorsements</a:t>
            </a:r>
          </a:p>
        </p:txBody>
      </p:sp>
      <p:sp>
        <p:nvSpPr>
          <p:cNvPr id="50" name="TextBox 20">
            <a:extLst>
              <a:ext uri="{FF2B5EF4-FFF2-40B4-BE49-F238E27FC236}">
                <a16:creationId xmlns:a16="http://schemas.microsoft.com/office/drawing/2014/main" id="{5BE28083-5353-EE27-E36C-EBEFCCA453A7}"/>
              </a:ext>
            </a:extLst>
          </p:cNvPr>
          <p:cNvSpPr txBox="1"/>
          <p:nvPr/>
        </p:nvSpPr>
        <p:spPr>
          <a:xfrm>
            <a:off x="5112912" y="3791409"/>
            <a:ext cx="1361548" cy="30457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080"/>
              </a:lnSpc>
            </a:pPr>
            <a:r>
              <a:rPr lang="en-US" sz="3200" b="1">
                <a:solidFill>
                  <a:srgbClr val="191919"/>
                </a:solidFill>
                <a:latin typeface="Roboto Bold"/>
                <a:ea typeface="Roboto Bold"/>
                <a:cs typeface="Roboto Bold"/>
                <a:sym typeface="Roboto Bold"/>
              </a:rPr>
              <a:t>2025</a:t>
            </a:r>
            <a:endParaRPr lang="en-US" sz="3200" b="1">
              <a:solidFill>
                <a:srgbClr val="191919"/>
              </a:solidFill>
              <a:latin typeface="Roboto Bold"/>
              <a:ea typeface="Roboto Bold"/>
              <a:cs typeface="Roboto Bold"/>
            </a:endParaRPr>
          </a:p>
        </p:txBody>
      </p:sp>
      <p:sp>
        <p:nvSpPr>
          <p:cNvPr id="52" name="TextBox 21">
            <a:extLst>
              <a:ext uri="{FF2B5EF4-FFF2-40B4-BE49-F238E27FC236}">
                <a16:creationId xmlns:a16="http://schemas.microsoft.com/office/drawing/2014/main" id="{2C2A808C-C96E-8242-A337-92F71AC353A0}"/>
              </a:ext>
            </a:extLst>
          </p:cNvPr>
          <p:cNvSpPr txBox="1"/>
          <p:nvPr/>
        </p:nvSpPr>
        <p:spPr>
          <a:xfrm>
            <a:off x="5994552" y="1467881"/>
            <a:ext cx="1361548" cy="49160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999"/>
              </a:lnSpc>
            </a:pPr>
            <a:r>
              <a:rPr lang="en-US" sz="1333" spc="19" dirty="0">
                <a:solidFill>
                  <a:srgbClr val="191919"/>
                </a:solidFill>
                <a:latin typeface="Roboto"/>
                <a:ea typeface="Roboto"/>
                <a:cs typeface="Roboto"/>
                <a:sym typeface="Roboto"/>
              </a:rPr>
              <a:t>AI modalities &amp; WSIS+20 Review</a:t>
            </a:r>
          </a:p>
        </p:txBody>
      </p:sp>
      <p:sp>
        <p:nvSpPr>
          <p:cNvPr id="54" name="TextBox 22">
            <a:extLst>
              <a:ext uri="{FF2B5EF4-FFF2-40B4-BE49-F238E27FC236}">
                <a16:creationId xmlns:a16="http://schemas.microsoft.com/office/drawing/2014/main" id="{764AD4EE-EF46-412A-1844-F5BA1029B61F}"/>
              </a:ext>
            </a:extLst>
          </p:cNvPr>
          <p:cNvSpPr txBox="1"/>
          <p:nvPr/>
        </p:nvSpPr>
        <p:spPr>
          <a:xfrm>
            <a:off x="7715673" y="1601759"/>
            <a:ext cx="1394143" cy="4889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999"/>
              </a:lnSpc>
            </a:pPr>
            <a:r>
              <a:rPr lang="en-US" sz="1333" spc="19">
                <a:solidFill>
                  <a:srgbClr val="191919"/>
                </a:solidFill>
                <a:latin typeface="Roboto"/>
                <a:ea typeface="Roboto"/>
                <a:cs typeface="Roboto"/>
                <a:sym typeface="Roboto"/>
              </a:rPr>
              <a:t>High-Level Review</a:t>
            </a:r>
          </a:p>
        </p:txBody>
      </p:sp>
      <p:sp>
        <p:nvSpPr>
          <p:cNvPr id="56" name="TextBox 23">
            <a:extLst>
              <a:ext uri="{FF2B5EF4-FFF2-40B4-BE49-F238E27FC236}">
                <a16:creationId xmlns:a16="http://schemas.microsoft.com/office/drawing/2014/main" id="{55E274A6-0697-FB4F-5CA0-9032E4318A2E}"/>
              </a:ext>
            </a:extLst>
          </p:cNvPr>
          <p:cNvSpPr txBox="1"/>
          <p:nvPr/>
        </p:nvSpPr>
        <p:spPr>
          <a:xfrm>
            <a:off x="7761853" y="3791409"/>
            <a:ext cx="1361548" cy="30457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080"/>
              </a:lnSpc>
            </a:pPr>
            <a:r>
              <a:rPr lang="en-US" sz="3200" b="1">
                <a:solidFill>
                  <a:srgbClr val="191919"/>
                </a:solidFill>
                <a:latin typeface="Roboto Bold"/>
                <a:ea typeface="Roboto Bold"/>
                <a:cs typeface="Roboto Bold"/>
                <a:sym typeface="Roboto Bold"/>
              </a:rPr>
              <a:t>2027</a:t>
            </a:r>
            <a:endParaRPr lang="en-US" sz="3200" b="1">
              <a:solidFill>
                <a:srgbClr val="191919"/>
              </a:solidFill>
              <a:latin typeface="Roboto Bold"/>
              <a:ea typeface="Roboto Bold"/>
              <a:cs typeface="Roboto Bold"/>
            </a:endParaRPr>
          </a:p>
        </p:txBody>
      </p:sp>
      <p:sp>
        <p:nvSpPr>
          <p:cNvPr id="58" name="TextBox 27">
            <a:extLst>
              <a:ext uri="{FF2B5EF4-FFF2-40B4-BE49-F238E27FC236}">
                <a16:creationId xmlns:a16="http://schemas.microsoft.com/office/drawing/2014/main" id="{9515934B-2571-210F-8B10-7CFE49E17B48}"/>
              </a:ext>
            </a:extLst>
          </p:cNvPr>
          <p:cNvSpPr txBox="1"/>
          <p:nvPr/>
        </p:nvSpPr>
        <p:spPr>
          <a:xfrm>
            <a:off x="2859088" y="2821939"/>
            <a:ext cx="553343" cy="40395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3500"/>
              </a:lnSpc>
              <a:spcBef>
                <a:spcPct val="0"/>
              </a:spcBef>
            </a:pPr>
            <a:r>
              <a:rPr lang="en-US" sz="2000" b="1" spc="35">
                <a:solidFill>
                  <a:srgbClr val="191919"/>
                </a:solidFill>
                <a:latin typeface="Roboto Bold"/>
                <a:ea typeface="Roboto Bold"/>
                <a:cs typeface="Roboto Bold"/>
                <a:sym typeface="Roboto Bold"/>
              </a:rPr>
              <a:t>SEP</a:t>
            </a:r>
          </a:p>
        </p:txBody>
      </p:sp>
      <p:sp>
        <p:nvSpPr>
          <p:cNvPr id="60" name="TextBox 28">
            <a:extLst>
              <a:ext uri="{FF2B5EF4-FFF2-40B4-BE49-F238E27FC236}">
                <a16:creationId xmlns:a16="http://schemas.microsoft.com/office/drawing/2014/main" id="{8CED7CE7-71B3-77FB-3D70-B647FB35F594}"/>
              </a:ext>
            </a:extLst>
          </p:cNvPr>
          <p:cNvSpPr txBox="1"/>
          <p:nvPr/>
        </p:nvSpPr>
        <p:spPr>
          <a:xfrm>
            <a:off x="4718842" y="2821939"/>
            <a:ext cx="383530" cy="40395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3500"/>
              </a:lnSpc>
              <a:spcBef>
                <a:spcPct val="0"/>
              </a:spcBef>
            </a:pPr>
            <a:r>
              <a:rPr lang="en-US" sz="2000" b="1" spc="35">
                <a:solidFill>
                  <a:srgbClr val="191919"/>
                </a:solidFill>
                <a:latin typeface="Roboto Bold"/>
                <a:ea typeface="Roboto Bold"/>
                <a:cs typeface="Roboto Bold"/>
                <a:sym typeface="Roboto Bold"/>
              </a:rPr>
              <a:t>Q1</a:t>
            </a:r>
          </a:p>
        </p:txBody>
      </p:sp>
      <p:sp>
        <p:nvSpPr>
          <p:cNvPr id="62" name="TextBox 29">
            <a:extLst>
              <a:ext uri="{FF2B5EF4-FFF2-40B4-BE49-F238E27FC236}">
                <a16:creationId xmlns:a16="http://schemas.microsoft.com/office/drawing/2014/main" id="{916F9978-897C-44DC-6F90-2D765162A225}"/>
              </a:ext>
            </a:extLst>
          </p:cNvPr>
          <p:cNvSpPr txBox="1"/>
          <p:nvPr/>
        </p:nvSpPr>
        <p:spPr>
          <a:xfrm>
            <a:off x="6413312" y="2821939"/>
            <a:ext cx="551904" cy="40395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3500"/>
              </a:lnSpc>
              <a:spcBef>
                <a:spcPct val="0"/>
              </a:spcBef>
            </a:pPr>
            <a:r>
              <a:rPr lang="en-US" sz="2000" b="1" spc="35" dirty="0">
                <a:solidFill>
                  <a:srgbClr val="191919"/>
                </a:solidFill>
                <a:latin typeface="Roboto Bold"/>
                <a:ea typeface="Roboto Bold"/>
                <a:cs typeface="Roboto Bold"/>
                <a:sym typeface="Roboto Bold"/>
              </a:rPr>
              <a:t>MID</a:t>
            </a:r>
          </a:p>
        </p:txBody>
      </p:sp>
      <p:sp>
        <p:nvSpPr>
          <p:cNvPr id="64" name="TextBox 30">
            <a:extLst>
              <a:ext uri="{FF2B5EF4-FFF2-40B4-BE49-F238E27FC236}">
                <a16:creationId xmlns:a16="http://schemas.microsoft.com/office/drawing/2014/main" id="{9B168153-59C7-7162-C136-F7580186907A}"/>
              </a:ext>
            </a:extLst>
          </p:cNvPr>
          <p:cNvSpPr txBox="1"/>
          <p:nvPr/>
        </p:nvSpPr>
        <p:spPr>
          <a:xfrm>
            <a:off x="8219977" y="2821939"/>
            <a:ext cx="383530" cy="40395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3500"/>
              </a:lnSpc>
              <a:spcBef>
                <a:spcPct val="0"/>
              </a:spcBef>
            </a:pPr>
            <a:r>
              <a:rPr lang="en-US" sz="2000" b="1" spc="35">
                <a:solidFill>
                  <a:srgbClr val="191919"/>
                </a:solidFill>
                <a:latin typeface="Roboto Bold"/>
                <a:ea typeface="Roboto Bold"/>
                <a:cs typeface="Roboto Bold"/>
                <a:sym typeface="Roboto Bold"/>
              </a:rPr>
              <a:t>Q3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D8EE11B0-12E4-7F62-0CF0-628228AEADF4}"/>
              </a:ext>
            </a:extLst>
          </p:cNvPr>
          <p:cNvSpPr txBox="1"/>
          <p:nvPr/>
        </p:nvSpPr>
        <p:spPr>
          <a:xfrm>
            <a:off x="589947" y="4860038"/>
            <a:ext cx="9546577" cy="126188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>
                <a:ea typeface="Roboto"/>
                <a:cs typeface="Roboto"/>
              </a:rPr>
              <a:t>GDC Endorsement is on a rolling basis with regular updates of the contributors. </a:t>
            </a:r>
          </a:p>
          <a:p>
            <a:endParaRPr lang="en-US" sz="1600">
              <a:ea typeface="Roboto"/>
              <a:cs typeface="Roboto"/>
            </a:endParaRPr>
          </a:p>
          <a:p>
            <a:r>
              <a:rPr lang="en-US" sz="1600">
                <a:ea typeface="Roboto"/>
                <a:cs typeface="Roboto"/>
              </a:rPr>
              <a:t>You can find more details at </a:t>
            </a:r>
          </a:p>
          <a:p>
            <a:r>
              <a:rPr lang="en-US" sz="1600">
                <a:ea typeface="+mn-lt"/>
                <a:cs typeface="+mn-lt"/>
                <a:hlinkClick r:id="rId5"/>
              </a:rPr>
              <a:t>https://www.un.org/global-digital-compact/en</a:t>
            </a:r>
            <a:endParaRPr lang="en-US" sz="1600">
              <a:ea typeface="+mn-lt"/>
              <a:cs typeface="+mn-lt"/>
            </a:endParaRPr>
          </a:p>
          <a:p>
            <a:endParaRPr lang="en-US">
              <a:ea typeface="Roboto"/>
              <a:cs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18142905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3B902E9-203D-38B0-ACB3-85A06EF15E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73" imgH="574" progId="TCLayout.ActiveDocument.1">
                  <p:embed/>
                </p:oleObj>
              </mc:Choice>
              <mc:Fallback>
                <p:oleObj name="think-cell Slide" r:id="rId3" imgW="573" imgH="57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B902E9-203D-38B0-ACB3-85A06EF15E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05C60D4-C43C-5B6F-D098-61F335CD17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607" y="145493"/>
            <a:ext cx="10091166" cy="861774"/>
          </a:xfrm>
        </p:spPr>
        <p:txBody>
          <a:bodyPr vert="horz"/>
          <a:lstStyle/>
          <a:p>
            <a:r>
              <a:rPr lang="en-CA" dirty="0"/>
              <a:t>Members of the AI Advisory Bod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4CBB9B-2A88-262F-4AC6-A22EDCFFBAA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07988" y="1611313"/>
            <a:ext cx="5177088" cy="4598714"/>
          </a:xfrm>
        </p:spPr>
        <p:txBody>
          <a:bodyPr/>
          <a:lstStyle/>
          <a:p>
            <a:r>
              <a:rPr lang="en-CA" b="1"/>
              <a:t>39 Members</a:t>
            </a:r>
            <a:r>
              <a:rPr lang="en-CA"/>
              <a:t>, all experts in relevant domains</a:t>
            </a:r>
          </a:p>
          <a:p>
            <a:pPr lvl="1"/>
            <a:r>
              <a:rPr lang="en-CA"/>
              <a:t>Across government, industry / private sector, academia, civil society</a:t>
            </a:r>
          </a:p>
          <a:p>
            <a:pPr>
              <a:spcBef>
                <a:spcPts val="1200"/>
              </a:spcBef>
            </a:pPr>
            <a:r>
              <a:rPr lang="en-CA"/>
              <a:t>Representing </a:t>
            </a:r>
            <a:r>
              <a:rPr lang="en-CA" b="1"/>
              <a:t>diverse perspectives </a:t>
            </a:r>
            <a:r>
              <a:rPr lang="en-CA"/>
              <a:t>on how AI can be governed for the common good</a:t>
            </a:r>
          </a:p>
          <a:p>
            <a:pPr>
              <a:spcBef>
                <a:spcPts val="1200"/>
              </a:spcBef>
            </a:pPr>
            <a:r>
              <a:rPr lang="en-CA" b="1"/>
              <a:t>33 nationalities</a:t>
            </a:r>
            <a:r>
              <a:rPr lang="en-CA"/>
              <a:t> represented</a:t>
            </a:r>
            <a:endParaRPr lang="en-CA" baseline="30000"/>
          </a:p>
          <a:p>
            <a:pPr lvl="1"/>
            <a:r>
              <a:rPr lang="en-CA"/>
              <a:t>From </a:t>
            </a:r>
            <a:r>
              <a:rPr lang="en-CA" b="1"/>
              <a:t>all 5</a:t>
            </a:r>
            <a:r>
              <a:rPr lang="en-CA"/>
              <a:t> UN regional groups</a:t>
            </a:r>
          </a:p>
          <a:p>
            <a:pPr>
              <a:spcBef>
                <a:spcPts val="1200"/>
              </a:spcBef>
            </a:pPr>
            <a:r>
              <a:rPr lang="en-CA" b="1"/>
              <a:t>Gender-balance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778A80E-96D9-327D-F007-3695CA70E298}"/>
              </a:ext>
            </a:extLst>
          </p:cNvPr>
          <p:cNvSpPr txBox="1"/>
          <p:nvPr/>
        </p:nvSpPr>
        <p:spPr>
          <a:xfrm>
            <a:off x="407988" y="6551712"/>
            <a:ext cx="432202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>
                <a:solidFill>
                  <a:schemeClr val="bg1"/>
                </a:solidFill>
              </a:rPr>
              <a:t>High-level Advisory Body on Artificial Intelligenc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04235F10-0135-ACB0-3946-BFB4632FAB8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73293" y="149146"/>
            <a:ext cx="747402" cy="393369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6525FE5B-283A-9642-606A-A394E0474F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34388" y="1608996"/>
            <a:ext cx="695001" cy="695001"/>
          </a:xfrm>
          <a:prstGeom prst="ellipse">
            <a:avLst/>
          </a:prstGeom>
          <a:noFill/>
          <a:ln w="3175">
            <a:solidFill>
              <a:schemeClr val="tx2">
                <a:lumMod val="50000"/>
              </a:schemeClr>
            </a:solidFill>
          </a:ln>
          <a:effectLst>
            <a:outerShdw blurRad="50800" dist="127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1" name="Picture 4">
            <a:extLst>
              <a:ext uri="{FF2B5EF4-FFF2-40B4-BE49-F238E27FC236}">
                <a16:creationId xmlns:a16="http://schemas.microsoft.com/office/drawing/2014/main" id="{2D25F2C0-378B-9253-CFA1-2B69EE717A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69352" y="1608996"/>
            <a:ext cx="694800" cy="694800"/>
          </a:xfrm>
          <a:prstGeom prst="ellipse">
            <a:avLst/>
          </a:prstGeom>
          <a:noFill/>
          <a:ln w="3175">
            <a:solidFill>
              <a:schemeClr val="tx2">
                <a:lumMod val="50000"/>
              </a:schemeClr>
            </a:solidFill>
          </a:ln>
          <a:effectLst>
            <a:outerShdw blurRad="50800" dist="127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6">
            <a:extLst>
              <a:ext uri="{FF2B5EF4-FFF2-40B4-BE49-F238E27FC236}">
                <a16:creationId xmlns:a16="http://schemas.microsoft.com/office/drawing/2014/main" id="{56FB8DE1-7E63-B910-6411-5E5F15C053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04115" y="1608996"/>
            <a:ext cx="694800" cy="690168"/>
          </a:xfrm>
          <a:prstGeom prst="ellipse">
            <a:avLst/>
          </a:prstGeom>
          <a:noFill/>
          <a:ln w="3175">
            <a:solidFill>
              <a:schemeClr val="tx2">
                <a:lumMod val="50000"/>
              </a:schemeClr>
            </a:solidFill>
          </a:ln>
          <a:effectLst>
            <a:outerShdw blurRad="50800" dist="127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5" name="Picture 8">
            <a:extLst>
              <a:ext uri="{FF2B5EF4-FFF2-40B4-BE49-F238E27FC236}">
                <a16:creationId xmlns:a16="http://schemas.microsoft.com/office/drawing/2014/main" id="{1FCB14E3-B319-FDDF-C8B2-E81CD92199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38878" y="1608996"/>
            <a:ext cx="694800" cy="694800"/>
          </a:xfrm>
          <a:prstGeom prst="ellipse">
            <a:avLst/>
          </a:prstGeom>
          <a:noFill/>
          <a:ln w="3175">
            <a:solidFill>
              <a:schemeClr val="tx2">
                <a:lumMod val="50000"/>
              </a:schemeClr>
            </a:solidFill>
          </a:ln>
          <a:effectLst>
            <a:outerShdw blurRad="50800" dist="127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6" name="Picture 10">
            <a:extLst>
              <a:ext uri="{FF2B5EF4-FFF2-40B4-BE49-F238E27FC236}">
                <a16:creationId xmlns:a16="http://schemas.microsoft.com/office/drawing/2014/main" id="{D34214DD-EC9F-E036-812C-3D2C6CDAD1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73641" y="1608996"/>
            <a:ext cx="694800" cy="694800"/>
          </a:xfrm>
          <a:prstGeom prst="ellipse">
            <a:avLst/>
          </a:prstGeom>
          <a:noFill/>
          <a:ln w="3175">
            <a:solidFill>
              <a:schemeClr val="tx2">
                <a:lumMod val="50000"/>
              </a:schemeClr>
            </a:solidFill>
          </a:ln>
          <a:effectLst>
            <a:outerShdw blurRad="50800" dist="127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7" name="Picture 12">
            <a:extLst>
              <a:ext uri="{FF2B5EF4-FFF2-40B4-BE49-F238E27FC236}">
                <a16:creationId xmlns:a16="http://schemas.microsoft.com/office/drawing/2014/main" id="{D7D0D8B8-55B6-0ED0-F98C-3DA1A6BF57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08404" y="1608996"/>
            <a:ext cx="694800" cy="694800"/>
          </a:xfrm>
          <a:prstGeom prst="ellipse">
            <a:avLst/>
          </a:prstGeom>
          <a:noFill/>
          <a:ln w="3175">
            <a:solidFill>
              <a:schemeClr val="tx2">
                <a:lumMod val="50000"/>
              </a:schemeClr>
            </a:solidFill>
          </a:ln>
          <a:effectLst>
            <a:outerShdw blurRad="50800" dist="127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8" name="Picture 14">
            <a:extLst>
              <a:ext uri="{FF2B5EF4-FFF2-40B4-BE49-F238E27FC236}">
                <a16:creationId xmlns:a16="http://schemas.microsoft.com/office/drawing/2014/main" id="{ECF2DA3B-FA27-602F-44A7-45764D70E9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43167" y="1608996"/>
            <a:ext cx="694800" cy="694800"/>
          </a:xfrm>
          <a:prstGeom prst="ellipse">
            <a:avLst/>
          </a:prstGeom>
          <a:noFill/>
          <a:ln w="3175">
            <a:solidFill>
              <a:schemeClr val="tx2">
                <a:lumMod val="50000"/>
              </a:schemeClr>
            </a:solidFill>
          </a:ln>
          <a:effectLst>
            <a:outerShdw blurRad="50800" dist="127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9" name="Picture 16">
            <a:extLst>
              <a:ext uri="{FF2B5EF4-FFF2-40B4-BE49-F238E27FC236}">
                <a16:creationId xmlns:a16="http://schemas.microsoft.com/office/drawing/2014/main" id="{F11C46A7-40A5-AC42-9C94-D27EFFEAF6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34388" y="2421507"/>
            <a:ext cx="694800" cy="694800"/>
          </a:xfrm>
          <a:prstGeom prst="ellipse">
            <a:avLst/>
          </a:prstGeom>
          <a:noFill/>
          <a:ln w="3175">
            <a:solidFill>
              <a:schemeClr val="tx2">
                <a:lumMod val="50000"/>
              </a:schemeClr>
            </a:solidFill>
          </a:ln>
          <a:effectLst>
            <a:outerShdw blurRad="50800" dist="127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0" name="Picture 18">
            <a:extLst>
              <a:ext uri="{FF2B5EF4-FFF2-40B4-BE49-F238E27FC236}">
                <a16:creationId xmlns:a16="http://schemas.microsoft.com/office/drawing/2014/main" id="{58A55573-1A86-CCEC-6755-9EA4D1F16F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68407" y="2421507"/>
            <a:ext cx="694800" cy="694800"/>
          </a:xfrm>
          <a:prstGeom prst="ellipse">
            <a:avLst/>
          </a:prstGeom>
          <a:noFill/>
          <a:ln w="3175">
            <a:solidFill>
              <a:schemeClr val="tx2">
                <a:lumMod val="50000"/>
              </a:schemeClr>
            </a:solidFill>
          </a:ln>
          <a:effectLst>
            <a:outerShdw blurRad="50800" dist="127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7" name="Picture 20">
            <a:extLst>
              <a:ext uri="{FF2B5EF4-FFF2-40B4-BE49-F238E27FC236}">
                <a16:creationId xmlns:a16="http://schemas.microsoft.com/office/drawing/2014/main" id="{EACB8C9A-7A87-8107-6198-6BDAEE1CFA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02426" y="2421507"/>
            <a:ext cx="699463" cy="694800"/>
          </a:xfrm>
          <a:prstGeom prst="ellipse">
            <a:avLst/>
          </a:prstGeom>
          <a:noFill/>
          <a:ln w="3175">
            <a:solidFill>
              <a:schemeClr val="tx2">
                <a:lumMod val="50000"/>
              </a:schemeClr>
            </a:solidFill>
          </a:ln>
          <a:effectLst>
            <a:outerShdw blurRad="50800" dist="127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8" name="Picture 22">
            <a:extLst>
              <a:ext uri="{FF2B5EF4-FFF2-40B4-BE49-F238E27FC236}">
                <a16:creationId xmlns:a16="http://schemas.microsoft.com/office/drawing/2014/main" id="{D50B77F7-D381-E946-8188-DAB968A575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41108" y="2421507"/>
            <a:ext cx="694800" cy="694800"/>
          </a:xfrm>
          <a:prstGeom prst="ellipse">
            <a:avLst/>
          </a:prstGeom>
          <a:noFill/>
          <a:ln w="3175">
            <a:solidFill>
              <a:schemeClr val="tx2">
                <a:lumMod val="50000"/>
              </a:schemeClr>
            </a:solidFill>
          </a:ln>
          <a:effectLst>
            <a:outerShdw blurRad="50800" dist="127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9" name="Picture 24">
            <a:extLst>
              <a:ext uri="{FF2B5EF4-FFF2-40B4-BE49-F238E27FC236}">
                <a16:creationId xmlns:a16="http://schemas.microsoft.com/office/drawing/2014/main" id="{8733774B-5B63-5054-C6AA-64BC3DCEAB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75127" y="2421507"/>
            <a:ext cx="694800" cy="694800"/>
          </a:xfrm>
          <a:prstGeom prst="ellipse">
            <a:avLst/>
          </a:prstGeom>
          <a:noFill/>
          <a:ln w="3175">
            <a:solidFill>
              <a:schemeClr val="tx2">
                <a:lumMod val="50000"/>
              </a:schemeClr>
            </a:solidFill>
          </a:ln>
          <a:effectLst>
            <a:outerShdw blurRad="50800" dist="127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0" name="Picture 26">
            <a:extLst>
              <a:ext uri="{FF2B5EF4-FFF2-40B4-BE49-F238E27FC236}">
                <a16:creationId xmlns:a16="http://schemas.microsoft.com/office/drawing/2014/main" id="{3A2478A1-9894-0D05-B4E1-E4936B8599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09146" y="2421507"/>
            <a:ext cx="694800" cy="694800"/>
          </a:xfrm>
          <a:prstGeom prst="ellipse">
            <a:avLst/>
          </a:prstGeom>
          <a:noFill/>
          <a:ln w="3175">
            <a:solidFill>
              <a:schemeClr val="tx2">
                <a:lumMod val="50000"/>
              </a:schemeClr>
            </a:solidFill>
          </a:ln>
          <a:effectLst>
            <a:outerShdw blurRad="50800" dist="127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1" name="Picture 28">
            <a:extLst>
              <a:ext uri="{FF2B5EF4-FFF2-40B4-BE49-F238E27FC236}">
                <a16:creationId xmlns:a16="http://schemas.microsoft.com/office/drawing/2014/main" id="{5EE1A240-BD25-DC15-AD61-ECAF66E9AF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43167" y="2421507"/>
            <a:ext cx="694800" cy="694800"/>
          </a:xfrm>
          <a:prstGeom prst="ellipse">
            <a:avLst/>
          </a:prstGeom>
          <a:noFill/>
          <a:ln w="3175">
            <a:solidFill>
              <a:schemeClr val="tx2">
                <a:lumMod val="50000"/>
              </a:schemeClr>
            </a:solidFill>
          </a:ln>
          <a:effectLst>
            <a:outerShdw blurRad="50800" dist="127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2" name="Picture 30">
            <a:extLst>
              <a:ext uri="{FF2B5EF4-FFF2-40B4-BE49-F238E27FC236}">
                <a16:creationId xmlns:a16="http://schemas.microsoft.com/office/drawing/2014/main" id="{C1C010D6-6492-378A-4733-70E249B982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34388" y="3225961"/>
            <a:ext cx="694800" cy="694800"/>
          </a:xfrm>
          <a:prstGeom prst="ellipse">
            <a:avLst/>
          </a:prstGeom>
          <a:noFill/>
          <a:ln w="3175">
            <a:solidFill>
              <a:schemeClr val="tx2">
                <a:lumMod val="50000"/>
              </a:schemeClr>
            </a:solidFill>
          </a:ln>
          <a:effectLst>
            <a:outerShdw blurRad="50800" dist="127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3" name="Picture 32">
            <a:extLst>
              <a:ext uri="{FF2B5EF4-FFF2-40B4-BE49-F238E27FC236}">
                <a16:creationId xmlns:a16="http://schemas.microsoft.com/office/drawing/2014/main" id="{95B795A5-52E1-CDF4-0F66-9F80C9D6B3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69185" y="3225961"/>
            <a:ext cx="694800" cy="694800"/>
          </a:xfrm>
          <a:prstGeom prst="ellipse">
            <a:avLst/>
          </a:prstGeom>
          <a:noFill/>
          <a:ln w="3175">
            <a:solidFill>
              <a:schemeClr val="tx2">
                <a:lumMod val="50000"/>
              </a:schemeClr>
            </a:solidFill>
          </a:ln>
          <a:effectLst>
            <a:outerShdw blurRad="50800" dist="127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4" name="Picture 34">
            <a:extLst>
              <a:ext uri="{FF2B5EF4-FFF2-40B4-BE49-F238E27FC236}">
                <a16:creationId xmlns:a16="http://schemas.microsoft.com/office/drawing/2014/main" id="{44ED32DF-6196-119A-423D-CA4DDF1F13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03982" y="3225961"/>
            <a:ext cx="694800" cy="694800"/>
          </a:xfrm>
          <a:prstGeom prst="ellipse">
            <a:avLst/>
          </a:prstGeom>
          <a:noFill/>
          <a:ln w="3175">
            <a:solidFill>
              <a:schemeClr val="tx2">
                <a:lumMod val="50000"/>
              </a:schemeClr>
            </a:solidFill>
          </a:ln>
          <a:effectLst>
            <a:outerShdw blurRad="50800" dist="127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5" name="Picture 36">
            <a:extLst>
              <a:ext uri="{FF2B5EF4-FFF2-40B4-BE49-F238E27FC236}">
                <a16:creationId xmlns:a16="http://schemas.microsoft.com/office/drawing/2014/main" id="{6CA50EDA-F732-5D54-967C-A18C792442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38779" y="3225961"/>
            <a:ext cx="694800" cy="694800"/>
          </a:xfrm>
          <a:prstGeom prst="ellipse">
            <a:avLst/>
          </a:prstGeom>
          <a:noFill/>
          <a:ln w="3175">
            <a:solidFill>
              <a:schemeClr val="tx2">
                <a:lumMod val="50000"/>
              </a:schemeClr>
            </a:solidFill>
          </a:ln>
          <a:effectLst>
            <a:outerShdw blurRad="50800" dist="127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6" name="Picture 38">
            <a:extLst>
              <a:ext uri="{FF2B5EF4-FFF2-40B4-BE49-F238E27FC236}">
                <a16:creationId xmlns:a16="http://schemas.microsoft.com/office/drawing/2014/main" id="{D44C4CFC-4561-17E3-73A6-F5D58C762C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73576" y="3225961"/>
            <a:ext cx="694800" cy="694800"/>
          </a:xfrm>
          <a:prstGeom prst="ellipse">
            <a:avLst/>
          </a:prstGeom>
          <a:noFill/>
          <a:ln w="3175">
            <a:solidFill>
              <a:schemeClr val="tx2">
                <a:lumMod val="50000"/>
              </a:schemeClr>
            </a:solidFill>
          </a:ln>
          <a:effectLst>
            <a:outerShdw blurRad="50800" dist="127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7" name="Picture 40">
            <a:extLst>
              <a:ext uri="{FF2B5EF4-FFF2-40B4-BE49-F238E27FC236}">
                <a16:creationId xmlns:a16="http://schemas.microsoft.com/office/drawing/2014/main" id="{6E2A2083-B33B-CFE7-0751-DABA52127B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08373" y="3225961"/>
            <a:ext cx="694800" cy="694800"/>
          </a:xfrm>
          <a:prstGeom prst="ellipse">
            <a:avLst/>
          </a:prstGeom>
          <a:noFill/>
          <a:ln w="3175">
            <a:solidFill>
              <a:schemeClr val="tx2">
                <a:lumMod val="50000"/>
              </a:schemeClr>
            </a:solidFill>
          </a:ln>
          <a:effectLst>
            <a:outerShdw blurRad="50800" dist="127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8" name="Picture 42">
            <a:extLst>
              <a:ext uri="{FF2B5EF4-FFF2-40B4-BE49-F238E27FC236}">
                <a16:creationId xmlns:a16="http://schemas.microsoft.com/office/drawing/2014/main" id="{07D3EF06-7886-45D4-2A68-833633E8F1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43167" y="3225961"/>
            <a:ext cx="694800" cy="694800"/>
          </a:xfrm>
          <a:prstGeom prst="ellipse">
            <a:avLst/>
          </a:prstGeom>
          <a:noFill/>
          <a:ln w="3175">
            <a:solidFill>
              <a:schemeClr val="tx2">
                <a:lumMod val="50000"/>
              </a:schemeClr>
            </a:solidFill>
          </a:ln>
          <a:effectLst>
            <a:outerShdw blurRad="50800" dist="127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9" name="Picture 44">
            <a:extLst>
              <a:ext uri="{FF2B5EF4-FFF2-40B4-BE49-F238E27FC236}">
                <a16:creationId xmlns:a16="http://schemas.microsoft.com/office/drawing/2014/main" id="{F46C609F-35BE-DCB4-3928-E3893EAB9B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34388" y="4030415"/>
            <a:ext cx="694800" cy="694800"/>
          </a:xfrm>
          <a:prstGeom prst="ellipse">
            <a:avLst/>
          </a:prstGeom>
          <a:noFill/>
          <a:ln w="3175">
            <a:solidFill>
              <a:schemeClr val="tx2">
                <a:lumMod val="50000"/>
              </a:schemeClr>
            </a:solidFill>
          </a:ln>
          <a:effectLst>
            <a:outerShdw blurRad="50800" dist="127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0" name="Picture 46">
            <a:extLst>
              <a:ext uri="{FF2B5EF4-FFF2-40B4-BE49-F238E27FC236}">
                <a16:creationId xmlns:a16="http://schemas.microsoft.com/office/drawing/2014/main" id="{2BEA6F24-317F-BE0B-0CA2-3D8F71604E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69185" y="4030415"/>
            <a:ext cx="694800" cy="699432"/>
          </a:xfrm>
          <a:prstGeom prst="ellipse">
            <a:avLst/>
          </a:prstGeom>
          <a:noFill/>
          <a:ln w="3175">
            <a:solidFill>
              <a:schemeClr val="tx2">
                <a:lumMod val="50000"/>
              </a:schemeClr>
            </a:solidFill>
          </a:ln>
          <a:effectLst>
            <a:outerShdw blurRad="50800" dist="127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2" name="Picture 48">
            <a:extLst>
              <a:ext uri="{FF2B5EF4-FFF2-40B4-BE49-F238E27FC236}">
                <a16:creationId xmlns:a16="http://schemas.microsoft.com/office/drawing/2014/main" id="{769468A5-97ED-9C3B-DB17-5AE1253E62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03982" y="4030415"/>
            <a:ext cx="694800" cy="694800"/>
          </a:xfrm>
          <a:prstGeom prst="ellipse">
            <a:avLst/>
          </a:prstGeom>
          <a:noFill/>
          <a:ln w="3175">
            <a:solidFill>
              <a:schemeClr val="tx2">
                <a:lumMod val="50000"/>
              </a:schemeClr>
            </a:solidFill>
          </a:ln>
          <a:effectLst>
            <a:outerShdw blurRad="50800" dist="127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4" name="Picture 50">
            <a:extLst>
              <a:ext uri="{FF2B5EF4-FFF2-40B4-BE49-F238E27FC236}">
                <a16:creationId xmlns:a16="http://schemas.microsoft.com/office/drawing/2014/main" id="{B0BEE458-C769-7320-AEEE-7001B20A8C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38779" y="4030415"/>
            <a:ext cx="694800" cy="694800"/>
          </a:xfrm>
          <a:prstGeom prst="ellipse">
            <a:avLst/>
          </a:prstGeom>
          <a:noFill/>
          <a:ln w="3175">
            <a:solidFill>
              <a:schemeClr val="tx2">
                <a:lumMod val="50000"/>
              </a:schemeClr>
            </a:solidFill>
          </a:ln>
          <a:effectLst>
            <a:outerShdw blurRad="50800" dist="127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6" name="Picture 52">
            <a:extLst>
              <a:ext uri="{FF2B5EF4-FFF2-40B4-BE49-F238E27FC236}">
                <a16:creationId xmlns:a16="http://schemas.microsoft.com/office/drawing/2014/main" id="{BA0A8357-A48C-6654-5FCB-05577FD75F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73576" y="4030415"/>
            <a:ext cx="694800" cy="694800"/>
          </a:xfrm>
          <a:prstGeom prst="ellipse">
            <a:avLst/>
          </a:prstGeom>
          <a:noFill/>
          <a:ln w="3175">
            <a:solidFill>
              <a:schemeClr val="tx2">
                <a:lumMod val="50000"/>
              </a:schemeClr>
            </a:solidFill>
          </a:ln>
          <a:effectLst>
            <a:outerShdw blurRad="50800" dist="127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8" name="Picture 54">
            <a:extLst>
              <a:ext uri="{FF2B5EF4-FFF2-40B4-BE49-F238E27FC236}">
                <a16:creationId xmlns:a16="http://schemas.microsoft.com/office/drawing/2014/main" id="{CD865BEA-A6F0-BF84-2D0B-04A6AE0431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08373" y="4030415"/>
            <a:ext cx="694800" cy="694800"/>
          </a:xfrm>
          <a:prstGeom prst="ellipse">
            <a:avLst/>
          </a:prstGeom>
          <a:noFill/>
          <a:ln w="3175">
            <a:solidFill>
              <a:schemeClr val="tx2">
                <a:lumMod val="50000"/>
              </a:schemeClr>
            </a:solidFill>
          </a:ln>
          <a:effectLst>
            <a:outerShdw blurRad="50800" dist="127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0" name="Picture 56">
            <a:extLst>
              <a:ext uri="{FF2B5EF4-FFF2-40B4-BE49-F238E27FC236}">
                <a16:creationId xmlns:a16="http://schemas.microsoft.com/office/drawing/2014/main" id="{AB0147B2-0414-37E3-23FB-3DAE5923C3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43167" y="4030415"/>
            <a:ext cx="694800" cy="690168"/>
          </a:xfrm>
          <a:prstGeom prst="ellipse">
            <a:avLst/>
          </a:prstGeom>
          <a:noFill/>
          <a:ln w="3175">
            <a:solidFill>
              <a:schemeClr val="tx2">
                <a:lumMod val="50000"/>
              </a:schemeClr>
            </a:solidFill>
          </a:ln>
          <a:effectLst>
            <a:outerShdw blurRad="50800" dist="127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2" name="Picture 58">
            <a:extLst>
              <a:ext uri="{FF2B5EF4-FFF2-40B4-BE49-F238E27FC236}">
                <a16:creationId xmlns:a16="http://schemas.microsoft.com/office/drawing/2014/main" id="{D35EECEB-28C2-506D-038D-3D45CF6C43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34388" y="4834869"/>
            <a:ext cx="694800" cy="694800"/>
          </a:xfrm>
          <a:prstGeom prst="ellipse">
            <a:avLst/>
          </a:prstGeom>
          <a:noFill/>
          <a:ln w="3175">
            <a:solidFill>
              <a:schemeClr val="tx2">
                <a:lumMod val="50000"/>
              </a:schemeClr>
            </a:solidFill>
          </a:ln>
          <a:effectLst>
            <a:outerShdw blurRad="50800" dist="127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4" name="Picture 60">
            <a:extLst>
              <a:ext uri="{FF2B5EF4-FFF2-40B4-BE49-F238E27FC236}">
                <a16:creationId xmlns:a16="http://schemas.microsoft.com/office/drawing/2014/main" id="{97FD5322-1D3E-97AE-FB2F-B5913AF6A4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69185" y="4834869"/>
            <a:ext cx="694800" cy="694800"/>
          </a:xfrm>
          <a:prstGeom prst="ellipse">
            <a:avLst/>
          </a:prstGeom>
          <a:noFill/>
          <a:ln w="3175">
            <a:solidFill>
              <a:schemeClr val="tx2">
                <a:lumMod val="50000"/>
              </a:schemeClr>
            </a:solidFill>
          </a:ln>
          <a:effectLst>
            <a:outerShdw blurRad="50800" dist="127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92" name="Picture 68">
            <a:extLst>
              <a:ext uri="{FF2B5EF4-FFF2-40B4-BE49-F238E27FC236}">
                <a16:creationId xmlns:a16="http://schemas.microsoft.com/office/drawing/2014/main" id="{45FD4CDB-E1CD-B41D-AB9B-E5E49ADB2B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03982" y="4834869"/>
            <a:ext cx="694800" cy="694800"/>
          </a:xfrm>
          <a:prstGeom prst="ellipse">
            <a:avLst/>
          </a:prstGeom>
          <a:noFill/>
          <a:ln w="3175">
            <a:solidFill>
              <a:schemeClr val="tx2">
                <a:lumMod val="50000"/>
              </a:schemeClr>
            </a:solidFill>
          </a:ln>
          <a:effectLst>
            <a:outerShdw blurRad="50800" dist="127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94" name="Picture 70">
            <a:extLst>
              <a:ext uri="{FF2B5EF4-FFF2-40B4-BE49-F238E27FC236}">
                <a16:creationId xmlns:a16="http://schemas.microsoft.com/office/drawing/2014/main" id="{5FCC738C-2A4C-AE35-D09A-75F4EAD270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38779" y="4834869"/>
            <a:ext cx="694800" cy="694800"/>
          </a:xfrm>
          <a:prstGeom prst="ellipse">
            <a:avLst/>
          </a:prstGeom>
          <a:noFill/>
          <a:ln w="3175">
            <a:solidFill>
              <a:schemeClr val="tx2">
                <a:lumMod val="50000"/>
              </a:schemeClr>
            </a:solidFill>
          </a:ln>
          <a:effectLst>
            <a:outerShdw blurRad="50800" dist="127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96" name="Picture 72">
            <a:extLst>
              <a:ext uri="{FF2B5EF4-FFF2-40B4-BE49-F238E27FC236}">
                <a16:creationId xmlns:a16="http://schemas.microsoft.com/office/drawing/2014/main" id="{3EAB2181-EA3C-E0C9-C840-E069F30045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73576" y="4834869"/>
            <a:ext cx="694800" cy="694800"/>
          </a:xfrm>
          <a:prstGeom prst="ellipse">
            <a:avLst/>
          </a:prstGeom>
          <a:noFill/>
          <a:ln w="3175">
            <a:solidFill>
              <a:schemeClr val="tx2">
                <a:lumMod val="50000"/>
              </a:schemeClr>
            </a:solidFill>
          </a:ln>
          <a:effectLst>
            <a:outerShdw blurRad="50800" dist="127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98" name="Picture 74">
            <a:extLst>
              <a:ext uri="{FF2B5EF4-FFF2-40B4-BE49-F238E27FC236}">
                <a16:creationId xmlns:a16="http://schemas.microsoft.com/office/drawing/2014/main" id="{D871E33D-E059-6071-1EA2-0AFF96829B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08373" y="4834869"/>
            <a:ext cx="694800" cy="694800"/>
          </a:xfrm>
          <a:prstGeom prst="ellipse">
            <a:avLst/>
          </a:prstGeom>
          <a:noFill/>
          <a:ln w="3175">
            <a:solidFill>
              <a:schemeClr val="tx2">
                <a:lumMod val="50000"/>
              </a:schemeClr>
            </a:solidFill>
          </a:ln>
          <a:effectLst>
            <a:outerShdw blurRad="50800" dist="127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0" name="Picture 76">
            <a:extLst>
              <a:ext uri="{FF2B5EF4-FFF2-40B4-BE49-F238E27FC236}">
                <a16:creationId xmlns:a16="http://schemas.microsoft.com/office/drawing/2014/main" id="{DD3437CC-127E-7B59-D795-5163649C7B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43167" y="4834869"/>
            <a:ext cx="694800" cy="700790"/>
          </a:xfrm>
          <a:prstGeom prst="ellipse">
            <a:avLst/>
          </a:prstGeom>
          <a:noFill/>
          <a:ln w="3175">
            <a:solidFill>
              <a:schemeClr val="tx2">
                <a:lumMod val="50000"/>
              </a:schemeClr>
            </a:solidFill>
          </a:ln>
          <a:effectLst>
            <a:outerShdw blurRad="50800" dist="127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2" name="Picture 78">
            <a:extLst>
              <a:ext uri="{FF2B5EF4-FFF2-40B4-BE49-F238E27FC236}">
                <a16:creationId xmlns:a16="http://schemas.microsoft.com/office/drawing/2014/main" id="{41CE026A-D0D6-188C-78BF-013D9B1E18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34388" y="5639325"/>
            <a:ext cx="694800" cy="694800"/>
          </a:xfrm>
          <a:prstGeom prst="ellipse">
            <a:avLst/>
          </a:prstGeom>
          <a:noFill/>
          <a:ln w="3175">
            <a:solidFill>
              <a:schemeClr val="tx2">
                <a:lumMod val="50000"/>
              </a:schemeClr>
            </a:solidFill>
          </a:ln>
          <a:effectLst>
            <a:outerShdw blurRad="50800" dist="127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4" name="Picture 80">
            <a:extLst>
              <a:ext uri="{FF2B5EF4-FFF2-40B4-BE49-F238E27FC236}">
                <a16:creationId xmlns:a16="http://schemas.microsoft.com/office/drawing/2014/main" id="{7D02E264-0324-0E16-2726-F5B52E5343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69185" y="5639325"/>
            <a:ext cx="694800" cy="694800"/>
          </a:xfrm>
          <a:prstGeom prst="ellipse">
            <a:avLst/>
          </a:prstGeom>
          <a:noFill/>
          <a:ln w="3175">
            <a:solidFill>
              <a:schemeClr val="tx2">
                <a:lumMod val="50000"/>
              </a:schemeClr>
            </a:solidFill>
          </a:ln>
          <a:effectLst>
            <a:outerShdw blurRad="50800" dist="127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6" name="Picture 82">
            <a:extLst>
              <a:ext uri="{FF2B5EF4-FFF2-40B4-BE49-F238E27FC236}">
                <a16:creationId xmlns:a16="http://schemas.microsoft.com/office/drawing/2014/main" id="{EB53A07F-AA65-55DD-98E8-DA55F9CA86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03982" y="5639325"/>
            <a:ext cx="694800" cy="694800"/>
          </a:xfrm>
          <a:prstGeom prst="ellipse">
            <a:avLst/>
          </a:prstGeom>
          <a:noFill/>
          <a:ln w="3175">
            <a:solidFill>
              <a:schemeClr val="tx2">
                <a:lumMod val="50000"/>
              </a:schemeClr>
            </a:solidFill>
          </a:ln>
          <a:effectLst>
            <a:outerShdw blurRad="50800" dist="127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8" name="Picture 84">
            <a:extLst>
              <a:ext uri="{FF2B5EF4-FFF2-40B4-BE49-F238E27FC236}">
                <a16:creationId xmlns:a16="http://schemas.microsoft.com/office/drawing/2014/main" id="{9CFA7953-381A-17F6-A47A-E714488808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38779" y="5639325"/>
            <a:ext cx="694800" cy="694800"/>
          </a:xfrm>
          <a:prstGeom prst="ellipse">
            <a:avLst/>
          </a:prstGeom>
          <a:noFill/>
          <a:ln w="3175">
            <a:solidFill>
              <a:schemeClr val="tx2">
                <a:lumMod val="50000"/>
              </a:schemeClr>
            </a:solidFill>
          </a:ln>
          <a:effectLst>
            <a:outerShdw blurRad="50800" dist="127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65947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5D9CAB-86C0-1F71-6002-2054F08CFF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5B6FD0E-B5E0-60B9-CFDA-BA97EBB94D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73" imgH="574" progId="TCLayout.ActiveDocument.1">
                  <p:embed/>
                </p:oleObj>
              </mc:Choice>
              <mc:Fallback>
                <p:oleObj name="think-cell Slide" r:id="rId3" imgW="573" imgH="57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5B6FD0E-B5E0-60B9-CFDA-BA97EBB94D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9320B0E-C9FE-180D-D64B-CECCD8943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180827"/>
            <a:ext cx="10091166" cy="861774"/>
          </a:xfrm>
        </p:spPr>
        <p:txBody>
          <a:bodyPr vert="horz"/>
          <a:lstStyle/>
          <a:p>
            <a:r>
              <a:rPr lang="en-CA" dirty="0">
                <a:solidFill>
                  <a:srgbClr val="149ED9"/>
                </a:solidFill>
                <a:ea typeface="Roboto Black"/>
              </a:rPr>
              <a:t>UNSG’s High-Level Advisory Body on Artificial Intelligence </a:t>
            </a:r>
            <a:br>
              <a:rPr lang="en-CA" dirty="0">
                <a:solidFill>
                  <a:srgbClr val="149ED9"/>
                </a:solidFill>
                <a:ea typeface="Roboto Black"/>
              </a:rPr>
            </a:br>
            <a:r>
              <a:rPr lang="en-CA" sz="2000">
                <a:solidFill>
                  <a:srgbClr val="149ED9"/>
                </a:solidFill>
                <a:ea typeface="Roboto Black"/>
              </a:rPr>
              <a:t>October 2023 </a:t>
            </a:r>
            <a:r>
              <a:rPr lang="en-CA" sz="2000" dirty="0">
                <a:solidFill>
                  <a:srgbClr val="149ED9"/>
                </a:solidFill>
                <a:ea typeface="Roboto Black"/>
              </a:rPr>
              <a:t>– </a:t>
            </a:r>
            <a:r>
              <a:rPr lang="en-CA" sz="2000">
                <a:solidFill>
                  <a:srgbClr val="149ED9"/>
                </a:solidFill>
                <a:ea typeface="Roboto Black"/>
              </a:rPr>
              <a:t>October 2024</a:t>
            </a:r>
            <a:endParaRPr lang="en-US" sz="2000" dirty="0">
              <a:solidFill>
                <a:srgbClr val="149ED9"/>
              </a:solidFill>
              <a:ea typeface="Roboto Black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5F7E58-0DE6-A747-DA73-1E9832092A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A950B1-DE82-4A29-B648-3078557F46E8}" type="slidenum">
              <a:rPr kumimoji="0" lang="en-CA" sz="1000" b="1" i="0" u="none" strike="noStrike" kern="1200" cap="none" spc="0" normalizeH="0" baseline="0" noProof="0" smtClean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Roboto Black" panose="02000000000000000000" pitchFamily="2" charset="0"/>
                <a:ea typeface="Roboto Black" panose="02000000000000000000" pitchFamily="2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CA" sz="1000" b="1" i="0" u="none" strike="noStrike" kern="1200" cap="none" spc="0" normalizeH="0" baseline="0" noProof="0">
              <a:ln>
                <a:noFill/>
              </a:ln>
              <a:solidFill>
                <a:srgbClr val="7F7F7F">
                  <a:lumMod val="50000"/>
                </a:srgbClr>
              </a:solidFill>
              <a:effectLst/>
              <a:uLnTx/>
              <a:uFillTx/>
              <a:latin typeface="Roboto Black" panose="02000000000000000000" pitchFamily="2" charset="0"/>
              <a:ea typeface="Roboto Black" panose="02000000000000000000" pitchFamily="2" charset="0"/>
              <a:cs typeface="+mn-cs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7B33C2C7-3F4B-BB18-CEFD-C6E551B761B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073293" y="149146"/>
            <a:ext cx="747402" cy="393369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C8E69273-CCE9-1E85-0298-BF8F56AB2EEE}"/>
              </a:ext>
            </a:extLst>
          </p:cNvPr>
          <p:cNvSpPr txBox="1"/>
          <p:nvPr/>
        </p:nvSpPr>
        <p:spPr>
          <a:xfrm>
            <a:off x="407988" y="6628656"/>
            <a:ext cx="432202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149ED9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High-level Advisory Body on Artificial Intelligence</a:t>
            </a:r>
          </a:p>
        </p:txBody>
      </p:sp>
      <p:sp>
        <p:nvSpPr>
          <p:cNvPr id="9" name="Arrow: Pentagon 8">
            <a:extLst>
              <a:ext uri="{FF2B5EF4-FFF2-40B4-BE49-F238E27FC236}">
                <a16:creationId xmlns:a16="http://schemas.microsoft.com/office/drawing/2014/main" id="{552F5CA2-0023-F174-70DA-82BBAEACA72B}"/>
              </a:ext>
            </a:extLst>
          </p:cNvPr>
          <p:cNvSpPr/>
          <p:nvPr/>
        </p:nvSpPr>
        <p:spPr>
          <a:xfrm>
            <a:off x="407988" y="1611312"/>
            <a:ext cx="1999713" cy="1371837"/>
          </a:xfrm>
          <a:prstGeom prst="homePlate">
            <a:avLst/>
          </a:prstGeom>
          <a:solidFill>
            <a:schemeClr val="tx1">
              <a:lumMod val="20000"/>
              <a:lumOff val="80000"/>
            </a:schemeClr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800" b="1" i="0" u="none" strike="noStrike" kern="1200" cap="none" spc="0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The Global AI Imperative</a:t>
            </a:r>
          </a:p>
        </p:txBody>
      </p:sp>
      <p:sp>
        <p:nvSpPr>
          <p:cNvPr id="17" name="Arrow: Pentagon 16">
            <a:extLst>
              <a:ext uri="{FF2B5EF4-FFF2-40B4-BE49-F238E27FC236}">
                <a16:creationId xmlns:a16="http://schemas.microsoft.com/office/drawing/2014/main" id="{4424CC17-BB28-91D0-008F-F60A1D2BBCFB}"/>
              </a:ext>
            </a:extLst>
          </p:cNvPr>
          <p:cNvSpPr/>
          <p:nvPr/>
        </p:nvSpPr>
        <p:spPr>
          <a:xfrm>
            <a:off x="407988" y="3333631"/>
            <a:ext cx="1999713" cy="1371837"/>
          </a:xfrm>
          <a:prstGeom prst="homePlate">
            <a:avLst/>
          </a:prstGeom>
          <a:solidFill>
            <a:schemeClr val="tx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The UN’s Response</a:t>
            </a:r>
          </a:p>
        </p:txBody>
      </p:sp>
      <p:sp>
        <p:nvSpPr>
          <p:cNvPr id="19" name="Arrow: Pentagon 18">
            <a:extLst>
              <a:ext uri="{FF2B5EF4-FFF2-40B4-BE49-F238E27FC236}">
                <a16:creationId xmlns:a16="http://schemas.microsoft.com/office/drawing/2014/main" id="{3B2A86D7-5250-673A-8BF1-264F9569B155}"/>
              </a:ext>
            </a:extLst>
          </p:cNvPr>
          <p:cNvSpPr/>
          <p:nvPr/>
        </p:nvSpPr>
        <p:spPr>
          <a:xfrm>
            <a:off x="407988" y="5055951"/>
            <a:ext cx="1999713" cy="1371837"/>
          </a:xfrm>
          <a:prstGeom prst="homePlate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A Multi-stakeholder, Networked Approach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DB8FF23C-31F1-5C0C-7FDC-FF868A0E345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598475" y="1611311"/>
            <a:ext cx="9185537" cy="1371837"/>
          </a:xfrm>
        </p:spPr>
        <p:txBody>
          <a:bodyPr anchor="ctr" anchorCtr="0"/>
          <a:lstStyle/>
          <a:p>
            <a:pPr marL="269875" indent="-269875">
              <a:spcBef>
                <a:spcPts val="0"/>
              </a:spcBef>
            </a:pPr>
            <a:r>
              <a:rPr lang="en-US" b="1">
                <a:ea typeface="Roboto Black"/>
              </a:rPr>
              <a:t>Globally coordinated AI governance</a:t>
            </a:r>
            <a:r>
              <a:rPr lang="en-US">
                <a:ea typeface="Roboto Black"/>
              </a:rPr>
              <a:t> is the only way to </a:t>
            </a:r>
            <a:r>
              <a:rPr lang="en-US" b="1">
                <a:ea typeface="Roboto Black"/>
              </a:rPr>
              <a:t>harness AI for humanity </a:t>
            </a:r>
          </a:p>
          <a:p>
            <a:pPr marL="269875" indent="-269875">
              <a:spcBef>
                <a:spcPts val="0"/>
              </a:spcBef>
            </a:pPr>
            <a:r>
              <a:rPr lang="en-US">
                <a:ea typeface="Roboto Black"/>
              </a:rPr>
              <a:t>T</a:t>
            </a:r>
            <a:r>
              <a:rPr lang="en-US">
                <a:ea typeface="Roboto Black"/>
                <a:cs typeface="Roboto"/>
              </a:rPr>
              <a:t>o address its </a:t>
            </a:r>
            <a:r>
              <a:rPr lang="en-US" b="1">
                <a:ea typeface="Roboto Black"/>
                <a:cs typeface="Roboto"/>
              </a:rPr>
              <a:t>risks and uncertainties</a:t>
            </a:r>
            <a:r>
              <a:rPr lang="en-US">
                <a:ea typeface="Roboto Black"/>
                <a:cs typeface="Roboto"/>
              </a:rPr>
              <a:t> as well as unlock its opportunities</a:t>
            </a:r>
            <a:endParaRPr lang="en-US" b="1">
              <a:ea typeface="Roboto Black"/>
              <a:cs typeface="Roboto"/>
            </a:endParaRPr>
          </a:p>
          <a:p>
            <a:pPr marL="269875" indent="-269875">
              <a:spcBef>
                <a:spcPts val="0"/>
              </a:spcBef>
            </a:pPr>
            <a:r>
              <a:rPr lang="en-US">
                <a:ea typeface="Roboto Black"/>
                <a:cs typeface="Roboto"/>
              </a:rPr>
              <a:t>Critical as AI </a:t>
            </a:r>
            <a:r>
              <a:rPr lang="en-US" b="1">
                <a:ea typeface="Roboto Black"/>
                <a:cs typeface="Roboto"/>
              </a:rPr>
              <a:t>becomes more widespread internationally</a:t>
            </a:r>
            <a:endParaRPr lang="en-CA" b="1">
              <a:ea typeface="Roboto Black"/>
              <a:cs typeface="Roboto"/>
            </a:endParaRP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7938FB4A-A6E4-9EC2-2232-77327ABECB77}"/>
              </a:ext>
            </a:extLst>
          </p:cNvPr>
          <p:cNvSpPr txBox="1">
            <a:spLocks/>
          </p:cNvSpPr>
          <p:nvPr/>
        </p:nvSpPr>
        <p:spPr>
          <a:xfrm>
            <a:off x="2598475" y="3333630"/>
            <a:ext cx="9185537" cy="137183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70000" indent="-270000" algn="l" defTabSz="914514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bg1"/>
              </a:buClr>
              <a:buSzPct val="120000"/>
              <a:buFont typeface="Roboto" panose="02000000000000000000" pitchFamily="2" charset="0"/>
              <a:buChar char="•"/>
              <a:defRPr lang="en-CA" sz="1800" b="0" u="none" kern="700" spc="19" baseline="0" dirty="0">
                <a:solidFill>
                  <a:schemeClr val="tx2">
                    <a:lumMod val="50000"/>
                  </a:schemeClr>
                </a:solidFill>
                <a:effectLst/>
                <a:latin typeface="+mn-lt"/>
                <a:ea typeface="Roboto Black" panose="02000000000000000000" pitchFamily="2" charset="0"/>
                <a:cs typeface="+mn-cs"/>
              </a:defRPr>
            </a:lvl1pPr>
            <a:lvl2pPr marL="540000" indent="-288000" algn="l" defTabSz="914514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–"/>
              <a:defRPr lang="en-CA" sz="1800" b="0" u="none" kern="700" spc="9" baseline="0" dirty="0">
                <a:solidFill>
                  <a:schemeClr val="tx2">
                    <a:lumMod val="50000"/>
                  </a:schemeClr>
                </a:solidFill>
                <a:effectLst/>
                <a:latin typeface="+mn-lt"/>
                <a:ea typeface="Roboto" panose="02000000000000000000" pitchFamily="2" charset="0"/>
                <a:cs typeface="+mn-cs"/>
              </a:defRPr>
            </a:lvl2pPr>
            <a:lvl3pPr marL="163711" indent="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00000"/>
              <a:buFont typeface="Courier New" panose="02070309020205020404" pitchFamily="49" charset="0"/>
              <a:buNone/>
              <a:defRPr lang="en-CA" sz="1600" b="0" u="none" kern="700" spc="9" baseline="0">
                <a:solidFill>
                  <a:schemeClr val="tx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+mn-cs"/>
              </a:defRPr>
            </a:lvl3pPr>
            <a:lvl4pPr marL="0" indent="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None/>
              <a:defRPr lang="en-CA" sz="1600" b="0" u="none" kern="700" spc="9" baseline="0" dirty="0">
                <a:solidFill>
                  <a:schemeClr val="tx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+mn-cs"/>
              </a:defRPr>
            </a:lvl4pPr>
            <a:lvl5pPr marL="845344" indent="-166688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Char char="»"/>
              <a:defRPr lang="en-CA" sz="703" b="0" u="none" kern="700" spc="9" dirty="0">
                <a:solidFill>
                  <a:schemeClr val="bg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914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171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428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686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9875" marR="0" lvl="0" indent="-269875" algn="l" defTabSz="914514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149ED9"/>
              </a:buClr>
              <a:buSzPct val="120000"/>
              <a:buFont typeface="Roboto" panose="02000000000000000000" pitchFamily="2" charset="0"/>
              <a:buChar char="•"/>
              <a:tabLst/>
              <a:defRPr/>
            </a:pPr>
            <a:r>
              <a:rPr kumimoji="0" lang="en-US" sz="1800" b="0" i="0" u="none" strike="noStrike" kern="700" cap="none" spc="19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Roboto"/>
                <a:ea typeface="Roboto Black"/>
                <a:cs typeface="+mn-cs"/>
              </a:rPr>
              <a:t>To foster a </a:t>
            </a:r>
            <a:r>
              <a:rPr kumimoji="0" lang="en-US" sz="1800" b="1" i="0" u="none" strike="noStrike" kern="700" cap="none" spc="19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Roboto"/>
                <a:ea typeface="Roboto Black"/>
                <a:cs typeface="+mn-cs"/>
              </a:rPr>
              <a:t>globally inclusive approach</a:t>
            </a:r>
            <a:r>
              <a:rPr kumimoji="0" lang="en-US" sz="1800" b="0" i="0" u="none" strike="noStrike" kern="700" cap="none" spc="19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Roboto"/>
                <a:ea typeface="Roboto Black"/>
                <a:cs typeface="+mn-cs"/>
              </a:rPr>
              <a:t>, the UN Secretary-General convened a multi-stakeholder </a:t>
            </a:r>
            <a:r>
              <a:rPr kumimoji="0" lang="en-US" sz="1800" b="1" i="0" u="none" strike="noStrike" kern="700" cap="none" spc="19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Roboto"/>
                <a:ea typeface="Roboto Black"/>
                <a:cs typeface="+mn-cs"/>
              </a:rPr>
              <a:t>High-level Advisory Body on AI </a:t>
            </a:r>
            <a:r>
              <a:rPr kumimoji="0" lang="en-US" sz="1800" b="0" i="0" u="none" strike="noStrike" kern="700" cap="none" spc="19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Roboto"/>
                <a:ea typeface="Roboto Black"/>
                <a:cs typeface="+mn-cs"/>
              </a:rPr>
              <a:t>to </a:t>
            </a:r>
            <a:r>
              <a:rPr kumimoji="0" lang="en-US" sz="1800" b="1" i="0" u="none" strike="noStrike" kern="700" cap="none" spc="19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Roboto"/>
                <a:ea typeface="Roboto Black"/>
                <a:cs typeface="+mn-cs"/>
              </a:rPr>
              <a:t>undertake analysis and advance recommendations </a:t>
            </a:r>
            <a:r>
              <a:rPr kumimoji="0" lang="en-US" sz="1800" b="0" i="0" u="none" strike="noStrike" kern="700" cap="none" spc="19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Roboto"/>
                <a:ea typeface="Roboto Black"/>
                <a:cs typeface="+mn-cs"/>
              </a:rPr>
              <a:t>for the international governance of AI</a:t>
            </a:r>
          </a:p>
          <a:p>
            <a:pPr marL="269875" marR="0" lvl="0" indent="-269875" algn="l" defTabSz="914514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149ED9"/>
              </a:buClr>
              <a:buSzPct val="120000"/>
              <a:buFont typeface="Roboto" panose="02000000000000000000" pitchFamily="2" charset="0"/>
              <a:buChar char="•"/>
              <a:tabLst/>
              <a:defRPr/>
            </a:pPr>
            <a:r>
              <a:rPr kumimoji="0" lang="en-US" sz="1800" b="0" i="0" u="none" strike="noStrike" kern="700" cap="none" spc="19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Roboto"/>
                <a:ea typeface="Roboto Black"/>
                <a:cs typeface="+mn-cs"/>
              </a:rPr>
              <a:t>Link to </a:t>
            </a:r>
            <a:r>
              <a:rPr kumimoji="0" lang="en-US" sz="1800" b="1" i="0" u="none" strike="noStrike" kern="700" cap="none" spc="19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Roboto"/>
                <a:ea typeface="Roboto Black"/>
                <a:cs typeface="+mn-cs"/>
              </a:rPr>
              <a:t>Global Digital Compact process</a:t>
            </a:r>
            <a:r>
              <a:rPr kumimoji="0" lang="en-US" sz="1800" b="0" i="0" u="none" strike="noStrike" kern="700" cap="none" spc="19" normalizeH="0" baseline="0" noProof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Roboto"/>
                <a:ea typeface="Roboto Black"/>
                <a:cs typeface="+mn-cs"/>
              </a:rPr>
              <a:t> (September 2024)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21A2C8E4-7500-35F6-DB09-55B93613796B}"/>
              </a:ext>
            </a:extLst>
          </p:cNvPr>
          <p:cNvSpPr txBox="1">
            <a:spLocks/>
          </p:cNvSpPr>
          <p:nvPr/>
        </p:nvSpPr>
        <p:spPr>
          <a:xfrm>
            <a:off x="2598475" y="5055949"/>
            <a:ext cx="9185537" cy="137183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270000" indent="-270000" algn="l" defTabSz="914514" rtl="0" eaLnBrk="1" latinLnBrk="0" hangingPunct="1">
              <a:lnSpc>
                <a:spcPct val="114000"/>
              </a:lnSpc>
              <a:spcBef>
                <a:spcPts val="600"/>
              </a:spcBef>
              <a:buClr>
                <a:schemeClr val="bg1"/>
              </a:buClr>
              <a:buSzPct val="120000"/>
              <a:buFont typeface="Roboto" panose="02000000000000000000" pitchFamily="2" charset="0"/>
              <a:buChar char="•"/>
              <a:defRPr lang="en-CA" sz="1800" b="0" u="none" kern="700" spc="19" baseline="0" dirty="0">
                <a:solidFill>
                  <a:schemeClr val="tx2">
                    <a:lumMod val="50000"/>
                  </a:schemeClr>
                </a:solidFill>
                <a:effectLst/>
                <a:latin typeface="+mn-lt"/>
                <a:ea typeface="Roboto Black" panose="02000000000000000000" pitchFamily="2" charset="0"/>
                <a:cs typeface="+mn-cs"/>
              </a:defRPr>
            </a:lvl1pPr>
            <a:lvl2pPr marL="540000" indent="-288000" algn="l" defTabSz="914514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–"/>
              <a:defRPr lang="en-CA" sz="1800" b="0" u="none" kern="700" spc="9" baseline="0" dirty="0">
                <a:solidFill>
                  <a:schemeClr val="tx2">
                    <a:lumMod val="50000"/>
                  </a:schemeClr>
                </a:solidFill>
                <a:effectLst/>
                <a:latin typeface="+mn-lt"/>
                <a:ea typeface="Roboto" panose="02000000000000000000" pitchFamily="2" charset="0"/>
                <a:cs typeface="+mn-cs"/>
              </a:defRPr>
            </a:lvl2pPr>
            <a:lvl3pPr marL="163711" indent="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Clr>
                <a:schemeClr val="bg1"/>
              </a:buClr>
              <a:buSzPct val="100000"/>
              <a:buFont typeface="Courier New" panose="02070309020205020404" pitchFamily="49" charset="0"/>
              <a:buNone/>
              <a:defRPr lang="en-CA" sz="1600" b="0" u="none" kern="700" spc="9" baseline="0">
                <a:solidFill>
                  <a:schemeClr val="tx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+mn-cs"/>
              </a:defRPr>
            </a:lvl3pPr>
            <a:lvl4pPr marL="0" indent="0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None/>
              <a:defRPr lang="en-CA" sz="1600" b="0" u="none" kern="700" spc="9" baseline="0" dirty="0">
                <a:solidFill>
                  <a:schemeClr val="tx2">
                    <a:lumMod val="50000"/>
                  </a:schemeClr>
                </a:solidFill>
                <a:latin typeface="+mn-lt"/>
                <a:ea typeface="Roboto" panose="02000000000000000000" pitchFamily="2" charset="0"/>
                <a:cs typeface="+mn-cs"/>
              </a:defRPr>
            </a:lvl4pPr>
            <a:lvl5pPr marL="845344" indent="-166688" algn="l" defTabSz="914514" rtl="0" eaLnBrk="1" latinLnBrk="0" hangingPunct="1">
              <a:lnSpc>
                <a:spcPct val="105000"/>
              </a:lnSpc>
              <a:spcBef>
                <a:spcPts val="844"/>
              </a:spcBef>
              <a:buFont typeface="Arial" panose="020B0604020202020204" pitchFamily="34" charset="0"/>
              <a:buChar char="»"/>
              <a:defRPr lang="en-CA" sz="703" b="0" u="none" kern="700" spc="9" dirty="0">
                <a:solidFill>
                  <a:schemeClr val="bg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5pPr>
            <a:lvl6pPr marL="2514914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171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428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686" indent="-228628" algn="l" defTabSz="914514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96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9875" marR="0" lvl="0" indent="-269875" algn="l" defTabSz="914514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149ED9"/>
              </a:buClr>
              <a:buSzPct val="120000"/>
              <a:buFont typeface="Roboto" panose="02000000000000000000" pitchFamily="2" charset="0"/>
              <a:buChar char="•"/>
              <a:tabLst/>
              <a:defRPr/>
            </a:pPr>
            <a:r>
              <a:rPr kumimoji="0" lang="en-US" sz="1800" b="0" i="0" u="none" strike="noStrike" kern="700" cap="none" spc="19" normalizeH="0" baseline="0" noProof="0" dirty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Roboto"/>
                <a:ea typeface="Roboto Black"/>
                <a:cs typeface="+mn-cs"/>
              </a:rPr>
              <a:t>The Body </a:t>
            </a:r>
            <a:r>
              <a:rPr kumimoji="0" lang="en-US" sz="1800" b="1" i="0" u="none" strike="noStrike" kern="700" cap="none" spc="19" normalizeH="0" baseline="0" noProof="0" dirty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Roboto"/>
                <a:ea typeface="Roboto Black"/>
                <a:cs typeface="+mn-cs"/>
              </a:rPr>
              <a:t>engaged and consulted widely</a:t>
            </a:r>
            <a:r>
              <a:rPr kumimoji="0" lang="en-US" sz="1800" b="0" i="0" u="none" strike="noStrike" kern="700" cap="none" spc="19" normalizeH="0" baseline="0" noProof="0" dirty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Roboto"/>
                <a:ea typeface="Roboto Black"/>
                <a:cs typeface="+mn-cs"/>
              </a:rPr>
              <a:t> with existing and emerging initiatives </a:t>
            </a:r>
            <a:br>
              <a:rPr kumimoji="0" lang="en-US" sz="1800" b="0" i="0" u="none" strike="noStrike" kern="700" cap="none" spc="19" normalizeH="0" baseline="0" noProof="0" dirty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Roboto"/>
                <a:ea typeface="Roboto Black"/>
                <a:cs typeface="+mn-cs"/>
              </a:rPr>
            </a:br>
            <a:r>
              <a:rPr kumimoji="0" lang="en-US" sz="1800" b="0" i="0" u="none" strike="noStrike" kern="700" cap="none" spc="19" normalizeH="0" baseline="0" noProof="0" dirty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Roboto"/>
                <a:ea typeface="Roboto Black"/>
                <a:cs typeface="+mn-cs"/>
              </a:rPr>
              <a:t>and international organizations</a:t>
            </a:r>
          </a:p>
          <a:p>
            <a:pPr marL="269875" marR="0" lvl="0" indent="-269875" algn="l" defTabSz="914514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rgbClr val="149ED9"/>
              </a:buClr>
              <a:buSzPct val="120000"/>
              <a:buFont typeface="Roboto" panose="02000000000000000000" pitchFamily="2" charset="0"/>
              <a:buChar char="•"/>
              <a:tabLst/>
              <a:defRPr/>
            </a:pPr>
            <a:r>
              <a:rPr kumimoji="0" lang="en-US" sz="1800" b="0" i="0" u="none" strike="noStrike" kern="700" cap="none" spc="19" normalizeH="0" baseline="0" noProof="0" dirty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Roboto"/>
                <a:ea typeface="Roboto Black"/>
                <a:cs typeface="+mn-cs"/>
              </a:rPr>
              <a:t>To </a:t>
            </a:r>
            <a:r>
              <a:rPr kumimoji="0" lang="en-US" sz="1800" b="1" i="0" u="none" strike="noStrike" kern="700" cap="none" spc="19" normalizeH="0" baseline="0" noProof="0" dirty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Roboto"/>
                <a:ea typeface="Roboto Black"/>
                <a:cs typeface="+mn-cs"/>
              </a:rPr>
              <a:t>bridge perspectives</a:t>
            </a:r>
            <a:r>
              <a:rPr kumimoji="0" lang="en-US" sz="1800" b="0" i="0" u="none" strike="noStrike" kern="700" cap="none" spc="19" normalizeH="0" baseline="0" noProof="0" dirty="0">
                <a:ln>
                  <a:noFill/>
                </a:ln>
                <a:solidFill>
                  <a:srgbClr val="7F7F7F">
                    <a:lumMod val="50000"/>
                  </a:srgbClr>
                </a:solidFill>
                <a:effectLst/>
                <a:uLnTx/>
                <a:uFillTx/>
                <a:latin typeface="Roboto"/>
                <a:ea typeface="Roboto Black"/>
                <a:cs typeface="+mn-cs"/>
              </a:rPr>
              <a:t> across stakeholder groups and networks</a:t>
            </a:r>
            <a:endParaRPr kumimoji="0" lang="en-US" sz="1800" b="1" i="0" u="none" strike="noStrike" kern="700" cap="none" spc="19" normalizeH="0" baseline="0" noProof="0" dirty="0">
              <a:ln>
                <a:noFill/>
              </a:ln>
              <a:solidFill>
                <a:srgbClr val="7F7F7F">
                  <a:lumMod val="50000"/>
                </a:srgbClr>
              </a:solidFill>
              <a:effectLst/>
              <a:uLnTx/>
              <a:uFillTx/>
              <a:latin typeface="Roboto"/>
              <a:ea typeface="Roboto Black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90375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r8Q9DkI4GnzTd94MvFa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dGmoYxIMbxEnYUiIRNU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_tbP9fNrA_WIr1iycbas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Cvj6hXnsy8mFMgYziDB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Ye29f1XDKaeGGHiPuGf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Y.ZwypQO49RCAhvxA_e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ud2.YLTncMNWKbQTE8x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8FZ_TmIcFFkMaTVDAWag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tm_2u1H6Y81n6rw6rIx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_u6EnexmzXR04qD2szl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uKMloF8msq08_FnXmkZ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FS5eL3YRCkBMKceO6cX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4Og8sD2AIMu99QbLw.h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ivvUdLVZvJ3RC.QTRDp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wFK2.8JClhdzDHRRiOD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Ru0oTjmUJx2rT9BTGIR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wCvPERjMVJuUndmmveN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oAEuLvfbRN5NM0L0Gvt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cCDp6eQ6Pjh4LknB.BM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mgAgum7ZGDZi1w90eI_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OQy1ASY8RmRa4foorTV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SMdqXqt7Czf2ihuxQXN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lGa4tb.0TuVvNtNydi_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i_dlUHFPoooqIs_OZ0T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iAWEMFwF4NECeyYHJLf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nturTq3lHIvYsS2vli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nturTq3lHIvYsS2vli0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hz38oByXQaKKSzVYuw4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7Gv1ADzoNZ5UUOhGJTrt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MLFB7NndfZJmqkpJkqZ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MLFB7NndfZJmqkpJkqZ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MLFB7NndfZJmqkpJkq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MLFB7NndfZJmqkpJkq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nturTq3lHIvYsS2vli0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nturTq3lHIvYsS2vli0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MLFB7NndfZJmqkpJkqZ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MLFB7NndfZJmqkpJkqZ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MLFB7NndfZJmqkpJkqZ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MLFB7NndfZJmqkpJkqZ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MLFB7NndfZJmqkpJkqZ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cXOaDxNFwhcynHwq6f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Gr5w5vF7bzw50u9lrdo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Qc1gM.llAS_ObZFZHg2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zd6luVtqM.UwQ5aMVrb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zVHaadOIA28Izo6a0Z8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zVHaadOIA28Izo6a0Z8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zVHaadOIA28Izo6a0Z8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zVHaadOIA28Izo6a0Z8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nturTq3lHIvYsS2vli0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nturTq3lHIvYsS2vli0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nturTq3lHIvYsS2vli0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nturTq3lHIvYsS2vli0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iAWEMFwF4NECeyYHJLf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iAWEMFwF4NECeyYHJLf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OQy1ASY8RmRa4foorTV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MLFB7NndfZJmqkpJkqZ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7Gv1ADzoNZ5UUOhGJTrt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qbept7wK4kIwvi4Q.l1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phqHYIE0.u7NkRxc4Pg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_Cv2TvOXnJ4q1jdWqEB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U4mQ6vq29DgyEPpyOLY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IZFtNilXWyiDongsucaw"/>
</p:tagLst>
</file>

<file path=ppt/theme/theme1.xml><?xml version="1.0" encoding="utf-8"?>
<a:theme xmlns:a="http://schemas.openxmlformats.org/drawingml/2006/main" name="UNITED NATIONS">
  <a:themeElements>
    <a:clrScheme name="UN Blue">
      <a:dk1>
        <a:srgbClr val="000000"/>
      </a:dk1>
      <a:lt1>
        <a:srgbClr val="FFFFFF"/>
      </a:lt1>
      <a:dk2>
        <a:srgbClr val="005392"/>
      </a:dk2>
      <a:lt2>
        <a:srgbClr val="E3EDF6"/>
      </a:lt2>
      <a:accent1>
        <a:srgbClr val="009EDB"/>
      </a:accent1>
      <a:accent2>
        <a:srgbClr val="009EDB"/>
      </a:accent2>
      <a:accent3>
        <a:srgbClr val="009EDB"/>
      </a:accent3>
      <a:accent4>
        <a:srgbClr val="009DDA"/>
      </a:accent4>
      <a:accent5>
        <a:srgbClr val="009EDB"/>
      </a:accent5>
      <a:accent6>
        <a:srgbClr val="009EDB"/>
      </a:accent6>
      <a:hlink>
        <a:srgbClr val="0077B8"/>
      </a:hlink>
      <a:folHlink>
        <a:srgbClr val="0077B8"/>
      </a:folHlink>
    </a:clrScheme>
    <a:fontScheme name="Roboto">
      <a:majorFont>
        <a:latin typeface="Roboto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Roboto"/>
        <a:font script="Hebr" typeface="Roboto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Roboto"/>
        <a:font script="Uigh" typeface="Microsoft Uighur"/>
        <a:font script="Geor" typeface="Sylfaen"/>
      </a:majorFont>
      <a:minorFont>
        <a:latin typeface="Roboto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Roboto"/>
        <a:font script="Hebr" typeface="Roboto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Roboto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UN-PowerPointTemplate_Mar2024_Basic" id="{03DDF48D-6D4A-8449-AB09-57C2A517D390}" vid="{856D5F1E-9D88-3043-925E-A1CB61A943A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Blank">
  <a:themeElements>
    <a:clrScheme name="SDG Colours">
      <a:dk1>
        <a:srgbClr val="26BDE2"/>
      </a:dk1>
      <a:lt1>
        <a:srgbClr val="149ED9"/>
      </a:lt1>
      <a:dk2>
        <a:srgbClr val="7F7F7F"/>
      </a:dk2>
      <a:lt2>
        <a:srgbClr val="FFFFFF"/>
      </a:lt2>
      <a:accent1>
        <a:srgbClr val="FCC30B"/>
      </a:accent1>
      <a:accent2>
        <a:srgbClr val="FF3A21"/>
      </a:accent2>
      <a:accent3>
        <a:srgbClr val="56C02B"/>
      </a:accent3>
      <a:accent4>
        <a:srgbClr val="DD1367"/>
      </a:accent4>
      <a:accent5>
        <a:srgbClr val="FD6925"/>
      </a:accent5>
      <a:accent6>
        <a:srgbClr val="FD9D24"/>
      </a:accent6>
      <a:hlink>
        <a:srgbClr val="00689D"/>
      </a:hlink>
      <a:folHlink>
        <a:srgbClr val="DDA63A"/>
      </a:folHlink>
    </a:clrScheme>
    <a:fontScheme name="Roboto">
      <a:majorFont>
        <a:latin typeface="Roboto Black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lank_Beta.potx" id="{54EB21EA-C7AC-4A4E-9221-5829AD55711A}" vid="{6E3D012F-9812-4014-9AFF-90A9CF9DD3FE}"/>
    </a:ext>
  </a:extLst>
</a:theme>
</file>

<file path=ppt/theme/theme4.xml><?xml version="1.0" encoding="utf-8"?>
<a:theme xmlns:a="http://schemas.openxmlformats.org/drawingml/2006/main" name="1_Blank">
  <a:themeElements>
    <a:clrScheme name="SDG Colours">
      <a:dk1>
        <a:srgbClr val="26BDE2"/>
      </a:dk1>
      <a:lt1>
        <a:srgbClr val="149ED9"/>
      </a:lt1>
      <a:dk2>
        <a:srgbClr val="7F7F7F"/>
      </a:dk2>
      <a:lt2>
        <a:srgbClr val="FFFFFF"/>
      </a:lt2>
      <a:accent1>
        <a:srgbClr val="FCC30B"/>
      </a:accent1>
      <a:accent2>
        <a:srgbClr val="FF3A21"/>
      </a:accent2>
      <a:accent3>
        <a:srgbClr val="56C02B"/>
      </a:accent3>
      <a:accent4>
        <a:srgbClr val="DD1367"/>
      </a:accent4>
      <a:accent5>
        <a:srgbClr val="FD6925"/>
      </a:accent5>
      <a:accent6>
        <a:srgbClr val="FD9D24"/>
      </a:accent6>
      <a:hlink>
        <a:srgbClr val="00689D"/>
      </a:hlink>
      <a:folHlink>
        <a:srgbClr val="DDA63A"/>
      </a:folHlink>
    </a:clrScheme>
    <a:fontScheme name="Roboto">
      <a:majorFont>
        <a:latin typeface="Roboto Black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lank_Beta.potx" id="{54EB21EA-C7AC-4A4E-9221-5829AD55711A}" vid="{6E3D012F-9812-4014-9AFF-90A9CF9DD3FE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6efd9fb-26fb-4b5d-9782-a01a21f7f8fa" xsi:nil="true"/>
    <lcf76f155ced4ddcb4097134ff3c332f xmlns="66856108-b63b-42e5-bf20-41a0b8d9653b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85DA27A64BBBB42B9012227A0BC228E" ma:contentTypeVersion="14" ma:contentTypeDescription="Create a new document." ma:contentTypeScope="" ma:versionID="8ea692d4234e2e34ce6b85ffb8fdf9ee">
  <xsd:schema xmlns:xsd="http://www.w3.org/2001/XMLSchema" xmlns:xs="http://www.w3.org/2001/XMLSchema" xmlns:p="http://schemas.microsoft.com/office/2006/metadata/properties" xmlns:ns2="66856108-b63b-42e5-bf20-41a0b8d9653b" xmlns:ns3="f6efd9fb-26fb-4b5d-9782-a01a21f7f8fa" targetNamespace="http://schemas.microsoft.com/office/2006/metadata/properties" ma:root="true" ma:fieldsID="4c60cdca2634bfc554155d0a6253cba7" ns2:_="" ns3:_="">
    <xsd:import namespace="66856108-b63b-42e5-bf20-41a0b8d9653b"/>
    <xsd:import namespace="f6efd9fb-26fb-4b5d-9782-a01a21f7f8f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856108-b63b-42e5-bf20-41a0b8d9653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78175662-8596-484a-92c7-351d01561e2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efd9fb-26fb-4b5d-9782-a01a21f7f8f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98c8561a-3f3a-4879-90ee-0b1d33e98c2c}" ma:internalName="TaxCatchAll" ma:showField="CatchAllData" ma:web="f6efd9fb-26fb-4b5d-9782-a01a21f7f8f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AFE85CC-7D57-4542-B52A-E8A332F62CE3}">
  <ds:schemaRefs>
    <ds:schemaRef ds:uri="66856108-b63b-42e5-bf20-41a0b8d9653b"/>
    <ds:schemaRef ds:uri="717fa009-6788-4730-b425-76ec2f1b6c7b"/>
    <ds:schemaRef ds:uri="985ec44e-1bab-4c0b-9df0-6ba128686fc9"/>
    <ds:schemaRef ds:uri="bbad664e-4e4f-4d30-89af-6736b0f5d5da"/>
    <ds:schemaRef ds:uri="f6efd9fb-26fb-4b5d-9782-a01a21f7f8fa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4F6BBAD5-D63C-4D88-8CB3-B2CEE3444583}">
  <ds:schemaRefs>
    <ds:schemaRef ds:uri="66856108-b63b-42e5-bf20-41a0b8d9653b"/>
    <ds:schemaRef ds:uri="f6efd9fb-26fb-4b5d-9782-a01a21f7f8f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9F05D926-5152-432F-BB25-7CFF06EBF7A3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0f9e35db-544f-4f60-bdcc-5ea416e6dc70}" enabled="0" method="" siteId="{0f9e35db-544f-4f60-bdcc-5ea416e6dc70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UNITED NATIONS</Template>
  <TotalTime>24</TotalTime>
  <Words>2035</Words>
  <Application>Microsoft Office PowerPoint</Application>
  <PresentationFormat>Widescreen</PresentationFormat>
  <Paragraphs>297</Paragraphs>
  <Slides>16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35" baseType="lpstr">
      <vt:lpstr>Calibri,Sans-Serif</vt:lpstr>
      <vt:lpstr>System Font Regular</vt:lpstr>
      <vt:lpstr>Arial</vt:lpstr>
      <vt:lpstr>Arial Nova</vt:lpstr>
      <vt:lpstr>Calibri</vt:lpstr>
      <vt:lpstr>Calibri Light</vt:lpstr>
      <vt:lpstr>Courier New</vt:lpstr>
      <vt:lpstr>Oswald SemiBold</vt:lpstr>
      <vt:lpstr>Roboto</vt:lpstr>
      <vt:lpstr>Roboto Black</vt:lpstr>
      <vt:lpstr>Roboto Bold</vt:lpstr>
      <vt:lpstr>Roboto Condensed</vt:lpstr>
      <vt:lpstr>Roboto Light</vt:lpstr>
      <vt:lpstr>Roboto Medium</vt:lpstr>
      <vt:lpstr>UNITED NATIONS</vt:lpstr>
      <vt:lpstr>Office Theme</vt:lpstr>
      <vt:lpstr>Blank</vt:lpstr>
      <vt:lpstr>1_Blank</vt:lpstr>
      <vt:lpstr>think-cell Slide</vt:lpstr>
      <vt:lpstr> The Global Digital Compact and Governance of AI </vt:lpstr>
      <vt:lpstr>Summit of the Future</vt:lpstr>
      <vt:lpstr>A comprehensive framework for the global governance of digital technology and AI </vt:lpstr>
      <vt:lpstr>Global Digital Compact</vt:lpstr>
      <vt:lpstr>Principles</vt:lpstr>
      <vt:lpstr>Commitments and Actions</vt:lpstr>
      <vt:lpstr>Implementation Timeline</vt:lpstr>
      <vt:lpstr>Members of the AI Advisory Body</vt:lpstr>
      <vt:lpstr>UNSG’s High-Level Advisory Body on Artificial Intelligence  October 2023 – October 2024</vt:lpstr>
      <vt:lpstr>International AI Governance Functions</vt:lpstr>
      <vt:lpstr>Sources of AI1 governance initiatives</vt:lpstr>
      <vt:lpstr>Most countries not in sample plurilateral efforts With clear regional imbalance – every WEOG / EEG country involved vs. very few elsewhere</vt:lpstr>
      <vt:lpstr>PowerPoint Presentation</vt:lpstr>
      <vt:lpstr>PowerPoint Presentation</vt:lpstr>
      <vt:lpstr>PowerPoint Presentation</vt:lpstr>
      <vt:lpstr>Quest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lobal Digital Compact</dc:title>
  <dc:creator>OSET</dc:creator>
  <cp:lastModifiedBy>Isabel De Sola Criado</cp:lastModifiedBy>
  <cp:revision>3</cp:revision>
  <cp:lastPrinted>2024-02-05T22:03:33Z</cp:lastPrinted>
  <dcterms:created xsi:type="dcterms:W3CDTF">2025-01-13T20:56:50Z</dcterms:created>
  <dcterms:modified xsi:type="dcterms:W3CDTF">2025-03-27T12:28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85DA27A64BBBB42B9012227A0BC228E</vt:lpwstr>
  </property>
  <property fmtid="{D5CDD505-2E9C-101B-9397-08002B2CF9AE}" pid="3" name="MediaServiceImageTags">
    <vt:lpwstr/>
  </property>
</Properties>
</file>